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charts/chart279.xml" ContentType="application/vnd.openxmlformats-officedocument.drawingml.chart+xml"/>
  <Override PartName="/ppt/tags/tag307.xml" ContentType="application/vnd.openxmlformats-officedocument.presentationml.tags+xml"/>
  <Override PartName="/ppt/charts/chart280.xml" ContentType="application/vnd.openxmlformats-officedocument.drawingml.chart+xml"/>
  <Override PartName="/ppt/tags/tag308.xml" ContentType="application/vnd.openxmlformats-officedocument.presentationml.tags+xml"/>
  <Override PartName="/ppt/charts/chart281.xml" ContentType="application/vnd.openxmlformats-officedocument.drawingml.chart+xml"/>
  <Override PartName="/ppt/tags/tag309.xml" ContentType="application/vnd.openxmlformats-officedocument.presentationml.tags+xml"/>
  <Override PartName="/ppt/charts/chart282.xml" ContentType="application/vnd.openxmlformats-officedocument.drawingml.chart+xml"/>
  <Override PartName="/ppt/tags/tag310.xml" ContentType="application/vnd.openxmlformats-officedocument.presentationml.tags+xml"/>
  <Override PartName="/ppt/charts/chart283.xml" ContentType="application/vnd.openxmlformats-officedocument.drawingml.chart+xml"/>
  <Override PartName="/ppt/tags/tag311.xml" ContentType="application/vnd.openxmlformats-officedocument.presentationml.tags+xml"/>
  <Override PartName="/ppt/charts/chart284.xml" ContentType="application/vnd.openxmlformats-officedocument.drawingml.chart+xml"/>
  <Override PartName="/ppt/tags/tag312.xml" ContentType="application/vnd.openxmlformats-officedocument.presentationml.tags+xml"/>
  <Override PartName="/ppt/charts/chart285.xml" ContentType="application/vnd.openxmlformats-officedocument.drawingml.chart+xml"/>
  <Override PartName="/ppt/tags/tag313.xml" ContentType="application/vnd.openxmlformats-officedocument.presentationml.tags+xml"/>
  <Override PartName="/ppt/charts/chart286.xml" ContentType="application/vnd.openxmlformats-officedocument.drawingml.chart+xml"/>
  <Override PartName="/ppt/tags/tag314.xml" ContentType="application/vnd.openxmlformats-officedocument.presentationml.tags+xml"/>
  <Override PartName="/ppt/charts/chart287.xml" ContentType="application/vnd.openxmlformats-officedocument.drawingml.chart+xml"/>
  <Override PartName="/ppt/tags/tag315.xml" ContentType="application/vnd.openxmlformats-officedocument.presentationml.tags+xml"/>
  <Override PartName="/ppt/charts/chart288.xml" ContentType="application/vnd.openxmlformats-officedocument.drawingml.chart+xml"/>
  <Override PartName="/ppt/tags/tag316.xml" ContentType="application/vnd.openxmlformats-officedocument.presentationml.tags+xml"/>
  <Override PartName="/ppt/charts/chart289.xml" ContentType="application/vnd.openxmlformats-officedocument.drawingml.chart+xml"/>
  <Override PartName="/ppt/tags/tag317.xml" ContentType="application/vnd.openxmlformats-officedocument.presentationml.tags+xml"/>
  <Override PartName="/ppt/charts/chart290.xml" ContentType="application/vnd.openxmlformats-officedocument.drawingml.chart+xml"/>
  <Override PartName="/ppt/tags/tag318.xml" ContentType="application/vnd.openxmlformats-officedocument.presentationml.tags+xml"/>
  <Override PartName="/ppt/charts/chart291.xml" ContentType="application/vnd.openxmlformats-officedocument.drawingml.chart+xml"/>
  <Override PartName="/ppt/tags/tag319.xml" ContentType="application/vnd.openxmlformats-officedocument.presentationml.tags+xml"/>
  <Override PartName="/ppt/charts/chart292.xml" ContentType="application/vnd.openxmlformats-officedocument.drawingml.chart+xml"/>
  <Override PartName="/ppt/tags/tag320.xml" ContentType="application/vnd.openxmlformats-officedocument.presentationml.tags+xml"/>
  <Override PartName="/ppt/charts/chart293.xml" ContentType="application/vnd.openxmlformats-officedocument.drawingml.chart+xml"/>
  <Override PartName="/ppt/tags/tag321.xml" ContentType="application/vnd.openxmlformats-officedocument.presentationml.tags+xml"/>
  <Override PartName="/ppt/charts/chart294.xml" ContentType="application/vnd.openxmlformats-officedocument.drawingml.chart+xml"/>
  <Override PartName="/ppt/tags/tag322.xml" ContentType="application/vnd.openxmlformats-officedocument.presentationml.tags+xml"/>
  <Override PartName="/ppt/charts/chart295.xml" ContentType="application/vnd.openxmlformats-officedocument.drawingml.chart+xml"/>
  <Override PartName="/ppt/tags/tag323.xml" ContentType="application/vnd.openxmlformats-officedocument.presentationml.tags+xml"/>
  <Override PartName="/ppt/charts/chart296.xml" ContentType="application/vnd.openxmlformats-officedocument.drawingml.chart+xml"/>
  <Override PartName="/ppt/tags/tag324.xml" ContentType="application/vnd.openxmlformats-officedocument.presentationml.tags+xml"/>
  <Override PartName="/ppt/charts/chart297.xml" ContentType="application/vnd.openxmlformats-officedocument.drawingml.chart+xml"/>
  <Override PartName="/ppt/tags/tag325.xml" ContentType="application/vnd.openxmlformats-officedocument.presentationml.tags+xml"/>
  <Override PartName="/ppt/charts/chart298.xml" ContentType="application/vnd.openxmlformats-officedocument.drawingml.chart+xml"/>
  <Override PartName="/ppt/tags/tag326.xml" ContentType="application/vnd.openxmlformats-officedocument.presentationml.tags+xml"/>
  <Override PartName="/ppt/charts/chart299.xml" ContentType="application/vnd.openxmlformats-officedocument.drawingml.chart+xml"/>
  <Override PartName="/ppt/tags/tag327.xml" ContentType="application/vnd.openxmlformats-officedocument.presentationml.tags+xml"/>
  <Override PartName="/ppt/charts/chart300.xml" ContentType="application/vnd.openxmlformats-officedocument.drawingml.chart+xml"/>
  <Override PartName="/ppt/tags/tag328.xml" ContentType="application/vnd.openxmlformats-officedocument.presentationml.tags+xml"/>
  <Override PartName="/ppt/charts/chart301.xml" ContentType="application/vnd.openxmlformats-officedocument.drawingml.chart+xml"/>
  <Override PartName="/ppt/tags/tag329.xml" ContentType="application/vnd.openxmlformats-officedocument.presentationml.tags+xml"/>
  <Override PartName="/ppt/charts/chart302.xml" ContentType="application/vnd.openxmlformats-officedocument.drawingml.chart+xml"/>
  <Override PartName="/ppt/tags/tag330.xml" ContentType="application/vnd.openxmlformats-officedocument.presentationml.tags+xml"/>
  <Override PartName="/ppt/charts/chart303.xml" ContentType="application/vnd.openxmlformats-officedocument.drawingml.chart+xml"/>
  <Override PartName="/ppt/tags/tag331.xml" ContentType="application/vnd.openxmlformats-officedocument.presentationml.tags+xml"/>
  <Override PartName="/ppt/charts/chart304.xml" ContentType="application/vnd.openxmlformats-officedocument.drawingml.chart+xml"/>
  <Override PartName="/ppt/tags/tag332.xml" ContentType="application/vnd.openxmlformats-officedocument.presentationml.tags+xml"/>
  <Override PartName="/ppt/charts/chart305.xml" ContentType="application/vnd.openxmlformats-officedocument.drawingml.chart+xml"/>
  <Override PartName="/ppt/tags/tag333.xml" ContentType="application/vnd.openxmlformats-officedocument.presentationml.tags+xml"/>
  <Override PartName="/ppt/charts/chart306.xml" ContentType="application/vnd.openxmlformats-officedocument.drawingml.chart+xml"/>
  <Override PartName="/ppt/tags/tag334.xml" ContentType="application/vnd.openxmlformats-officedocument.presentationml.tags+xml"/>
  <Override PartName="/ppt/charts/chart307.xml" ContentType="application/vnd.openxmlformats-officedocument.drawingml.chart+xml"/>
  <Override PartName="/ppt/tags/tag335.xml" ContentType="application/vnd.openxmlformats-officedocument.presentationml.tags+xml"/>
  <Override PartName="/ppt/charts/chart308.xml" ContentType="application/vnd.openxmlformats-officedocument.drawingml.chart+xml"/>
  <Override PartName="/ppt/tags/tag336.xml" ContentType="application/vnd.openxmlformats-officedocument.presentationml.tags+xml"/>
  <Override PartName="/ppt/charts/chart309.xml" ContentType="application/vnd.openxmlformats-officedocument.drawingml.chart+xml"/>
  <Override PartName="/ppt/tags/tag337.xml" ContentType="application/vnd.openxmlformats-officedocument.presentationml.tags+xml"/>
  <Override PartName="/ppt/charts/chart310.xml" ContentType="application/vnd.openxmlformats-officedocument.drawingml.chart+xml"/>
  <Override PartName="/ppt/tags/tag338.xml" ContentType="application/vnd.openxmlformats-officedocument.presentationml.tags+xml"/>
  <Override PartName="/ppt/charts/chart311.xml" ContentType="application/vnd.openxmlformats-officedocument.drawingml.chart+xml"/>
  <Override PartName="/ppt/tags/tag339.xml" ContentType="application/vnd.openxmlformats-officedocument.presentationml.tags+xml"/>
  <Override PartName="/ppt/charts/chart312.xml" ContentType="application/vnd.openxmlformats-officedocument.drawingml.chart+xml"/>
  <Override PartName="/ppt/tags/tag340.xml" ContentType="application/vnd.openxmlformats-officedocument.presentationml.tags+xml"/>
  <Override PartName="/ppt/charts/chart313.xml" ContentType="application/vnd.openxmlformats-officedocument.drawingml.chart+xml"/>
  <Override PartName="/ppt/tags/tag341.xml" ContentType="application/vnd.openxmlformats-officedocument.presentationml.tags+xml"/>
  <Override PartName="/ppt/charts/chart314.xml" ContentType="application/vnd.openxmlformats-officedocument.drawingml.chart+xml"/>
  <Override PartName="/ppt/tags/tag342.xml" ContentType="application/vnd.openxmlformats-officedocument.presentationml.tags+xml"/>
  <Override PartName="/ppt/charts/chart315.xml" ContentType="application/vnd.openxmlformats-officedocument.drawingml.chart+xml"/>
  <Override PartName="/ppt/tags/tag343.xml" ContentType="application/vnd.openxmlformats-officedocument.presentationml.tags+xml"/>
  <Override PartName="/ppt/charts/chart316.xml" ContentType="application/vnd.openxmlformats-officedocument.drawingml.chart+xml"/>
  <Override PartName="/ppt/tags/tag344.xml" ContentType="application/vnd.openxmlformats-officedocument.presentationml.tags+xml"/>
  <Override PartName="/ppt/charts/chart317.xml" ContentType="application/vnd.openxmlformats-officedocument.drawingml.chart+xml"/>
  <Override PartName="/ppt/tags/tag345.xml" ContentType="application/vnd.openxmlformats-officedocument.presentationml.tags+xml"/>
  <Override PartName="/ppt/charts/chart318.xml" ContentType="application/vnd.openxmlformats-officedocument.drawingml.chart+xml"/>
  <Override PartName="/ppt/tags/tag346.xml" ContentType="application/vnd.openxmlformats-officedocument.presentationml.tags+xml"/>
  <Override PartName="/ppt/charts/chart319.xml" ContentType="application/vnd.openxmlformats-officedocument.drawingml.chart+xml"/>
  <Override PartName="/ppt/tags/tag347.xml" ContentType="application/vnd.openxmlformats-officedocument.presentationml.tags+xml"/>
  <Override PartName="/ppt/charts/chart320.xml" ContentType="application/vnd.openxmlformats-officedocument.drawingml.chart+xml"/>
  <Override PartName="/ppt/tags/tag348.xml" ContentType="application/vnd.openxmlformats-officedocument.presentationml.tags+xml"/>
  <Override PartName="/ppt/charts/chart321.xml" ContentType="application/vnd.openxmlformats-officedocument.drawingml.chart+xml"/>
  <Override PartName="/ppt/tags/tag349.xml" ContentType="application/vnd.openxmlformats-officedocument.presentationml.tags+xml"/>
  <Override PartName="/ppt/charts/chart322.xml" ContentType="application/vnd.openxmlformats-officedocument.drawingml.chart+xml"/>
  <Override PartName="/ppt/tags/tag350.xml" ContentType="application/vnd.openxmlformats-officedocument.presentationml.tags+xml"/>
  <Override PartName="/ppt/charts/chart323.xml" ContentType="application/vnd.openxmlformats-officedocument.drawingml.chart+xml"/>
  <Override PartName="/ppt/tags/tag351.xml" ContentType="application/vnd.openxmlformats-officedocument.presentationml.tags+xml"/>
  <Override PartName="/ppt/charts/chart324.xml" ContentType="application/vnd.openxmlformats-officedocument.drawingml.chart+xml"/>
  <Override PartName="/ppt/tags/tag352.xml" ContentType="application/vnd.openxmlformats-officedocument.presentationml.tags+xml"/>
  <Override PartName="/ppt/charts/chart325.xml" ContentType="application/vnd.openxmlformats-officedocument.drawingml.chart+xml"/>
  <Override PartName="/ppt/tags/tag353.xml" ContentType="application/vnd.openxmlformats-officedocument.presentationml.tags+xml"/>
  <Override PartName="/ppt/charts/chart326.xml" ContentType="application/vnd.openxmlformats-officedocument.drawingml.chart+xml"/>
  <Override PartName="/ppt/tags/tag354.xml" ContentType="application/vnd.openxmlformats-officedocument.presentationml.tags+xml"/>
  <Override PartName="/ppt/charts/chart327.xml" ContentType="application/vnd.openxmlformats-officedocument.drawingml.chart+xml"/>
  <Override PartName="/ppt/tags/tag355.xml" ContentType="application/vnd.openxmlformats-officedocument.presentationml.tags+xml"/>
  <Override PartName="/ppt/charts/chart328.xml" ContentType="application/vnd.openxmlformats-officedocument.drawingml.chart+xml"/>
  <Override PartName="/ppt/tags/tag356.xml" ContentType="application/vnd.openxmlformats-officedocument.presentationml.tags+xml"/>
  <Override PartName="/ppt/charts/chart329.xml" ContentType="application/vnd.openxmlformats-officedocument.drawingml.chart+xml"/>
  <Override PartName="/ppt/tags/tag357.xml" ContentType="application/vnd.openxmlformats-officedocument.presentationml.tags+xml"/>
  <Override PartName="/ppt/charts/chart330.xml" ContentType="application/vnd.openxmlformats-officedocument.drawingml.chart+xml"/>
  <Override PartName="/ppt/tags/tag358.xml" ContentType="application/vnd.openxmlformats-officedocument.presentationml.tags+xml"/>
  <Override PartName="/ppt/charts/chart331.xml" ContentType="application/vnd.openxmlformats-officedocument.drawingml.chart+xml"/>
  <Override PartName="/ppt/tags/tag359.xml" ContentType="application/vnd.openxmlformats-officedocument.presentationml.tags+xml"/>
  <Override PartName="/ppt/charts/chart332.xml" ContentType="application/vnd.openxmlformats-officedocument.drawingml.chart+xml"/>
  <Override PartName="/ppt/tags/tag360.xml" ContentType="application/vnd.openxmlformats-officedocument.presentationml.tags+xml"/>
  <Override PartName="/ppt/charts/chart333.xml" ContentType="application/vnd.openxmlformats-officedocument.drawingml.chart+xml"/>
  <Override PartName="/ppt/tags/tag361.xml" ContentType="application/vnd.openxmlformats-officedocument.presentationml.tags+xml"/>
  <Override PartName="/ppt/charts/chart334.xml" ContentType="application/vnd.openxmlformats-officedocument.drawingml.chart+xml"/>
  <Override PartName="/ppt/tags/tag362.xml" ContentType="application/vnd.openxmlformats-officedocument.presentationml.tags+xml"/>
  <Override PartName="/ppt/charts/chart335.xml" ContentType="application/vnd.openxmlformats-officedocument.drawingml.chart+xml"/>
  <Override PartName="/ppt/tags/tag363.xml" ContentType="application/vnd.openxmlformats-officedocument.presentationml.tags+xml"/>
  <Override PartName="/ppt/charts/chart336.xml" ContentType="application/vnd.openxmlformats-officedocument.drawingml.chart+xml"/>
  <Override PartName="/ppt/tags/tag364.xml" ContentType="application/vnd.openxmlformats-officedocument.presentationml.tags+xml"/>
  <Override PartName="/ppt/charts/chart337.xml" ContentType="application/vnd.openxmlformats-officedocument.drawingml.chart+xml"/>
  <Override PartName="/ppt/tags/tag365.xml" ContentType="application/vnd.openxmlformats-officedocument.presentationml.tags+xml"/>
  <Override PartName="/ppt/charts/chart338.xml" ContentType="application/vnd.openxmlformats-officedocument.drawingml.chart+xml"/>
  <Override PartName="/ppt/tags/tag366.xml" ContentType="application/vnd.openxmlformats-officedocument.presentationml.tags+xml"/>
  <Override PartName="/ppt/charts/chart339.xml" ContentType="application/vnd.openxmlformats-officedocument.drawingml.chart+xml"/>
  <Override PartName="/ppt/tags/tag367.xml" ContentType="application/vnd.openxmlformats-officedocument.presentationml.tags+xml"/>
  <Override PartName="/ppt/charts/chart340.xml" ContentType="application/vnd.openxmlformats-officedocument.drawingml.chart+xml"/>
  <Override PartName="/ppt/tags/tag368.xml" ContentType="application/vnd.openxmlformats-officedocument.presentationml.tags+xml"/>
  <Override PartName="/ppt/charts/chart341.xml" ContentType="application/vnd.openxmlformats-officedocument.drawingml.chart+xml"/>
  <Override PartName="/ppt/tags/tag369.xml" ContentType="application/vnd.openxmlformats-officedocument.presentationml.tags+xml"/>
  <Override PartName="/ppt/charts/chart342.xml" ContentType="application/vnd.openxmlformats-officedocument.drawingml.chart+xml"/>
  <Override PartName="/ppt/tags/tag370.xml" ContentType="application/vnd.openxmlformats-officedocument.presentationml.tags+xml"/>
  <Override PartName="/ppt/charts/chart343.xml" ContentType="application/vnd.openxmlformats-officedocument.drawingml.chart+xml"/>
  <Override PartName="/ppt/tags/tag371.xml" ContentType="application/vnd.openxmlformats-officedocument.presentationml.tags+xml"/>
  <Override PartName="/ppt/charts/chart344.xml" ContentType="application/vnd.openxmlformats-officedocument.drawingml.chart+xml"/>
  <Override PartName="/ppt/tags/tag372.xml" ContentType="application/vnd.openxmlformats-officedocument.presentationml.tags+xml"/>
  <Override PartName="/ppt/charts/chart345.xml" ContentType="application/vnd.openxmlformats-officedocument.drawingml.chart+xml"/>
  <Override PartName="/ppt/tags/tag373.xml" ContentType="application/vnd.openxmlformats-officedocument.presentationml.tags+xml"/>
  <Override PartName="/ppt/charts/chart346.xml" ContentType="application/vnd.openxmlformats-officedocument.drawingml.chart+xml"/>
  <Override PartName="/ppt/tags/tag374.xml" ContentType="application/vnd.openxmlformats-officedocument.presentationml.tags+xml"/>
  <Override PartName="/ppt/charts/chart347.xml" ContentType="application/vnd.openxmlformats-officedocument.drawingml.chart+xml"/>
  <Override PartName="/ppt/tags/tag375.xml" ContentType="application/vnd.openxmlformats-officedocument.presentationml.tags+xml"/>
  <Override PartName="/ppt/charts/chart348.xml" ContentType="application/vnd.openxmlformats-officedocument.drawingml.chart+xml"/>
  <Override PartName="/ppt/tags/tag376.xml" ContentType="application/vnd.openxmlformats-officedocument.presentationml.tags+xml"/>
  <Override PartName="/ppt/charts/chart349.xml" ContentType="application/vnd.openxmlformats-officedocument.drawingml.chart+xml"/>
  <Override PartName="/ppt/tags/tag377.xml" ContentType="application/vnd.openxmlformats-officedocument.presentationml.tags+xml"/>
  <Override PartName="/ppt/charts/chart350.xml" ContentType="application/vnd.openxmlformats-officedocument.drawingml.chart+xml"/>
  <Override PartName="/ppt/tags/tag378.xml" ContentType="application/vnd.openxmlformats-officedocument.presentationml.tags+xml"/>
  <Override PartName="/ppt/charts/chart351.xml" ContentType="application/vnd.openxmlformats-officedocument.drawingml.chart+xml"/>
  <Override PartName="/ppt/tags/tag379.xml" ContentType="application/vnd.openxmlformats-officedocument.presentationml.tags+xml"/>
  <Override PartName="/ppt/charts/chart352.xml" ContentType="application/vnd.openxmlformats-officedocument.drawingml.chart+xml"/>
  <Override PartName="/ppt/tags/tag380.xml" ContentType="application/vnd.openxmlformats-officedocument.presentationml.tags+xml"/>
  <Override PartName="/ppt/charts/chart353.xml" ContentType="application/vnd.openxmlformats-officedocument.drawingml.chart+xml"/>
  <Override PartName="/ppt/tags/tag381.xml" ContentType="application/vnd.openxmlformats-officedocument.presentationml.tags+xml"/>
  <Override PartName="/ppt/charts/chart354.xml" ContentType="application/vnd.openxmlformats-officedocument.drawingml.chart+xml"/>
  <Override PartName="/ppt/tags/tag382.xml" ContentType="application/vnd.openxmlformats-officedocument.presentationml.tags+xml"/>
  <Override PartName="/ppt/charts/chart355.xml" ContentType="application/vnd.openxmlformats-officedocument.drawingml.chart+xml"/>
  <Override PartName="/ppt/tags/tag383.xml" ContentType="application/vnd.openxmlformats-officedocument.presentationml.tags+xml"/>
  <Override PartName="/ppt/charts/chart356.xml" ContentType="application/vnd.openxmlformats-officedocument.drawingml.chart+xml"/>
  <Override PartName="/ppt/tags/tag384.xml" ContentType="application/vnd.openxmlformats-officedocument.presentationml.tags+xml"/>
  <Override PartName="/ppt/charts/chart357.xml" ContentType="application/vnd.openxmlformats-officedocument.drawingml.chart+xml"/>
  <Override PartName="/ppt/tags/tag385.xml" ContentType="application/vnd.openxmlformats-officedocument.presentationml.tags+xml"/>
  <Override PartName="/ppt/charts/chart358.xml" ContentType="application/vnd.openxmlformats-officedocument.drawingml.chart+xml"/>
  <Override PartName="/ppt/tags/tag386.xml" ContentType="application/vnd.openxmlformats-officedocument.presentationml.tags+xml"/>
  <Override PartName="/ppt/charts/chart359.xml" ContentType="application/vnd.openxmlformats-officedocument.drawingml.chart+xml"/>
  <Override PartName="/ppt/tags/tag387.xml" ContentType="application/vnd.openxmlformats-officedocument.presentationml.tags+xml"/>
  <Override PartName="/ppt/charts/chart360.xml" ContentType="application/vnd.openxmlformats-officedocument.drawingml.chart+xml"/>
  <Override PartName="/ppt/tags/tag388.xml" ContentType="application/vnd.openxmlformats-officedocument.presentationml.tags+xml"/>
  <Override PartName="/ppt/charts/chart361.xml" ContentType="application/vnd.openxmlformats-officedocument.drawingml.chart+xml"/>
  <Override PartName="/ppt/tags/tag389.xml" ContentType="application/vnd.openxmlformats-officedocument.presentationml.tags+xml"/>
  <Override PartName="/ppt/charts/chart362.xml" ContentType="application/vnd.openxmlformats-officedocument.drawingml.chart+xml"/>
  <Override PartName="/ppt/tags/tag390.xml" ContentType="application/vnd.openxmlformats-officedocument.presentationml.tags+xml"/>
  <Override PartName="/ppt/charts/chart363.xml" ContentType="application/vnd.openxmlformats-officedocument.drawingml.chart+xml"/>
  <Override PartName="/ppt/tags/tag391.xml" ContentType="application/vnd.openxmlformats-officedocument.presentationml.tags+xml"/>
  <Override PartName="/ppt/charts/chart364.xml" ContentType="application/vnd.openxmlformats-officedocument.drawingml.chart+xml"/>
  <Override PartName="/ppt/tags/tag392.xml" ContentType="application/vnd.openxmlformats-officedocument.presentationml.tags+xml"/>
  <Override PartName="/ppt/charts/chart365.xml" ContentType="application/vnd.openxmlformats-officedocument.drawingml.chart+xml"/>
  <Override PartName="/ppt/tags/tag393.xml" ContentType="application/vnd.openxmlformats-officedocument.presentationml.tags+xml"/>
  <Override PartName="/ppt/charts/chart366.xml" ContentType="application/vnd.openxmlformats-officedocument.drawingml.chart+xml"/>
  <Override PartName="/ppt/tags/tag394.xml" ContentType="application/vnd.openxmlformats-officedocument.presentationml.tags+xml"/>
  <Override PartName="/ppt/charts/chart367.xml" ContentType="application/vnd.openxmlformats-officedocument.drawingml.chart+xml"/>
  <Override PartName="/ppt/tags/tag395.xml" ContentType="application/vnd.openxmlformats-officedocument.presentationml.tags+xml"/>
  <Override PartName="/ppt/charts/chart368.xml" ContentType="application/vnd.openxmlformats-officedocument.drawingml.chart+xml"/>
  <Override PartName="/ppt/tags/tag396.xml" ContentType="application/vnd.openxmlformats-officedocument.presentationml.tags+xml"/>
  <Override PartName="/ppt/charts/chart369.xml" ContentType="application/vnd.openxmlformats-officedocument.drawingml.chart+xml"/>
  <Override PartName="/ppt/tags/tag397.xml" ContentType="application/vnd.openxmlformats-officedocument.presentationml.tags+xml"/>
  <Override PartName="/ppt/charts/chart370.xml" ContentType="application/vnd.openxmlformats-officedocument.drawingml.chart+xml"/>
  <Override PartName="/ppt/tags/tag398.xml" ContentType="application/vnd.openxmlformats-officedocument.presentationml.tags+xml"/>
  <Override PartName="/ppt/charts/chart371.xml" ContentType="application/vnd.openxmlformats-officedocument.drawingml.chart+xml"/>
  <Override PartName="/ppt/tags/tag399.xml" ContentType="application/vnd.openxmlformats-officedocument.presentationml.tags+xml"/>
  <Override PartName="/ppt/charts/chart372.xml" ContentType="application/vnd.openxmlformats-officedocument.drawingml.chart+xml"/>
  <Override PartName="/ppt/tags/tag400.xml" ContentType="application/vnd.openxmlformats-officedocument.presentationml.tags+xml"/>
  <Override PartName="/ppt/charts/chart373.xml" ContentType="application/vnd.openxmlformats-officedocument.drawingml.chart+xml"/>
  <Override PartName="/ppt/tags/tag401.xml" ContentType="application/vnd.openxmlformats-officedocument.presentationml.tags+xml"/>
  <Override PartName="/ppt/charts/chart374.xml" ContentType="application/vnd.openxmlformats-officedocument.drawingml.chart+xml"/>
  <Override PartName="/ppt/tags/tag402.xml" ContentType="application/vnd.openxmlformats-officedocument.presentationml.tags+xml"/>
  <Override PartName="/ppt/charts/chart375.xml" ContentType="application/vnd.openxmlformats-officedocument.drawingml.chart+xml"/>
  <Override PartName="/ppt/tags/tag403.xml" ContentType="application/vnd.openxmlformats-officedocument.presentationml.tags+xml"/>
  <Override PartName="/ppt/charts/chart376.xml" ContentType="application/vnd.openxmlformats-officedocument.drawingml.chart+xml"/>
  <Override PartName="/ppt/tags/tag404.xml" ContentType="application/vnd.openxmlformats-officedocument.presentationml.tags+xml"/>
  <Override PartName="/ppt/charts/chart377.xml" ContentType="application/vnd.openxmlformats-officedocument.drawingml.chart+xml"/>
  <Override PartName="/ppt/tags/tag405.xml" ContentType="application/vnd.openxmlformats-officedocument.presentationml.tags+xml"/>
  <Override PartName="/ppt/charts/chart378.xml" ContentType="application/vnd.openxmlformats-officedocument.drawingml.chart+xml"/>
  <Override PartName="/ppt/tags/tag406.xml" ContentType="application/vnd.openxmlformats-officedocument.presentationml.tags+xml"/>
  <Override PartName="/ppt/charts/chart379.xml" ContentType="application/vnd.openxmlformats-officedocument.drawingml.chart+xml"/>
  <Override PartName="/ppt/tags/tag407.xml" ContentType="application/vnd.openxmlformats-officedocument.presentationml.tags+xml"/>
  <Override PartName="/ppt/charts/chart380.xml" ContentType="application/vnd.openxmlformats-officedocument.drawingml.chart+xml"/>
  <Override PartName="/ppt/tags/tag408.xml" ContentType="application/vnd.openxmlformats-officedocument.presentationml.tags+xml"/>
  <Override PartName="/ppt/charts/chart381.xml" ContentType="application/vnd.openxmlformats-officedocument.drawingml.chart+xml"/>
  <Override PartName="/ppt/tags/tag409.xml" ContentType="application/vnd.openxmlformats-officedocument.presentationml.tags+xml"/>
  <Override PartName="/ppt/charts/chart382.xml" ContentType="application/vnd.openxmlformats-officedocument.drawingml.chart+xml"/>
  <Override PartName="/ppt/tags/tag410.xml" ContentType="application/vnd.openxmlformats-officedocument.presentationml.tags+xml"/>
  <Override PartName="/ppt/charts/chart383.xml" ContentType="application/vnd.openxmlformats-officedocument.drawingml.chart+xml"/>
  <Override PartName="/ppt/tags/tag411.xml" ContentType="application/vnd.openxmlformats-officedocument.presentationml.tags+xml"/>
  <Override PartName="/ppt/charts/chart384.xml" ContentType="application/vnd.openxmlformats-officedocument.drawingml.chart+xml"/>
  <Override PartName="/ppt/tags/tag412.xml" ContentType="application/vnd.openxmlformats-officedocument.presentationml.tags+xml"/>
  <Override PartName="/ppt/charts/chart385.xml" ContentType="application/vnd.openxmlformats-officedocument.drawingml.chart+xml"/>
  <Override PartName="/ppt/tags/tag413.xml" ContentType="application/vnd.openxmlformats-officedocument.presentationml.tags+xml"/>
  <Override PartName="/ppt/charts/chart386.xml" ContentType="application/vnd.openxmlformats-officedocument.drawingml.chart+xml"/>
  <Override PartName="/ppt/tags/tag414.xml" ContentType="application/vnd.openxmlformats-officedocument.presentationml.tags+xml"/>
  <Override PartName="/ppt/charts/chart387.xml" ContentType="application/vnd.openxmlformats-officedocument.drawingml.chart+xml"/>
  <Override PartName="/ppt/tags/tag415.xml" ContentType="application/vnd.openxmlformats-officedocument.presentationml.tags+xml"/>
  <Override PartName="/ppt/charts/chart388.xml" ContentType="application/vnd.openxmlformats-officedocument.drawingml.chart+xml"/>
  <Override PartName="/ppt/tags/tag416.xml" ContentType="application/vnd.openxmlformats-officedocument.presentationml.tags+xml"/>
  <Override PartName="/ppt/charts/chart389.xml" ContentType="application/vnd.openxmlformats-officedocument.drawingml.chart+xml"/>
  <Override PartName="/ppt/tags/tag417.xml" ContentType="application/vnd.openxmlformats-officedocument.presentationml.tags+xml"/>
  <Override PartName="/ppt/charts/chart390.xml" ContentType="application/vnd.openxmlformats-officedocument.drawingml.chart+xml"/>
  <Override PartName="/ppt/tags/tag418.xml" ContentType="application/vnd.openxmlformats-officedocument.presentationml.tags+xml"/>
  <Override PartName="/ppt/charts/chart391.xml" ContentType="application/vnd.openxmlformats-officedocument.drawingml.chart+xml"/>
  <Override PartName="/ppt/tags/tag419.xml" ContentType="application/vnd.openxmlformats-officedocument.presentationml.tags+xml"/>
  <Override PartName="/ppt/charts/chart392.xml" ContentType="application/vnd.openxmlformats-officedocument.drawingml.chart+xml"/>
  <Override PartName="/ppt/tags/tag420.xml" ContentType="application/vnd.openxmlformats-officedocument.presentationml.tags+xml"/>
  <Override PartName="/ppt/charts/chart393.xml" ContentType="application/vnd.openxmlformats-officedocument.drawingml.chart+xml"/>
  <Override PartName="/ppt/tags/tag421.xml" ContentType="application/vnd.openxmlformats-officedocument.presentationml.tags+xml"/>
  <Override PartName="/ppt/charts/chart394.xml" ContentType="application/vnd.openxmlformats-officedocument.drawingml.chart+xml"/>
  <Override PartName="/ppt/tags/tag422.xml" ContentType="application/vnd.openxmlformats-officedocument.presentationml.tags+xml"/>
  <Override PartName="/ppt/charts/chart395.xml" ContentType="application/vnd.openxmlformats-officedocument.drawingml.chart+xml"/>
  <Override PartName="/ppt/tags/tag423.xml" ContentType="application/vnd.openxmlformats-officedocument.presentationml.tags+xml"/>
  <Override PartName="/ppt/charts/chart396.xml" ContentType="application/vnd.openxmlformats-officedocument.drawingml.chart+xml"/>
  <Override PartName="/ppt/tags/tag424.xml" ContentType="application/vnd.openxmlformats-officedocument.presentationml.tags+xml"/>
  <Override PartName="/ppt/charts/chart397.xml" ContentType="application/vnd.openxmlformats-officedocument.drawingml.chart+xml"/>
  <Override PartName="/ppt/tags/tag425.xml" ContentType="application/vnd.openxmlformats-officedocument.presentationml.tags+xml"/>
  <Override PartName="/ppt/charts/chart398.xml" ContentType="application/vnd.openxmlformats-officedocument.drawingml.chart+xml"/>
  <Override PartName="/ppt/tags/tag426.xml" ContentType="application/vnd.openxmlformats-officedocument.presentationml.tags+xml"/>
  <Override PartName="/ppt/charts/chart399.xml" ContentType="application/vnd.openxmlformats-officedocument.drawingml.chart+xml"/>
  <Override PartName="/ppt/tags/tag427.xml" ContentType="application/vnd.openxmlformats-officedocument.presentationml.tags+xml"/>
  <Override PartName="/ppt/charts/chart400.xml" ContentType="application/vnd.openxmlformats-officedocument.drawingml.chart+xml"/>
  <Override PartName="/ppt/tags/tag428.xml" ContentType="application/vnd.openxmlformats-officedocument.presentationml.tags+xml"/>
  <Override PartName="/ppt/charts/chart401.xml" ContentType="application/vnd.openxmlformats-officedocument.drawingml.chart+xml"/>
  <Override PartName="/ppt/tags/tag429.xml" ContentType="application/vnd.openxmlformats-officedocument.presentationml.tags+xml"/>
  <Override PartName="/ppt/charts/chart402.xml" ContentType="application/vnd.openxmlformats-officedocument.drawingml.chart+xml"/>
  <Override PartName="/ppt/tags/tag430.xml" ContentType="application/vnd.openxmlformats-officedocument.presentationml.tags+xml"/>
  <Override PartName="/ppt/charts/chart403.xml" ContentType="application/vnd.openxmlformats-officedocument.drawingml.chart+xml"/>
  <Override PartName="/ppt/tags/tag431.xml" ContentType="application/vnd.openxmlformats-officedocument.presentationml.tags+xml"/>
  <Override PartName="/ppt/charts/chart404.xml" ContentType="application/vnd.openxmlformats-officedocument.drawingml.chart+xml"/>
  <Override PartName="/ppt/tags/tag432.xml" ContentType="application/vnd.openxmlformats-officedocument.presentationml.tags+xml"/>
  <Override PartName="/ppt/charts/chart405.xml" ContentType="application/vnd.openxmlformats-officedocument.drawingml.chart+xml"/>
  <Override PartName="/ppt/tags/tag433.xml" ContentType="application/vnd.openxmlformats-officedocument.presentationml.tags+xml"/>
  <Override PartName="/ppt/charts/chart406.xml" ContentType="application/vnd.openxmlformats-officedocument.drawingml.chart+xml"/>
  <Override PartName="/ppt/tags/tag434.xml" ContentType="application/vnd.openxmlformats-officedocument.presentationml.tags+xml"/>
  <Override PartName="/ppt/charts/chart407.xml" ContentType="application/vnd.openxmlformats-officedocument.drawingml.chart+xml"/>
  <Override PartName="/ppt/tags/tag435.xml" ContentType="application/vnd.openxmlformats-officedocument.presentationml.tags+xml"/>
  <Override PartName="/ppt/charts/chart408.xml" ContentType="application/vnd.openxmlformats-officedocument.drawingml.chart+xml"/>
  <Override PartName="/ppt/tags/tag436.xml" ContentType="application/vnd.openxmlformats-officedocument.presentationml.tags+xml"/>
  <Override PartName="/ppt/charts/chart409.xml" ContentType="application/vnd.openxmlformats-officedocument.drawingml.chart+xml"/>
  <Override PartName="/ppt/tags/tag437.xml" ContentType="application/vnd.openxmlformats-officedocument.presentationml.tags+xml"/>
  <Override PartName="/ppt/charts/chart410.xml" ContentType="application/vnd.openxmlformats-officedocument.drawingml.chart+xml"/>
  <Override PartName="/ppt/tags/tag438.xml" ContentType="application/vnd.openxmlformats-officedocument.presentationml.tags+xml"/>
  <Override PartName="/ppt/charts/chart411.xml" ContentType="application/vnd.openxmlformats-officedocument.drawingml.chart+xml"/>
  <Override PartName="/ppt/tags/tag439.xml" ContentType="application/vnd.openxmlformats-officedocument.presentationml.tags+xml"/>
  <Override PartName="/ppt/charts/chart412.xml" ContentType="application/vnd.openxmlformats-officedocument.drawingml.chart+xml"/>
  <Override PartName="/ppt/tags/tag440.xml" ContentType="application/vnd.openxmlformats-officedocument.presentationml.tags+xml"/>
  <Override PartName="/ppt/charts/chart413.xml" ContentType="application/vnd.openxmlformats-officedocument.drawingml.chart+xml"/>
  <Override PartName="/ppt/tags/tag441.xml" ContentType="application/vnd.openxmlformats-officedocument.presentationml.tags+xml"/>
  <Override PartName="/ppt/charts/chart414.xml" ContentType="application/vnd.openxmlformats-officedocument.drawingml.chart+xml"/>
  <Override PartName="/ppt/tags/tag442.xml" ContentType="application/vnd.openxmlformats-officedocument.presentationml.tags+xml"/>
  <Override PartName="/ppt/charts/chart415.xml" ContentType="application/vnd.openxmlformats-officedocument.drawingml.chart+xml"/>
  <Override PartName="/ppt/tags/tag443.xml" ContentType="application/vnd.openxmlformats-officedocument.presentationml.tags+xml"/>
  <Override PartName="/ppt/charts/chart416.xml" ContentType="application/vnd.openxmlformats-officedocument.drawingml.chart+xml"/>
  <Override PartName="/ppt/tags/tag444.xml" ContentType="application/vnd.openxmlformats-officedocument.presentationml.tags+xml"/>
  <Override PartName="/ppt/charts/chart417.xml" ContentType="application/vnd.openxmlformats-officedocument.drawingml.chart+xml"/>
  <Override PartName="/ppt/tags/tag445.xml" ContentType="application/vnd.openxmlformats-officedocument.presentationml.tags+xml"/>
  <Override PartName="/ppt/charts/chart418.xml" ContentType="application/vnd.openxmlformats-officedocument.drawingml.chart+xml"/>
  <Override PartName="/ppt/tags/tag446.xml" ContentType="application/vnd.openxmlformats-officedocument.presentationml.tags+xml"/>
  <Override PartName="/ppt/charts/chart419.xml" ContentType="application/vnd.openxmlformats-officedocument.drawingml.chart+xml"/>
  <Override PartName="/ppt/tags/tag447.xml" ContentType="application/vnd.openxmlformats-officedocument.presentationml.tags+xml"/>
  <Override PartName="/ppt/charts/chart420.xml" ContentType="application/vnd.openxmlformats-officedocument.drawingml.chart+xml"/>
  <Override PartName="/ppt/tags/tag448.xml" ContentType="application/vnd.openxmlformats-officedocument.presentationml.tags+xml"/>
  <Override PartName="/ppt/charts/chart421.xml" ContentType="application/vnd.openxmlformats-officedocument.drawingml.chart+xml"/>
  <Override PartName="/ppt/tags/tag449.xml" ContentType="application/vnd.openxmlformats-officedocument.presentationml.tags+xml"/>
  <Override PartName="/ppt/charts/chart422.xml" ContentType="application/vnd.openxmlformats-officedocument.drawingml.chart+xml"/>
  <Override PartName="/ppt/tags/tag450.xml" ContentType="application/vnd.openxmlformats-officedocument.presentationml.tags+xml"/>
  <Override PartName="/ppt/charts/chart423.xml" ContentType="application/vnd.openxmlformats-officedocument.drawingml.chart+xml"/>
  <Override PartName="/ppt/tags/tag451.xml" ContentType="application/vnd.openxmlformats-officedocument.presentationml.tags+xml"/>
  <Override PartName="/ppt/charts/chart424.xml" ContentType="application/vnd.openxmlformats-officedocument.drawingml.chart+xml"/>
  <Override PartName="/ppt/tags/tag452.xml" ContentType="application/vnd.openxmlformats-officedocument.presentationml.tags+xml"/>
  <Override PartName="/ppt/charts/chart425.xml" ContentType="application/vnd.openxmlformats-officedocument.drawingml.chart+xml"/>
  <Override PartName="/ppt/tags/tag453.xml" ContentType="application/vnd.openxmlformats-officedocument.presentationml.tags+xml"/>
  <Override PartName="/ppt/charts/chart426.xml" ContentType="application/vnd.openxmlformats-officedocument.drawingml.chart+xml"/>
  <Override PartName="/ppt/tags/tag454.xml" ContentType="application/vnd.openxmlformats-officedocument.presentationml.tags+xml"/>
  <Override PartName="/ppt/charts/chart427.xml" ContentType="application/vnd.openxmlformats-officedocument.drawingml.chart+xml"/>
  <Override PartName="/ppt/tags/tag455.xml" ContentType="application/vnd.openxmlformats-officedocument.presentationml.tags+xml"/>
  <Override PartName="/ppt/charts/chart428.xml" ContentType="application/vnd.openxmlformats-officedocument.drawingml.chart+xml"/>
  <Override PartName="/ppt/tags/tag456.xml" ContentType="application/vnd.openxmlformats-officedocument.presentationml.tags+xml"/>
  <Override PartName="/ppt/charts/chart429.xml" ContentType="application/vnd.openxmlformats-officedocument.drawingml.chart+xml"/>
  <Override PartName="/ppt/tags/tag457.xml" ContentType="application/vnd.openxmlformats-officedocument.presentationml.tags+xml"/>
  <Override PartName="/ppt/charts/chart430.xml" ContentType="application/vnd.openxmlformats-officedocument.drawingml.chart+xml"/>
  <Override PartName="/ppt/tags/tag458.xml" ContentType="application/vnd.openxmlformats-officedocument.presentationml.tags+xml"/>
  <Override PartName="/ppt/charts/chart431.xml" ContentType="application/vnd.openxmlformats-officedocument.drawingml.chart+xml"/>
  <Override PartName="/ppt/tags/tag459.xml" ContentType="application/vnd.openxmlformats-officedocument.presentationml.tags+xml"/>
  <Override PartName="/ppt/charts/chart432.xml" ContentType="application/vnd.openxmlformats-officedocument.drawingml.chart+xml"/>
  <Override PartName="/ppt/tags/tag460.xml" ContentType="application/vnd.openxmlformats-officedocument.presentationml.tags+xml"/>
  <Override PartName="/ppt/charts/chart433.xml" ContentType="application/vnd.openxmlformats-officedocument.drawingml.chart+xml"/>
  <Override PartName="/ppt/tags/tag461.xml" ContentType="application/vnd.openxmlformats-officedocument.presentationml.tags+xml"/>
  <Override PartName="/ppt/charts/chart434.xml" ContentType="application/vnd.openxmlformats-officedocument.drawingml.chart+xml"/>
  <Override PartName="/ppt/tags/tag462.xml" ContentType="application/vnd.openxmlformats-officedocument.presentationml.tags+xml"/>
  <Override PartName="/ppt/charts/chart435.xml" ContentType="application/vnd.openxmlformats-officedocument.drawingml.chart+xml"/>
  <Override PartName="/ppt/tags/tag463.xml" ContentType="application/vnd.openxmlformats-officedocument.presentationml.tags+xml"/>
  <Override PartName="/ppt/charts/chart436.xml" ContentType="application/vnd.openxmlformats-officedocument.drawingml.chart+xml"/>
  <Override PartName="/ppt/tags/tag464.xml" ContentType="application/vnd.openxmlformats-officedocument.presentationml.tags+xml"/>
  <Override PartName="/ppt/charts/chart437.xml" ContentType="application/vnd.openxmlformats-officedocument.drawingml.chart+xml"/>
  <Override PartName="/ppt/tags/tag465.xml" ContentType="application/vnd.openxmlformats-officedocument.presentationml.tags+xml"/>
  <Override PartName="/ppt/charts/chart438.xml" ContentType="application/vnd.openxmlformats-officedocument.drawingml.chart+xml"/>
  <Override PartName="/ppt/tags/tag466.xml" ContentType="application/vnd.openxmlformats-officedocument.presentationml.tags+xml"/>
  <Override PartName="/ppt/charts/chart439.xml" ContentType="application/vnd.openxmlformats-officedocument.drawingml.chart+xml"/>
  <Override PartName="/ppt/tags/tag467.xml" ContentType="application/vnd.openxmlformats-officedocument.presentationml.tags+xml"/>
  <Override PartName="/ppt/charts/chart440.xml" ContentType="application/vnd.openxmlformats-officedocument.drawingml.chart+xml"/>
  <Override PartName="/ppt/tags/tag468.xml" ContentType="application/vnd.openxmlformats-officedocument.presentationml.tags+xml"/>
  <Override PartName="/ppt/charts/chart441.xml" ContentType="application/vnd.openxmlformats-officedocument.drawingml.chart+xml"/>
  <Override PartName="/ppt/tags/tag469.xml" ContentType="application/vnd.openxmlformats-officedocument.presentationml.tags+xml"/>
  <Override PartName="/ppt/charts/chart442.xml" ContentType="application/vnd.openxmlformats-officedocument.drawingml.chart+xml"/>
  <Override PartName="/ppt/tags/tag470.xml" ContentType="application/vnd.openxmlformats-officedocument.presentationml.tags+xml"/>
  <Override PartName="/ppt/charts/chart443.xml" ContentType="application/vnd.openxmlformats-officedocument.drawingml.chart+xml"/>
  <Override PartName="/ppt/tags/tag471.xml" ContentType="application/vnd.openxmlformats-officedocument.presentationml.tags+xml"/>
  <Override PartName="/ppt/charts/chart444.xml" ContentType="application/vnd.openxmlformats-officedocument.drawingml.chart+xml"/>
  <Override PartName="/ppt/tags/tag472.xml" ContentType="application/vnd.openxmlformats-officedocument.presentationml.tags+xml"/>
  <Override PartName="/ppt/charts/chart445.xml" ContentType="application/vnd.openxmlformats-officedocument.drawingml.chart+xml"/>
  <Override PartName="/ppt/tags/tag473.xml" ContentType="application/vnd.openxmlformats-officedocument.presentationml.tags+xml"/>
  <Override PartName="/ppt/charts/chart446.xml" ContentType="application/vnd.openxmlformats-officedocument.drawingml.chart+xml"/>
  <Override PartName="/ppt/tags/tag474.xml" ContentType="application/vnd.openxmlformats-officedocument.presentationml.tags+xml"/>
  <Override PartName="/ppt/charts/chart447.xml" ContentType="application/vnd.openxmlformats-officedocument.drawingml.chart+xml"/>
  <Override PartName="/ppt/tags/tag475.xml" ContentType="application/vnd.openxmlformats-officedocument.presentationml.tags+xml"/>
  <Override PartName="/ppt/charts/chart448.xml" ContentType="application/vnd.openxmlformats-officedocument.drawingml.chart+xml"/>
  <Override PartName="/ppt/tags/tag476.xml" ContentType="application/vnd.openxmlformats-officedocument.presentationml.tags+xml"/>
  <Override PartName="/ppt/charts/chart449.xml" ContentType="application/vnd.openxmlformats-officedocument.drawingml.chart+xml"/>
  <Override PartName="/ppt/tags/tag477.xml" ContentType="application/vnd.openxmlformats-officedocument.presentationml.tags+xml"/>
  <Override PartName="/ppt/charts/chart450.xml" ContentType="application/vnd.openxmlformats-officedocument.drawingml.chart+xml"/>
  <Override PartName="/ppt/tags/tag478.xml" ContentType="application/vnd.openxmlformats-officedocument.presentationml.tags+xml"/>
  <Override PartName="/ppt/charts/chart451.xml" ContentType="application/vnd.openxmlformats-officedocument.drawingml.chart+xml"/>
  <Override PartName="/ppt/tags/tag479.xml" ContentType="application/vnd.openxmlformats-officedocument.presentationml.tags+xml"/>
  <Override PartName="/ppt/charts/chart452.xml" ContentType="application/vnd.openxmlformats-officedocument.drawingml.chart+xml"/>
  <Override PartName="/ppt/tags/tag480.xml" ContentType="application/vnd.openxmlformats-officedocument.presentationml.tags+xml"/>
  <Override PartName="/ppt/charts/chart453.xml" ContentType="application/vnd.openxmlformats-officedocument.drawingml.chart+xml"/>
  <Override PartName="/ppt/tags/tag481.xml" ContentType="application/vnd.openxmlformats-officedocument.presentationml.tags+xml"/>
  <Override PartName="/ppt/charts/chart454.xml" ContentType="application/vnd.openxmlformats-officedocument.drawingml.chart+xml"/>
  <Override PartName="/ppt/tags/tag482.xml" ContentType="application/vnd.openxmlformats-officedocument.presentationml.tags+xml"/>
  <Override PartName="/ppt/charts/chart455.xml" ContentType="application/vnd.openxmlformats-officedocument.drawingml.chart+xml"/>
  <Override PartName="/ppt/tags/tag483.xml" ContentType="application/vnd.openxmlformats-officedocument.presentationml.tags+xml"/>
  <Override PartName="/ppt/charts/chart456.xml" ContentType="application/vnd.openxmlformats-officedocument.drawingml.chart+xml"/>
  <Override PartName="/ppt/tags/tag484.xml" ContentType="application/vnd.openxmlformats-officedocument.presentationml.tags+xml"/>
  <Override PartName="/ppt/charts/chart457.xml" ContentType="application/vnd.openxmlformats-officedocument.drawingml.chart+xml"/>
  <Override PartName="/ppt/tags/tag485.xml" ContentType="application/vnd.openxmlformats-officedocument.presentationml.tags+xml"/>
  <Override PartName="/ppt/charts/chart458.xml" ContentType="application/vnd.openxmlformats-officedocument.drawingml.chart+xml"/>
  <Override PartName="/ppt/tags/tag486.xml" ContentType="application/vnd.openxmlformats-officedocument.presentationml.tags+xml"/>
  <Override PartName="/ppt/charts/chart459.xml" ContentType="application/vnd.openxmlformats-officedocument.drawingml.chart+xml"/>
  <Override PartName="/ppt/tags/tag487.xml" ContentType="application/vnd.openxmlformats-officedocument.presentationml.tags+xml"/>
  <Override PartName="/ppt/charts/chart460.xml" ContentType="application/vnd.openxmlformats-officedocument.drawingml.chart+xml"/>
  <Override PartName="/ppt/tags/tag488.xml" ContentType="application/vnd.openxmlformats-officedocument.presentationml.tags+xml"/>
  <Override PartName="/ppt/charts/chart461.xml" ContentType="application/vnd.openxmlformats-officedocument.drawingml.chart+xml"/>
  <Override PartName="/ppt/tags/tag489.xml" ContentType="application/vnd.openxmlformats-officedocument.presentationml.tags+xml"/>
  <Override PartName="/ppt/charts/chart462.xml" ContentType="application/vnd.openxmlformats-officedocument.drawingml.chart+xml"/>
  <Override PartName="/ppt/tags/tag490.xml" ContentType="application/vnd.openxmlformats-officedocument.presentationml.tags+xml"/>
  <Override PartName="/ppt/charts/chart463.xml" ContentType="application/vnd.openxmlformats-officedocument.drawingml.chart+xml"/>
  <Override PartName="/ppt/tags/tag491.xml" ContentType="application/vnd.openxmlformats-officedocument.presentationml.tags+xml"/>
  <Override PartName="/ppt/charts/chart464.xml" ContentType="application/vnd.openxmlformats-officedocument.drawingml.chart+xml"/>
  <Override PartName="/ppt/tags/tag492.xml" ContentType="application/vnd.openxmlformats-officedocument.presentationml.tags+xml"/>
  <Override PartName="/ppt/charts/chart465.xml" ContentType="application/vnd.openxmlformats-officedocument.drawingml.chart+xml"/>
  <Override PartName="/ppt/tags/tag493.xml" ContentType="application/vnd.openxmlformats-officedocument.presentationml.tags+xml"/>
  <Override PartName="/ppt/charts/chart466.xml" ContentType="application/vnd.openxmlformats-officedocument.drawingml.chart+xml"/>
  <Override PartName="/ppt/tags/tag494.xml" ContentType="application/vnd.openxmlformats-officedocument.presentationml.tags+xml"/>
  <Override PartName="/ppt/charts/chart467.xml" ContentType="application/vnd.openxmlformats-officedocument.drawingml.chart+xml"/>
  <Override PartName="/ppt/tags/tag495.xml" ContentType="application/vnd.openxmlformats-officedocument.presentationml.tags+xml"/>
  <Override PartName="/ppt/charts/chart468.xml" ContentType="application/vnd.openxmlformats-officedocument.drawingml.chart+xml"/>
  <Override PartName="/ppt/tags/tag496.xml" ContentType="application/vnd.openxmlformats-officedocument.presentationml.tags+xml"/>
  <Override PartName="/ppt/charts/chart469.xml" ContentType="application/vnd.openxmlformats-officedocument.drawingml.chart+xml"/>
  <Override PartName="/ppt/tags/tag497.xml" ContentType="application/vnd.openxmlformats-officedocument.presentationml.tags+xml"/>
  <Override PartName="/ppt/charts/chart470.xml" ContentType="application/vnd.openxmlformats-officedocument.drawingml.chart+xml"/>
  <Override PartName="/ppt/tags/tag498.xml" ContentType="application/vnd.openxmlformats-officedocument.presentationml.tags+xml"/>
  <Override PartName="/ppt/charts/chart471.xml" ContentType="application/vnd.openxmlformats-officedocument.drawingml.chart+xml"/>
  <Override PartName="/ppt/tags/tag499.xml" ContentType="application/vnd.openxmlformats-officedocument.presentationml.tags+xml"/>
  <Override PartName="/ppt/charts/chart472.xml" ContentType="application/vnd.openxmlformats-officedocument.drawingml.chart+xml"/>
  <Override PartName="/ppt/tags/tag500.xml" ContentType="application/vnd.openxmlformats-officedocument.presentationml.tags+xml"/>
  <Override PartName="/ppt/charts/chart473.xml" ContentType="application/vnd.openxmlformats-officedocument.drawingml.chart+xml"/>
  <Override PartName="/ppt/tags/tag501.xml" ContentType="application/vnd.openxmlformats-officedocument.presentationml.tags+xml"/>
  <Override PartName="/ppt/charts/chart474.xml" ContentType="application/vnd.openxmlformats-officedocument.drawingml.chart+xml"/>
  <Override PartName="/ppt/tags/tag502.xml" ContentType="application/vnd.openxmlformats-officedocument.presentationml.tags+xml"/>
  <Override PartName="/ppt/charts/chart475.xml" ContentType="application/vnd.openxmlformats-officedocument.drawingml.chart+xml"/>
  <Override PartName="/ppt/tags/tag503.xml" ContentType="application/vnd.openxmlformats-officedocument.presentationml.tags+xml"/>
  <Override PartName="/ppt/charts/chart476.xml" ContentType="application/vnd.openxmlformats-officedocument.drawingml.chart+xml"/>
  <Override PartName="/ppt/tags/tag504.xml" ContentType="application/vnd.openxmlformats-officedocument.presentationml.tags+xml"/>
  <Override PartName="/ppt/charts/chart477.xml" ContentType="application/vnd.openxmlformats-officedocument.drawingml.chart+xml"/>
  <Override PartName="/ppt/tags/tag505.xml" ContentType="application/vnd.openxmlformats-officedocument.presentationml.tags+xml"/>
  <Override PartName="/ppt/charts/chart478.xml" ContentType="application/vnd.openxmlformats-officedocument.drawingml.chart+xml"/>
  <Override PartName="/ppt/tags/tag506.xml" ContentType="application/vnd.openxmlformats-officedocument.presentationml.tags+xml"/>
  <Override PartName="/ppt/charts/chart479.xml" ContentType="application/vnd.openxmlformats-officedocument.drawingml.chart+xml"/>
  <Override PartName="/ppt/tags/tag507.xml" ContentType="application/vnd.openxmlformats-officedocument.presentationml.tags+xml"/>
  <Override PartName="/ppt/charts/chart480.xml" ContentType="application/vnd.openxmlformats-officedocument.drawingml.chart+xml"/>
  <Override PartName="/ppt/tags/tag508.xml" ContentType="application/vnd.openxmlformats-officedocument.presentationml.tags+xml"/>
  <Override PartName="/ppt/charts/chart481.xml" ContentType="application/vnd.openxmlformats-officedocument.drawingml.chart+xml"/>
  <Override PartName="/ppt/tags/tag509.xml" ContentType="application/vnd.openxmlformats-officedocument.presentationml.tags+xml"/>
  <Override PartName="/ppt/charts/chart482.xml" ContentType="application/vnd.openxmlformats-officedocument.drawingml.chart+xml"/>
  <Override PartName="/ppt/tags/tag510.xml" ContentType="application/vnd.openxmlformats-officedocument.presentationml.tags+xml"/>
  <Override PartName="/ppt/charts/chart483.xml" ContentType="application/vnd.openxmlformats-officedocument.drawingml.chart+xml"/>
  <Override PartName="/ppt/tags/tag511.xml" ContentType="application/vnd.openxmlformats-officedocument.presentationml.tags+xml"/>
  <Override PartName="/ppt/charts/chart484.xml" ContentType="application/vnd.openxmlformats-officedocument.drawingml.chart+xml"/>
  <Override PartName="/ppt/tags/tag512.xml" ContentType="application/vnd.openxmlformats-officedocument.presentationml.tags+xml"/>
  <Override PartName="/ppt/charts/chart485.xml" ContentType="application/vnd.openxmlformats-officedocument.drawingml.chart+xml"/>
  <Override PartName="/ppt/tags/tag513.xml" ContentType="application/vnd.openxmlformats-officedocument.presentationml.tags+xml"/>
  <Override PartName="/ppt/charts/chart486.xml" ContentType="application/vnd.openxmlformats-officedocument.drawingml.chart+xml"/>
  <Override PartName="/ppt/tags/tag514.xml" ContentType="application/vnd.openxmlformats-officedocument.presentationml.tags+xml"/>
  <Override PartName="/ppt/charts/chart487.xml" ContentType="application/vnd.openxmlformats-officedocument.drawingml.chart+xml"/>
  <Override PartName="/ppt/tags/tag515.xml" ContentType="application/vnd.openxmlformats-officedocument.presentationml.tags+xml"/>
  <Override PartName="/ppt/charts/chart488.xml" ContentType="application/vnd.openxmlformats-officedocument.drawingml.chart+xml"/>
  <Override PartName="/ppt/tags/tag516.xml" ContentType="application/vnd.openxmlformats-officedocument.presentationml.tags+xml"/>
  <Override PartName="/ppt/charts/chart489.xml" ContentType="application/vnd.openxmlformats-officedocument.drawingml.chart+xml"/>
  <Override PartName="/ppt/tags/tag517.xml" ContentType="application/vnd.openxmlformats-officedocument.presentationml.tags+xml"/>
  <Override PartName="/ppt/charts/chart490.xml" ContentType="application/vnd.openxmlformats-officedocument.drawingml.chart+xml"/>
  <Override PartName="/ppt/tags/tag518.xml" ContentType="application/vnd.openxmlformats-officedocument.presentationml.tags+xml"/>
  <Override PartName="/ppt/charts/chart491.xml" ContentType="application/vnd.openxmlformats-officedocument.drawingml.chart+xml"/>
  <Override PartName="/ppt/tags/tag519.xml" ContentType="application/vnd.openxmlformats-officedocument.presentationml.tags+xml"/>
  <Override PartName="/ppt/charts/chart492.xml" ContentType="application/vnd.openxmlformats-officedocument.drawingml.chart+xml"/>
  <Override PartName="/ppt/tags/tag520.xml" ContentType="application/vnd.openxmlformats-officedocument.presentationml.tags+xml"/>
  <Override PartName="/ppt/charts/chart493.xml" ContentType="application/vnd.openxmlformats-officedocument.drawingml.chart+xml"/>
  <Override PartName="/ppt/tags/tag521.xml" ContentType="application/vnd.openxmlformats-officedocument.presentationml.tags+xml"/>
  <Override PartName="/ppt/charts/chart494.xml" ContentType="application/vnd.openxmlformats-officedocument.drawingml.chart+xml"/>
  <Override PartName="/ppt/tags/tag522.xml" ContentType="application/vnd.openxmlformats-officedocument.presentationml.tags+xml"/>
  <Override PartName="/ppt/charts/chart495.xml" ContentType="application/vnd.openxmlformats-officedocument.drawingml.chart+xml"/>
  <Override PartName="/ppt/tags/tag523.xml" ContentType="application/vnd.openxmlformats-officedocument.presentationml.tags+xml"/>
  <Override PartName="/ppt/charts/chart496.xml" ContentType="application/vnd.openxmlformats-officedocument.drawingml.chart+xml"/>
  <Override PartName="/ppt/tags/tag524.xml" ContentType="application/vnd.openxmlformats-officedocument.presentationml.tags+xml"/>
  <Override PartName="/ppt/charts/chart497.xml" ContentType="application/vnd.openxmlformats-officedocument.drawingml.chart+xml"/>
  <Override PartName="/ppt/tags/tag525.xml" ContentType="application/vnd.openxmlformats-officedocument.presentationml.tags+xml"/>
  <Override PartName="/ppt/charts/chart498.xml" ContentType="application/vnd.openxmlformats-officedocument.drawingml.chart+xml"/>
  <Override PartName="/ppt/tags/tag526.xml" ContentType="application/vnd.openxmlformats-officedocument.presentationml.tags+xml"/>
  <Override PartName="/ppt/charts/chart499.xml" ContentType="application/vnd.openxmlformats-officedocument.drawingml.chart+xml"/>
  <Override PartName="/ppt/tags/tag527.xml" ContentType="application/vnd.openxmlformats-officedocument.presentationml.tags+xml"/>
  <Override PartName="/ppt/charts/chart500.xml" ContentType="application/vnd.openxmlformats-officedocument.drawingml.chart+xml"/>
  <Override PartName="/ppt/tags/tag528.xml" ContentType="application/vnd.openxmlformats-officedocument.presentationml.tags+xml"/>
  <Override PartName="/ppt/charts/chart501.xml" ContentType="application/vnd.openxmlformats-officedocument.drawingml.chart+xml"/>
  <Override PartName="/ppt/tags/tag529.xml" ContentType="application/vnd.openxmlformats-officedocument.presentationml.tags+xml"/>
  <Override PartName="/ppt/charts/chart502.xml" ContentType="application/vnd.openxmlformats-officedocument.drawingml.chart+xml"/>
  <Override PartName="/ppt/tags/tag530.xml" ContentType="application/vnd.openxmlformats-officedocument.presentationml.tags+xml"/>
  <Override PartName="/ppt/charts/chart503.xml" ContentType="application/vnd.openxmlformats-officedocument.drawingml.chart+xml"/>
  <Override PartName="/ppt/tags/tag531.xml" ContentType="application/vnd.openxmlformats-officedocument.presentationml.tags+xml"/>
  <Override PartName="/ppt/charts/chart504.xml" ContentType="application/vnd.openxmlformats-officedocument.drawingml.chart+xml"/>
  <Override PartName="/ppt/tags/tag532.xml" ContentType="application/vnd.openxmlformats-officedocument.presentationml.tags+xml"/>
  <Override PartName="/ppt/charts/chart505.xml" ContentType="application/vnd.openxmlformats-officedocument.drawingml.chart+xml"/>
  <Override PartName="/ppt/tags/tag533.xml" ContentType="application/vnd.openxmlformats-officedocument.presentationml.tags+xml"/>
  <Override PartName="/ppt/charts/chart506.xml" ContentType="application/vnd.openxmlformats-officedocument.drawingml.chart+xml"/>
  <Override PartName="/ppt/tags/tag534.xml" ContentType="application/vnd.openxmlformats-officedocument.presentationml.tags+xml"/>
  <Override PartName="/ppt/charts/chart507.xml" ContentType="application/vnd.openxmlformats-officedocument.drawingml.chart+xml"/>
  <Override PartName="/ppt/tags/tag535.xml" ContentType="application/vnd.openxmlformats-officedocument.presentationml.tags+xml"/>
  <Override PartName="/ppt/charts/chart508.xml" ContentType="application/vnd.openxmlformats-officedocument.drawingml.chart+xml"/>
  <Override PartName="/ppt/tags/tag536.xml" ContentType="application/vnd.openxmlformats-officedocument.presentationml.tags+xml"/>
  <Override PartName="/ppt/charts/chart509.xml" ContentType="application/vnd.openxmlformats-officedocument.drawingml.chart+xml"/>
  <Override PartName="/ppt/tags/tag537.xml" ContentType="application/vnd.openxmlformats-officedocument.presentationml.tags+xml"/>
  <Override PartName="/ppt/charts/chart510.xml" ContentType="application/vnd.openxmlformats-officedocument.drawingml.chart+xml"/>
  <Override PartName="/ppt/tags/tag538.xml" ContentType="application/vnd.openxmlformats-officedocument.presentationml.tags+xml"/>
  <Override PartName="/ppt/charts/chart511.xml" ContentType="application/vnd.openxmlformats-officedocument.drawingml.chart+xml"/>
  <Override PartName="/ppt/tags/tag539.xml" ContentType="application/vnd.openxmlformats-officedocument.presentationml.tags+xml"/>
  <Override PartName="/ppt/charts/chart512.xml" ContentType="application/vnd.openxmlformats-officedocument.drawingml.chart+xml"/>
  <Override PartName="/ppt/tags/tag540.xml" ContentType="application/vnd.openxmlformats-officedocument.presentationml.tags+xml"/>
  <Override PartName="/ppt/charts/chart513.xml" ContentType="application/vnd.openxmlformats-officedocument.drawingml.chart+xml"/>
  <Override PartName="/ppt/tags/tag541.xml" ContentType="application/vnd.openxmlformats-officedocument.presentationml.tags+xml"/>
  <Override PartName="/ppt/charts/chart514.xml" ContentType="application/vnd.openxmlformats-officedocument.drawingml.chart+xml"/>
  <Override PartName="/ppt/tags/tag542.xml" ContentType="application/vnd.openxmlformats-officedocument.presentationml.tags+xml"/>
  <Override PartName="/ppt/charts/chart515.xml" ContentType="application/vnd.openxmlformats-officedocument.drawingml.chart+xml"/>
  <Override PartName="/ppt/tags/tag543.xml" ContentType="application/vnd.openxmlformats-officedocument.presentationml.tags+xml"/>
  <Override PartName="/ppt/charts/chart516.xml" ContentType="application/vnd.openxmlformats-officedocument.drawingml.chart+xml"/>
  <Override PartName="/ppt/tags/tag544.xml" ContentType="application/vnd.openxmlformats-officedocument.presentationml.tags+xml"/>
  <Override PartName="/ppt/charts/chart517.xml" ContentType="application/vnd.openxmlformats-officedocument.drawingml.chart+xml"/>
  <Override PartName="/ppt/tags/tag545.xml" ContentType="application/vnd.openxmlformats-officedocument.presentationml.tags+xml"/>
  <Override PartName="/ppt/charts/chart518.xml" ContentType="application/vnd.openxmlformats-officedocument.drawingml.chart+xml"/>
  <Override PartName="/ppt/tags/tag546.xml" ContentType="application/vnd.openxmlformats-officedocument.presentationml.tags+xml"/>
  <Override PartName="/ppt/charts/chart519.xml" ContentType="application/vnd.openxmlformats-officedocument.drawingml.chart+xml"/>
  <Override PartName="/ppt/tags/tag547.xml" ContentType="application/vnd.openxmlformats-officedocument.presentationml.tags+xml"/>
  <Override PartName="/ppt/charts/chart520.xml" ContentType="application/vnd.openxmlformats-officedocument.drawingml.chart+xml"/>
  <Override PartName="/ppt/tags/tag548.xml" ContentType="application/vnd.openxmlformats-officedocument.presentationml.tags+xml"/>
  <Override PartName="/ppt/charts/chart521.xml" ContentType="application/vnd.openxmlformats-officedocument.drawingml.chart+xml"/>
  <Override PartName="/ppt/tags/tag549.xml" ContentType="application/vnd.openxmlformats-officedocument.presentationml.tags+xml"/>
  <Override PartName="/ppt/charts/chart522.xml" ContentType="application/vnd.openxmlformats-officedocument.drawingml.chart+xml"/>
  <Override PartName="/ppt/tags/tag550.xml" ContentType="application/vnd.openxmlformats-officedocument.presentationml.tags+xml"/>
  <Override PartName="/ppt/charts/chart523.xml" ContentType="application/vnd.openxmlformats-officedocument.drawingml.chart+xml"/>
  <Override PartName="/ppt/tags/tag551.xml" ContentType="application/vnd.openxmlformats-officedocument.presentationml.tags+xml"/>
  <Override PartName="/ppt/charts/chart524.xml" ContentType="application/vnd.openxmlformats-officedocument.drawingml.chart+xml"/>
  <Override PartName="/ppt/tags/tag552.xml" ContentType="application/vnd.openxmlformats-officedocument.presentationml.tags+xml"/>
  <Override PartName="/ppt/charts/chart525.xml" ContentType="application/vnd.openxmlformats-officedocument.drawingml.chart+xml"/>
  <Override PartName="/ppt/tags/tag553.xml" ContentType="application/vnd.openxmlformats-officedocument.presentationml.tags+xml"/>
  <Override PartName="/ppt/charts/chart526.xml" ContentType="application/vnd.openxmlformats-officedocument.drawingml.chart+xml"/>
  <Override PartName="/ppt/tags/tag554.xml" ContentType="application/vnd.openxmlformats-officedocument.presentationml.tags+xml"/>
  <Override PartName="/ppt/charts/chart527.xml" ContentType="application/vnd.openxmlformats-officedocument.drawingml.chart+xml"/>
  <Override PartName="/ppt/tags/tag555.xml" ContentType="application/vnd.openxmlformats-officedocument.presentationml.tags+xml"/>
  <Override PartName="/ppt/charts/chart528.xml" ContentType="application/vnd.openxmlformats-officedocument.drawingml.chart+xml"/>
  <Override PartName="/ppt/tags/tag556.xml" ContentType="application/vnd.openxmlformats-officedocument.presentationml.tags+xml"/>
  <Override PartName="/ppt/charts/chart529.xml" ContentType="application/vnd.openxmlformats-officedocument.drawingml.chart+xml"/>
  <Override PartName="/ppt/tags/tag557.xml" ContentType="application/vnd.openxmlformats-officedocument.presentationml.tags+xml"/>
  <Override PartName="/ppt/charts/chart530.xml" ContentType="application/vnd.openxmlformats-officedocument.drawingml.chart+xml"/>
  <Override PartName="/ppt/tags/tag558.xml" ContentType="application/vnd.openxmlformats-officedocument.presentationml.tags+xml"/>
  <Override PartName="/ppt/charts/chart531.xml" ContentType="application/vnd.openxmlformats-officedocument.drawingml.chart+xml"/>
  <Override PartName="/ppt/tags/tag559.xml" ContentType="application/vnd.openxmlformats-officedocument.presentationml.tags+xml"/>
  <Override PartName="/ppt/charts/chart532.xml" ContentType="application/vnd.openxmlformats-officedocument.drawingml.chart+xml"/>
  <Override PartName="/ppt/tags/tag560.xml" ContentType="application/vnd.openxmlformats-officedocument.presentationml.tags+xml"/>
  <Override PartName="/ppt/charts/chart533.xml" ContentType="application/vnd.openxmlformats-officedocument.drawingml.chart+xml"/>
  <Override PartName="/ppt/tags/tag561.xml" ContentType="application/vnd.openxmlformats-officedocument.presentationml.tags+xml"/>
  <Override PartName="/ppt/charts/chart534.xml" ContentType="application/vnd.openxmlformats-officedocument.drawingml.chart+xml"/>
  <Override PartName="/ppt/tags/tag562.xml" ContentType="application/vnd.openxmlformats-officedocument.presentationml.tags+xml"/>
  <Override PartName="/ppt/charts/chart535.xml" ContentType="application/vnd.openxmlformats-officedocument.drawingml.chart+xml"/>
  <Override PartName="/ppt/tags/tag563.xml" ContentType="application/vnd.openxmlformats-officedocument.presentationml.tags+xml"/>
  <Override PartName="/ppt/charts/chart536.xml" ContentType="application/vnd.openxmlformats-officedocument.drawingml.chart+xml"/>
  <Override PartName="/ppt/tags/tag564.xml" ContentType="application/vnd.openxmlformats-officedocument.presentationml.tags+xml"/>
  <Override PartName="/ppt/charts/chart537.xml" ContentType="application/vnd.openxmlformats-officedocument.drawingml.chart+xml"/>
  <Override PartName="/ppt/tags/tag565.xml" ContentType="application/vnd.openxmlformats-officedocument.presentationml.tags+xml"/>
  <Override PartName="/ppt/charts/chart538.xml" ContentType="application/vnd.openxmlformats-officedocument.drawingml.chart+xml"/>
  <Override PartName="/ppt/tags/tag566.xml" ContentType="application/vnd.openxmlformats-officedocument.presentationml.tags+xml"/>
  <Override PartName="/ppt/charts/chart539.xml" ContentType="application/vnd.openxmlformats-officedocument.drawingml.chart+xml"/>
  <Override PartName="/ppt/tags/tag567.xml" ContentType="application/vnd.openxmlformats-officedocument.presentationml.tags+xml"/>
  <Override PartName="/ppt/charts/chart540.xml" ContentType="application/vnd.openxmlformats-officedocument.drawingml.chart+xml"/>
  <Override PartName="/ppt/tags/tag568.xml" ContentType="application/vnd.openxmlformats-officedocument.presentationml.tags+xml"/>
  <Override PartName="/ppt/charts/chart541.xml" ContentType="application/vnd.openxmlformats-officedocument.drawingml.chart+xml"/>
  <Override PartName="/ppt/tags/tag569.xml" ContentType="application/vnd.openxmlformats-officedocument.presentationml.tags+xml"/>
  <Override PartName="/ppt/charts/chart542.xml" ContentType="application/vnd.openxmlformats-officedocument.drawingml.chart+xml"/>
  <Override PartName="/ppt/tags/tag570.xml" ContentType="application/vnd.openxmlformats-officedocument.presentationml.tags+xml"/>
  <Override PartName="/ppt/charts/chart543.xml" ContentType="application/vnd.openxmlformats-officedocument.drawingml.chart+xml"/>
  <Override PartName="/ppt/tags/tag571.xml" ContentType="application/vnd.openxmlformats-officedocument.presentationml.tags+xml"/>
  <Override PartName="/ppt/charts/chart544.xml" ContentType="application/vnd.openxmlformats-officedocument.drawingml.chart+xml"/>
  <Override PartName="/ppt/tags/tag572.xml" ContentType="application/vnd.openxmlformats-officedocument.presentationml.tags+xml"/>
  <Override PartName="/ppt/charts/chart545.xml" ContentType="application/vnd.openxmlformats-officedocument.drawingml.chart+xml"/>
  <Override PartName="/ppt/tags/tag573.xml" ContentType="application/vnd.openxmlformats-officedocument.presentationml.tags+xml"/>
  <Override PartName="/ppt/charts/chart546.xml" ContentType="application/vnd.openxmlformats-officedocument.drawingml.chart+xml"/>
  <Override PartName="/ppt/tags/tag574.xml" ContentType="application/vnd.openxmlformats-officedocument.presentationml.tags+xml"/>
  <Override PartName="/ppt/charts/chart547.xml" ContentType="application/vnd.openxmlformats-officedocument.drawingml.chart+xml"/>
  <Override PartName="/ppt/tags/tag575.xml" ContentType="application/vnd.openxmlformats-officedocument.presentationml.tags+xml"/>
  <Override PartName="/ppt/charts/chart548.xml" ContentType="application/vnd.openxmlformats-officedocument.drawingml.chart+xml"/>
  <Override PartName="/ppt/tags/tag576.xml" ContentType="application/vnd.openxmlformats-officedocument.presentationml.tags+xml"/>
  <Override PartName="/ppt/charts/chart549.xml" ContentType="application/vnd.openxmlformats-officedocument.drawingml.chart+xml"/>
  <Override PartName="/ppt/tags/tag577.xml" ContentType="application/vnd.openxmlformats-officedocument.presentationml.tags+xml"/>
  <Override PartName="/ppt/charts/chart550.xml" ContentType="application/vnd.openxmlformats-officedocument.drawingml.chart+xml"/>
  <Override PartName="/ppt/tags/tag578.xml" ContentType="application/vnd.openxmlformats-officedocument.presentationml.tags+xml"/>
  <Override PartName="/ppt/charts/chart551.xml" ContentType="application/vnd.openxmlformats-officedocument.drawingml.chart+xml"/>
  <Override PartName="/ppt/tags/tag579.xml" ContentType="application/vnd.openxmlformats-officedocument.presentationml.tags+xml"/>
  <Override PartName="/ppt/charts/chart552.xml" ContentType="application/vnd.openxmlformats-officedocument.drawingml.chart+xml"/>
  <Override PartName="/ppt/tags/tag580.xml" ContentType="application/vnd.openxmlformats-officedocument.presentationml.tags+xml"/>
  <Override PartName="/ppt/charts/chart553.xml" ContentType="application/vnd.openxmlformats-officedocument.drawingml.chart+xml"/>
  <Override PartName="/ppt/tags/tag581.xml" ContentType="application/vnd.openxmlformats-officedocument.presentationml.tags+xml"/>
  <Override PartName="/ppt/charts/chart554.xml" ContentType="application/vnd.openxmlformats-officedocument.drawingml.chart+xml"/>
  <Override PartName="/ppt/tags/tag582.xml" ContentType="application/vnd.openxmlformats-officedocument.presentationml.tags+xml"/>
  <Override PartName="/ppt/charts/chart555.xml" ContentType="application/vnd.openxmlformats-officedocument.drawingml.chart+xml"/>
  <Override PartName="/ppt/tags/tag583.xml" ContentType="application/vnd.openxmlformats-officedocument.presentationml.tags+xml"/>
  <Override PartName="/ppt/charts/chart556.xml" ContentType="application/vnd.openxmlformats-officedocument.drawingml.chart+xml"/>
  <Override PartName="/ppt/tags/tag584.xml" ContentType="application/vnd.openxmlformats-officedocument.presentationml.tags+xml"/>
  <Override PartName="/ppt/charts/chart557.xml" ContentType="application/vnd.openxmlformats-officedocument.drawingml.chart+xml"/>
  <Override PartName="/ppt/tags/tag585.xml" ContentType="application/vnd.openxmlformats-officedocument.presentationml.tags+xml"/>
  <Override PartName="/ppt/charts/chart558.xml" ContentType="application/vnd.openxmlformats-officedocument.drawingml.chart+xml"/>
  <Override PartName="/ppt/tags/tag586.xml" ContentType="application/vnd.openxmlformats-officedocument.presentationml.tags+xml"/>
  <Override PartName="/ppt/charts/chart559.xml" ContentType="application/vnd.openxmlformats-officedocument.drawingml.chart+xml"/>
  <Override PartName="/ppt/tags/tag587.xml" ContentType="application/vnd.openxmlformats-officedocument.presentationml.tags+xml"/>
  <Override PartName="/ppt/charts/chart560.xml" ContentType="application/vnd.openxmlformats-officedocument.drawingml.chart+xml"/>
  <Override PartName="/ppt/tags/tag588.xml" ContentType="application/vnd.openxmlformats-officedocument.presentationml.tags+xml"/>
  <Override PartName="/ppt/charts/chart561.xml" ContentType="application/vnd.openxmlformats-officedocument.drawingml.chart+xml"/>
  <Override PartName="/ppt/tags/tag589.xml" ContentType="application/vnd.openxmlformats-officedocument.presentationml.tags+xml"/>
  <Override PartName="/ppt/charts/chart562.xml" ContentType="application/vnd.openxmlformats-officedocument.drawingml.chart+xml"/>
  <Override PartName="/ppt/tags/tag590.xml" ContentType="application/vnd.openxmlformats-officedocument.presentationml.tags+xml"/>
  <Override PartName="/ppt/charts/chart563.xml" ContentType="application/vnd.openxmlformats-officedocument.drawingml.chart+xml"/>
  <Override PartName="/ppt/tags/tag591.xml" ContentType="application/vnd.openxmlformats-officedocument.presentationml.tags+xml"/>
  <Override PartName="/ppt/charts/chart564.xml" ContentType="application/vnd.openxmlformats-officedocument.drawingml.chart+xml"/>
  <Override PartName="/ppt/tags/tag592.xml" ContentType="application/vnd.openxmlformats-officedocument.presentationml.tags+xml"/>
  <Override PartName="/ppt/charts/chart565.xml" ContentType="application/vnd.openxmlformats-officedocument.drawingml.chart+xml"/>
  <Override PartName="/ppt/tags/tag593.xml" ContentType="application/vnd.openxmlformats-officedocument.presentationml.tags+xml"/>
  <Override PartName="/ppt/charts/chart566.xml" ContentType="application/vnd.openxmlformats-officedocument.drawingml.chart+xml"/>
  <Override PartName="/ppt/tags/tag594.xml" ContentType="application/vnd.openxmlformats-officedocument.presentationml.tags+xml"/>
  <Override PartName="/ppt/charts/chart567.xml" ContentType="application/vnd.openxmlformats-officedocument.drawingml.chart+xml"/>
  <Override PartName="/ppt/tags/tag595.xml" ContentType="application/vnd.openxmlformats-officedocument.presentationml.tags+xml"/>
  <Override PartName="/ppt/charts/chart568.xml" ContentType="application/vnd.openxmlformats-officedocument.drawingml.chart+xml"/>
  <Override PartName="/ppt/tags/tag596.xml" ContentType="application/vnd.openxmlformats-officedocument.presentationml.tags+xml"/>
  <Override PartName="/ppt/charts/chart569.xml" ContentType="application/vnd.openxmlformats-officedocument.drawingml.chart+xml"/>
  <Override PartName="/ppt/tags/tag597.xml" ContentType="application/vnd.openxmlformats-officedocument.presentationml.tags+xml"/>
  <Override PartName="/ppt/charts/chart570.xml" ContentType="application/vnd.openxmlformats-officedocument.drawingml.chart+xml"/>
  <Override PartName="/ppt/tags/tag598.xml" ContentType="application/vnd.openxmlformats-officedocument.presentationml.tags+xml"/>
  <Override PartName="/ppt/charts/chart571.xml" ContentType="application/vnd.openxmlformats-officedocument.drawingml.chart+xml"/>
  <Override PartName="/ppt/tags/tag599.xml" ContentType="application/vnd.openxmlformats-officedocument.presentationml.tags+xml"/>
  <Override PartName="/ppt/charts/chart572.xml" ContentType="application/vnd.openxmlformats-officedocument.drawingml.chart+xml"/>
  <Override PartName="/ppt/tags/tag600.xml" ContentType="application/vnd.openxmlformats-officedocument.presentationml.tags+xml"/>
  <Override PartName="/ppt/charts/chart573.xml" ContentType="application/vnd.openxmlformats-officedocument.drawingml.chart+xml"/>
  <Override PartName="/ppt/tags/tag601.xml" ContentType="application/vnd.openxmlformats-officedocument.presentationml.tags+xml"/>
  <Override PartName="/ppt/charts/chart574.xml" ContentType="application/vnd.openxmlformats-officedocument.drawingml.chart+xml"/>
  <Override PartName="/ppt/tags/tag602.xml" ContentType="application/vnd.openxmlformats-officedocument.presentationml.tags+xml"/>
  <Override PartName="/ppt/charts/chart575.xml" ContentType="application/vnd.openxmlformats-officedocument.drawingml.chart+xml"/>
  <Override PartName="/ppt/tags/tag603.xml" ContentType="application/vnd.openxmlformats-officedocument.presentationml.tags+xml"/>
  <Override PartName="/ppt/charts/chart576.xml" ContentType="application/vnd.openxmlformats-officedocument.drawingml.chart+xml"/>
  <Override PartName="/ppt/tags/tag604.xml" ContentType="application/vnd.openxmlformats-officedocument.presentationml.tags+xml"/>
  <Override PartName="/ppt/charts/chart577.xml" ContentType="application/vnd.openxmlformats-officedocument.drawingml.chart+xml"/>
  <Override PartName="/ppt/tags/tag605.xml" ContentType="application/vnd.openxmlformats-officedocument.presentationml.tags+xml"/>
  <Override PartName="/ppt/charts/chart578.xml" ContentType="application/vnd.openxmlformats-officedocument.drawingml.chart+xml"/>
  <Override PartName="/ppt/tags/tag606.xml" ContentType="application/vnd.openxmlformats-officedocument.presentationml.tags+xml"/>
  <Override PartName="/ppt/charts/chart579.xml" ContentType="application/vnd.openxmlformats-officedocument.drawingml.chart+xml"/>
  <Override PartName="/ppt/tags/tag607.xml" ContentType="application/vnd.openxmlformats-officedocument.presentationml.tags+xml"/>
  <Override PartName="/ppt/charts/chart580.xml" ContentType="application/vnd.openxmlformats-officedocument.drawingml.chart+xml"/>
  <Override PartName="/ppt/tags/tag608.xml" ContentType="application/vnd.openxmlformats-officedocument.presentationml.tags+xml"/>
  <Override PartName="/ppt/charts/chart581.xml" ContentType="application/vnd.openxmlformats-officedocument.drawingml.chart+xml"/>
  <Override PartName="/ppt/tags/tag609.xml" ContentType="application/vnd.openxmlformats-officedocument.presentationml.tags+xml"/>
  <Override PartName="/ppt/charts/chart582.xml" ContentType="application/vnd.openxmlformats-officedocument.drawingml.chart+xml"/>
  <Override PartName="/ppt/tags/tag610.xml" ContentType="application/vnd.openxmlformats-officedocument.presentationml.tags+xml"/>
  <Override PartName="/ppt/charts/chart583.xml" ContentType="application/vnd.openxmlformats-officedocument.drawingml.chart+xml"/>
  <Override PartName="/ppt/tags/tag611.xml" ContentType="application/vnd.openxmlformats-officedocument.presentationml.tags+xml"/>
  <Override PartName="/ppt/charts/chart584.xml" ContentType="application/vnd.openxmlformats-officedocument.drawingml.chart+xml"/>
  <Override PartName="/ppt/tags/tag612.xml" ContentType="application/vnd.openxmlformats-officedocument.presentationml.tags+xml"/>
  <Override PartName="/ppt/charts/chart585.xml" ContentType="application/vnd.openxmlformats-officedocument.drawingml.chart+xml"/>
  <Override PartName="/ppt/tags/tag613.xml" ContentType="application/vnd.openxmlformats-officedocument.presentationml.tags+xml"/>
  <Override PartName="/ppt/charts/chart586.xml" ContentType="application/vnd.openxmlformats-officedocument.drawingml.chart+xml"/>
  <Override PartName="/ppt/tags/tag614.xml" ContentType="application/vnd.openxmlformats-officedocument.presentationml.tags+xml"/>
  <Override PartName="/ppt/charts/chart587.xml" ContentType="application/vnd.openxmlformats-officedocument.drawingml.chart+xml"/>
  <Override PartName="/ppt/tags/tag615.xml" ContentType="application/vnd.openxmlformats-officedocument.presentationml.tags+xml"/>
  <Override PartName="/ppt/charts/chart588.xml" ContentType="application/vnd.openxmlformats-officedocument.drawingml.chart+xml"/>
  <Override PartName="/ppt/tags/tag616.xml" ContentType="application/vnd.openxmlformats-officedocument.presentationml.tags+xml"/>
  <Override PartName="/ppt/charts/chart589.xml" ContentType="application/vnd.openxmlformats-officedocument.drawingml.chart+xml"/>
  <Override PartName="/ppt/tags/tag617.xml" ContentType="application/vnd.openxmlformats-officedocument.presentationml.tags+xml"/>
  <Override PartName="/ppt/charts/chart590.xml" ContentType="application/vnd.openxmlformats-officedocument.drawingml.chart+xml"/>
  <Override PartName="/ppt/tags/tag618.xml" ContentType="application/vnd.openxmlformats-officedocument.presentationml.tags+xml"/>
  <Override PartName="/ppt/charts/chart591.xml" ContentType="application/vnd.openxmlformats-officedocument.drawingml.chart+xml"/>
  <Override PartName="/ppt/tags/tag619.xml" ContentType="application/vnd.openxmlformats-officedocument.presentationml.tags+xml"/>
  <Override PartName="/ppt/charts/chart592.xml" ContentType="application/vnd.openxmlformats-officedocument.drawingml.chart+xml"/>
  <Override PartName="/ppt/tags/tag620.xml" ContentType="application/vnd.openxmlformats-officedocument.presentationml.tags+xml"/>
  <Override PartName="/ppt/charts/chart593.xml" ContentType="application/vnd.openxmlformats-officedocument.drawingml.chart+xml"/>
  <Override PartName="/ppt/tags/tag621.xml" ContentType="application/vnd.openxmlformats-officedocument.presentationml.tags+xml"/>
  <Override PartName="/ppt/charts/chart594.xml" ContentType="application/vnd.openxmlformats-officedocument.drawingml.chart+xml"/>
  <Override PartName="/ppt/tags/tag622.xml" ContentType="application/vnd.openxmlformats-officedocument.presentationml.tags+xml"/>
  <Override PartName="/ppt/charts/chart595.xml" ContentType="application/vnd.openxmlformats-officedocument.drawingml.chart+xml"/>
  <Override PartName="/ppt/tags/tag623.xml" ContentType="application/vnd.openxmlformats-officedocument.presentationml.tags+xml"/>
  <Override PartName="/ppt/charts/chart596.xml" ContentType="application/vnd.openxmlformats-officedocument.drawingml.chart+xml"/>
  <Override PartName="/ppt/tags/tag624.xml" ContentType="application/vnd.openxmlformats-officedocument.presentationml.tags+xml"/>
  <Override PartName="/ppt/charts/chart597.xml" ContentType="application/vnd.openxmlformats-officedocument.drawingml.chart+xml"/>
  <Override PartName="/ppt/tags/tag625.xml" ContentType="application/vnd.openxmlformats-officedocument.presentationml.tags+xml"/>
  <Override PartName="/ppt/charts/chart598.xml" ContentType="application/vnd.openxmlformats-officedocument.drawingml.chart+xml"/>
  <Override PartName="/ppt/tags/tag626.xml" ContentType="application/vnd.openxmlformats-officedocument.presentationml.tags+xml"/>
  <Override PartName="/ppt/charts/chart599.xml" ContentType="application/vnd.openxmlformats-officedocument.drawingml.chart+xml"/>
  <Override PartName="/ppt/tags/tag627.xml" ContentType="application/vnd.openxmlformats-officedocument.presentationml.tags+xml"/>
  <Override PartName="/ppt/charts/chart600.xml" ContentType="application/vnd.openxmlformats-officedocument.drawingml.chart+xml"/>
  <Override PartName="/ppt/tags/tag628.xml" ContentType="application/vnd.openxmlformats-officedocument.presentationml.tags+xml"/>
  <Override PartName="/ppt/charts/chart601.xml" ContentType="application/vnd.openxmlformats-officedocument.drawingml.chart+xml"/>
  <Override PartName="/ppt/tags/tag629.xml" ContentType="application/vnd.openxmlformats-officedocument.presentationml.tags+xml"/>
  <Override PartName="/ppt/charts/chart602.xml" ContentType="application/vnd.openxmlformats-officedocument.drawingml.chart+xml"/>
  <Override PartName="/ppt/tags/tag630.xml" ContentType="application/vnd.openxmlformats-officedocument.presentationml.tags+xml"/>
  <Override PartName="/ppt/charts/chart603.xml" ContentType="application/vnd.openxmlformats-officedocument.drawingml.chart+xml"/>
  <Override PartName="/ppt/tags/tag631.xml" ContentType="application/vnd.openxmlformats-officedocument.presentationml.tags+xml"/>
  <Override PartName="/ppt/charts/chart604.xml" ContentType="application/vnd.openxmlformats-officedocument.drawingml.chart+xml"/>
  <Override PartName="/ppt/tags/tag632.xml" ContentType="application/vnd.openxmlformats-officedocument.presentationml.tags+xml"/>
  <Override PartName="/ppt/charts/chart605.xml" ContentType="application/vnd.openxmlformats-officedocument.drawingml.chart+xml"/>
  <Override PartName="/ppt/tags/tag633.xml" ContentType="application/vnd.openxmlformats-officedocument.presentationml.tags+xml"/>
  <Override PartName="/ppt/charts/chart606.xml" ContentType="application/vnd.openxmlformats-officedocument.drawingml.chart+xml"/>
  <Override PartName="/ppt/tags/tag634.xml" ContentType="application/vnd.openxmlformats-officedocument.presentationml.tags+xml"/>
  <Override PartName="/ppt/charts/chart607.xml" ContentType="application/vnd.openxmlformats-officedocument.drawingml.chart+xml"/>
  <Override PartName="/ppt/tags/tag635.xml" ContentType="application/vnd.openxmlformats-officedocument.presentationml.tags+xml"/>
  <Override PartName="/ppt/charts/chart608.xml" ContentType="application/vnd.openxmlformats-officedocument.drawingml.chart+xml"/>
  <Override PartName="/ppt/tags/tag636.xml" ContentType="application/vnd.openxmlformats-officedocument.presentationml.tags+xml"/>
  <Override PartName="/ppt/charts/chart609.xml" ContentType="application/vnd.openxmlformats-officedocument.drawingml.chart+xml"/>
  <Override PartName="/ppt/tags/tag637.xml" ContentType="application/vnd.openxmlformats-officedocument.presentationml.tags+xml"/>
  <Override PartName="/ppt/charts/chart610.xml" ContentType="application/vnd.openxmlformats-officedocument.drawingml.chart+xml"/>
  <Override PartName="/ppt/tags/tag638.xml" ContentType="application/vnd.openxmlformats-officedocument.presentationml.tags+xml"/>
  <Override PartName="/ppt/charts/chart611.xml" ContentType="application/vnd.openxmlformats-officedocument.drawingml.chart+xml"/>
  <Override PartName="/ppt/tags/tag639.xml" ContentType="application/vnd.openxmlformats-officedocument.presentationml.tags+xml"/>
  <Override PartName="/ppt/charts/chart612.xml" ContentType="application/vnd.openxmlformats-officedocument.drawingml.chart+xml"/>
  <Override PartName="/ppt/tags/tag640.xml" ContentType="application/vnd.openxmlformats-officedocument.presentationml.tags+xml"/>
  <Override PartName="/ppt/charts/chart613.xml" ContentType="application/vnd.openxmlformats-officedocument.drawingml.chart+xml"/>
  <Override PartName="/ppt/tags/tag641.xml" ContentType="application/vnd.openxmlformats-officedocument.presentationml.tags+xml"/>
  <Override PartName="/ppt/charts/chart614.xml" ContentType="application/vnd.openxmlformats-officedocument.drawingml.chart+xml"/>
  <Override PartName="/ppt/tags/tag642.xml" ContentType="application/vnd.openxmlformats-officedocument.presentationml.tags+xml"/>
  <Override PartName="/ppt/charts/chart615.xml" ContentType="application/vnd.openxmlformats-officedocument.drawingml.chart+xml"/>
  <Override PartName="/ppt/tags/tag643.xml" ContentType="application/vnd.openxmlformats-officedocument.presentationml.tags+xml"/>
  <Override PartName="/ppt/charts/chart616.xml" ContentType="application/vnd.openxmlformats-officedocument.drawingml.chart+xml"/>
  <Override PartName="/ppt/tags/tag644.xml" ContentType="application/vnd.openxmlformats-officedocument.presentationml.tags+xml"/>
  <Override PartName="/ppt/charts/chart617.xml" ContentType="application/vnd.openxmlformats-officedocument.drawingml.chart+xml"/>
  <Override PartName="/ppt/tags/tag645.xml" ContentType="application/vnd.openxmlformats-officedocument.presentationml.tags+xml"/>
  <Override PartName="/ppt/charts/chart618.xml" ContentType="application/vnd.openxmlformats-officedocument.drawingml.chart+xml"/>
  <Override PartName="/ppt/tags/tag646.xml" ContentType="application/vnd.openxmlformats-officedocument.presentationml.tags+xml"/>
  <Override PartName="/ppt/charts/chart619.xml" ContentType="application/vnd.openxmlformats-officedocument.drawingml.chart+xml"/>
  <Override PartName="/ppt/tags/tag647.xml" ContentType="application/vnd.openxmlformats-officedocument.presentationml.tags+xml"/>
  <Override PartName="/ppt/charts/chart620.xml" ContentType="application/vnd.openxmlformats-officedocument.drawingml.chart+xml"/>
  <Override PartName="/ppt/tags/tag648.xml" ContentType="application/vnd.openxmlformats-officedocument.presentationml.tags+xml"/>
  <Override PartName="/ppt/charts/chart621.xml" ContentType="application/vnd.openxmlformats-officedocument.drawingml.chart+xml"/>
  <Override PartName="/ppt/tags/tag649.xml" ContentType="application/vnd.openxmlformats-officedocument.presentationml.tags+xml"/>
  <Override PartName="/ppt/charts/chart622.xml" ContentType="application/vnd.openxmlformats-officedocument.drawingml.chart+xml"/>
  <Override PartName="/ppt/tags/tag650.xml" ContentType="application/vnd.openxmlformats-officedocument.presentationml.tags+xml"/>
  <Override PartName="/ppt/charts/chart623.xml" ContentType="application/vnd.openxmlformats-officedocument.drawingml.chart+xml"/>
  <Override PartName="/ppt/tags/tag651.xml" ContentType="application/vnd.openxmlformats-officedocument.presentationml.tags+xml"/>
  <Override PartName="/ppt/charts/chart624.xml" ContentType="application/vnd.openxmlformats-officedocument.drawingml.chart+xml"/>
  <Override PartName="/ppt/tags/tag652.xml" ContentType="application/vnd.openxmlformats-officedocument.presentationml.tags+xml"/>
  <Override PartName="/ppt/charts/chart625.xml" ContentType="application/vnd.openxmlformats-officedocument.drawingml.chart+xml"/>
  <Override PartName="/ppt/tags/tag653.xml" ContentType="application/vnd.openxmlformats-officedocument.presentationml.tags+xml"/>
  <Override PartName="/ppt/charts/chart626.xml" ContentType="application/vnd.openxmlformats-officedocument.drawingml.chart+xml"/>
  <Override PartName="/ppt/tags/tag654.xml" ContentType="application/vnd.openxmlformats-officedocument.presentationml.tags+xml"/>
  <Override PartName="/ppt/charts/chart627.xml" ContentType="application/vnd.openxmlformats-officedocument.drawingml.chart+xml"/>
  <Override PartName="/ppt/tags/tag655.xml" ContentType="application/vnd.openxmlformats-officedocument.presentationml.tags+xml"/>
  <Override PartName="/ppt/charts/chart628.xml" ContentType="application/vnd.openxmlformats-officedocument.drawingml.chart+xml"/>
  <Override PartName="/ppt/tags/tag656.xml" ContentType="application/vnd.openxmlformats-officedocument.presentationml.tags+xml"/>
  <Override PartName="/ppt/charts/chart629.xml" ContentType="application/vnd.openxmlformats-officedocument.drawingml.chart+xml"/>
  <Override PartName="/ppt/tags/tag657.xml" ContentType="application/vnd.openxmlformats-officedocument.presentationml.tags+xml"/>
  <Override PartName="/ppt/charts/chart63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63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 id="2147477807" r:id="rId447"/>
    <p:sldId id="2147477808" r:id="rId448"/>
    <p:sldId id="2147477809" r:id="rId449"/>
    <p:sldId id="2147477810" r:id="rId450"/>
    <p:sldId id="2147477811" r:id="rId451"/>
    <p:sldId id="2147477812" r:id="rId452"/>
    <p:sldId id="2147477813" r:id="rId453"/>
    <p:sldId id="2147477814" r:id="rId454"/>
    <p:sldId id="2147477815" r:id="rId455"/>
    <p:sldId id="2147477816" r:id="rId456"/>
    <p:sldId id="2147477817" r:id="rId457"/>
    <p:sldId id="2147477818" r:id="rId458"/>
    <p:sldId id="2147477819" r:id="rId459"/>
    <p:sldId id="2147477820" r:id="rId460"/>
    <p:sldId id="2147477821" r:id="rId461"/>
    <p:sldId id="2147477822" r:id="rId462"/>
    <p:sldId id="2147477823" r:id="rId463"/>
    <p:sldId id="2147477824" r:id="rId464"/>
    <p:sldId id="2147477825" r:id="rId465"/>
    <p:sldId id="2147477826" r:id="rId466"/>
    <p:sldId id="2147477827" r:id="rId467"/>
    <p:sldId id="2147477828" r:id="rId468"/>
    <p:sldId id="2147477829" r:id="rId469"/>
    <p:sldId id="2147477830" r:id="rId470"/>
    <p:sldId id="2147477831" r:id="rId471"/>
    <p:sldId id="2147477832" r:id="rId472"/>
    <p:sldId id="2147477833" r:id="rId473"/>
    <p:sldId id="2147477834" r:id="rId474"/>
    <p:sldId id="2147477835" r:id="rId475"/>
    <p:sldId id="2147477836" r:id="rId476"/>
    <p:sldId id="2147477837" r:id="rId477"/>
    <p:sldId id="2147477838" r:id="rId478"/>
    <p:sldId id="2147477839" r:id="rId479"/>
    <p:sldId id="2147477840" r:id="rId480"/>
    <p:sldId id="2147477841" r:id="rId481"/>
    <p:sldId id="2147477842" r:id="rId482"/>
    <p:sldId id="2147477843" r:id="rId483"/>
    <p:sldId id="2147477844" r:id="rId484"/>
    <p:sldId id="2147477845" r:id="rId485"/>
    <p:sldId id="2147477846" r:id="rId486"/>
    <p:sldId id="2147477847" r:id="rId487"/>
    <p:sldId id="2147477848" r:id="rId488"/>
    <p:sldId id="2147477849" r:id="rId489"/>
    <p:sldId id="2147477850" r:id="rId490"/>
    <p:sldId id="2147477851" r:id="rId491"/>
    <p:sldId id="2147477852" r:id="rId492"/>
    <p:sldId id="2147477853" r:id="rId493"/>
    <p:sldId id="2147477854" r:id="rId494"/>
    <p:sldId id="2147477855" r:id="rId495"/>
    <p:sldId id="2147477856" r:id="rId496"/>
    <p:sldId id="2147477857" r:id="rId497"/>
    <p:sldId id="2147477858" r:id="rId498"/>
    <p:sldId id="2147477859" r:id="rId499"/>
    <p:sldId id="2147477860" r:id="rId500"/>
    <p:sldId id="2147477861" r:id="rId501"/>
    <p:sldId id="2147477862" r:id="rId502"/>
    <p:sldId id="2147477863" r:id="rId503"/>
    <p:sldId id="2147477864" r:id="rId504"/>
    <p:sldId id="2147477865" r:id="rId505"/>
    <p:sldId id="2147477866" r:id="rId506"/>
    <p:sldId id="2147477867" r:id="rId507"/>
    <p:sldId id="2147477868" r:id="rId508"/>
    <p:sldId id="2147477869" r:id="rId509"/>
    <p:sldId id="2147477870" r:id="rId510"/>
    <p:sldId id="2147477871" r:id="rId511"/>
    <p:sldId id="2147477872" r:id="rId512"/>
    <p:sldId id="2147477873" r:id="rId513"/>
    <p:sldId id="2147477874" r:id="rId514"/>
    <p:sldId id="2147477875" r:id="rId515"/>
    <p:sldId id="2147477876" r:id="rId516"/>
    <p:sldId id="2147477877" r:id="rId517"/>
    <p:sldId id="2147477878" r:id="rId518"/>
    <p:sldId id="2147477879" r:id="rId519"/>
    <p:sldId id="2147477880" r:id="rId520"/>
    <p:sldId id="2147477881" r:id="rId521"/>
    <p:sldId id="2147477882" r:id="rId522"/>
    <p:sldId id="2147477883" r:id="rId523"/>
    <p:sldId id="2147477884" r:id="rId524"/>
    <p:sldId id="2147477885" r:id="rId525"/>
    <p:sldId id="2147477886" r:id="rId526"/>
    <p:sldId id="2147477887" r:id="rId527"/>
    <p:sldId id="2147477888" r:id="rId528"/>
    <p:sldId id="2147477889" r:id="rId529"/>
    <p:sldId id="2147477890" r:id="rId530"/>
    <p:sldId id="2147477891" r:id="rId531"/>
    <p:sldId id="2147477892" r:id="rId532"/>
    <p:sldId id="2147477893" r:id="rId533"/>
    <p:sldId id="2147477894" r:id="rId534"/>
    <p:sldId id="2147477895" r:id="rId535"/>
    <p:sldId id="2147477896" r:id="rId536"/>
    <p:sldId id="2147477897" r:id="rId537"/>
    <p:sldId id="2147477898" r:id="rId538"/>
    <p:sldId id="2147477899" r:id="rId539"/>
    <p:sldId id="2147477900" r:id="rId540"/>
    <p:sldId id="2147477901" r:id="rId541"/>
    <p:sldId id="2147477902" r:id="rId542"/>
    <p:sldId id="2147477903" r:id="rId543"/>
    <p:sldId id="2147477904" r:id="rId544"/>
    <p:sldId id="2147477905" r:id="rId545"/>
    <p:sldId id="2147477906" r:id="rId546"/>
    <p:sldId id="2147477907" r:id="rId547"/>
    <p:sldId id="2147477908" r:id="rId548"/>
    <p:sldId id="2147477909" r:id="rId549"/>
    <p:sldId id="2147477910" r:id="rId550"/>
    <p:sldId id="2147477911" r:id="rId551"/>
    <p:sldId id="2147477912" r:id="rId552"/>
    <p:sldId id="2147477913" r:id="rId553"/>
    <p:sldId id="2147477914" r:id="rId554"/>
    <p:sldId id="2147477915" r:id="rId555"/>
    <p:sldId id="2147477916" r:id="rId556"/>
    <p:sldId id="2147477917" r:id="rId557"/>
    <p:sldId id="2147477918" r:id="rId558"/>
    <p:sldId id="2147477919" r:id="rId559"/>
    <p:sldId id="2147477920" r:id="rId560"/>
    <p:sldId id="2147477921" r:id="rId561"/>
    <p:sldId id="2147477922" r:id="rId562"/>
    <p:sldId id="2147477923" r:id="rId563"/>
    <p:sldId id="2147477924" r:id="rId564"/>
    <p:sldId id="2147477925" r:id="rId565"/>
    <p:sldId id="2147477926" r:id="rId566"/>
    <p:sldId id="2147477927" r:id="rId567"/>
    <p:sldId id="2147477928" r:id="rId568"/>
    <p:sldId id="2147477929" r:id="rId569"/>
    <p:sldId id="2147477930" r:id="rId570"/>
    <p:sldId id="2147477931" r:id="rId571"/>
    <p:sldId id="2147477932" r:id="rId572"/>
    <p:sldId id="2147477933" r:id="rId573"/>
    <p:sldId id="2147477934" r:id="rId574"/>
    <p:sldId id="2147477935" r:id="rId575"/>
    <p:sldId id="2147477936" r:id="rId576"/>
    <p:sldId id="2147477937" r:id="rId577"/>
    <p:sldId id="2147477938" r:id="rId578"/>
    <p:sldId id="2147477939" r:id="rId579"/>
    <p:sldId id="2147477940" r:id="rId580"/>
    <p:sldId id="2147477941" r:id="rId581"/>
    <p:sldId id="2147477942" r:id="rId582"/>
    <p:sldId id="2147477943" r:id="rId583"/>
    <p:sldId id="2147477944" r:id="rId584"/>
    <p:sldId id="2147477945" r:id="rId585"/>
    <p:sldId id="2147477946" r:id="rId586"/>
    <p:sldId id="2147477947" r:id="rId587"/>
    <p:sldId id="2147477948" r:id="rId588"/>
    <p:sldId id="2147477949" r:id="rId589"/>
    <p:sldId id="2147477950" r:id="rId590"/>
    <p:sldId id="2147477951" r:id="rId591"/>
    <p:sldId id="2147477952" r:id="rId592"/>
    <p:sldId id="2147477953" r:id="rId593"/>
    <p:sldId id="2147477954" r:id="rId594"/>
    <p:sldId id="2147477955" r:id="rId595"/>
    <p:sldId id="2147477956" r:id="rId596"/>
    <p:sldId id="2147477957" r:id="rId597"/>
    <p:sldId id="2147477958" r:id="rId598"/>
    <p:sldId id="2147477959" r:id="rId599"/>
    <p:sldId id="2147477960" r:id="rId600"/>
    <p:sldId id="2147477961" r:id="rId601"/>
    <p:sldId id="2147477962" r:id="rId602"/>
    <p:sldId id="2147477963" r:id="rId603"/>
    <p:sldId id="2147477964" r:id="rId604"/>
    <p:sldId id="2147477965" r:id="rId605"/>
    <p:sldId id="2147477966" r:id="rId606"/>
    <p:sldId id="2147477967" r:id="rId607"/>
    <p:sldId id="2147477968" r:id="rId608"/>
    <p:sldId id="2147477969" r:id="rId609"/>
    <p:sldId id="2147477970" r:id="rId610"/>
    <p:sldId id="2147477971" r:id="rId611"/>
    <p:sldId id="2147477972" r:id="rId612"/>
    <p:sldId id="2147477973" r:id="rId613"/>
    <p:sldId id="2147477974" r:id="rId614"/>
    <p:sldId id="2147477975" r:id="rId615"/>
    <p:sldId id="2147477976" r:id="rId616"/>
    <p:sldId id="2147477977" r:id="rId617"/>
    <p:sldId id="2147477978" r:id="rId618"/>
    <p:sldId id="2147477979" r:id="rId619"/>
    <p:sldId id="2147477980" r:id="rId620"/>
    <p:sldId id="2147477981" r:id="rId621"/>
    <p:sldId id="2147477982" r:id="rId622"/>
    <p:sldId id="2147477983" r:id="rId623"/>
    <p:sldId id="2147477984" r:id="rId624"/>
    <p:sldId id="2147477985" r:id="rId625"/>
    <p:sldId id="2147477986" r:id="rId626"/>
    <p:sldId id="2147477987" r:id="rId627"/>
    <p:sldId id="2147477988" r:id="rId628"/>
    <p:sldId id="2147477989" r:id="rId629"/>
    <p:sldId id="2147477990" r:id="rId630"/>
    <p:sldId id="2147477991" r:id="rId631"/>
    <p:sldId id="2147477992" r:id="rId632"/>
    <p:sldId id="2147477993" r:id="rId633"/>
    <p:sldId id="2147477994" r:id="rId6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5580FF73-A8AE-41A3-AF27-86C3B1E75ECB}">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Lst>
        </p14:section>
        <p14:section name="Category Price Point Distribution Analysis P12M" id="{9EAF776E-4B36-4142-82E2-382D96B21CE4}">
          <p14:sldIdLst>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ctor Price Point Distribution Analysis P3M" id="{B1AE4641-8F4B-4BF5-9FB7-E50D7DECE754}">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Lst>
        </p14:section>
        <p14:section name="Sector Price Point Distribution Analysis P12M" id="{BFC1F1CD-E811-4A56-A716-BE1144E661FA}">
          <p14:sldIdLst>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Lst>
        </p14:section>
        <p14:section name="Category Price Point Distribution Analysis P3M ByManuf" id="{E4CC2227-7B6E-4DF7-AA8F-60DA5A294C7E}">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Lst>
        </p14:section>
        <p14:section name="Category Price Point Distribution Analysis P12M ByManuf" id="{3F5E4327-C4C9-47CE-8C22-11CC4ED80071}">
          <p14:sldIdLst>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Lst>
        </p14:section>
        <p14:section name="Sector Price Point Distribution Analysis P3M ByManuf" id="{9DC8C5AC-F330-43F0-9406-0129D9F133E6}">
          <p14:sldIdLst>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Lst>
        </p14:section>
        <p14:section name="Sector Price Point Distribution Analysis P12M ByManuf" id="{82438CE4-BBFC-4E0A-8B47-DDF058B18717}">
          <p14:sldIdLst>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Lst>
        </p14:section>
        <p14:section name="Price Point Comparison Analysis by Manuf" id="{C0732C8B-4F46-4E25-A189-692321D8B909}">
          <p14:sldIdLst>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Lst>
        </p14:section>
        <p14:section name="Price Point Comparison Analysis by Product" id="{CE250BDD-F9F4-4317-96AD-20CB0F0E806B}">
          <p14:sldIdLst>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 id="2147477631"/>
            <p14:sldId id="2147477632"/>
            <p14:sldId id="2147477633"/>
            <p14:sldId id="2147477634"/>
            <p14:sldId id="2147477635"/>
            <p14:sldId id="2147477636"/>
            <p14:sldId id="2147477637"/>
            <p14:sldId id="2147477638"/>
            <p14:sldId id="2147477639"/>
            <p14:sldId id="2147477640"/>
            <p14:sldId id="2147477641"/>
            <p14:sldId id="2147477642"/>
            <p14:sldId id="2147477643"/>
            <p14:sldId id="2147477644"/>
            <p14:sldId id="2147477645"/>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 id="2147477667"/>
            <p14:sldId id="2147477668"/>
            <p14:sldId id="2147477669"/>
            <p14:sldId id="2147477670"/>
            <p14:sldId id="2147477671"/>
            <p14:sldId id="2147477672"/>
            <p14:sldId id="2147477673"/>
            <p14:sldId id="2147477674"/>
          </p14:sldIdLst>
        </p14:section>
        <p14:section name="Price Point Distribution Analysis By Brand" id="{902442E8-9F40-421E-84FD-1F62C02E73C8}">
          <p14:sldIdLst>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 id="2147477695"/>
            <p14:sldId id="2147477696"/>
            <p14:sldId id="2147477697"/>
            <p14:sldId id="2147477698"/>
            <p14:sldId id="2147477699"/>
            <p14:sldId id="2147477700"/>
            <p14:sldId id="2147477701"/>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 id="2147477807"/>
            <p14:sldId id="2147477808"/>
            <p14:sldId id="2147477809"/>
            <p14:sldId id="2147477810"/>
            <p14:sldId id="2147477811"/>
            <p14:sldId id="2147477812"/>
            <p14:sldId id="2147477813"/>
            <p14:sldId id="2147477814"/>
            <p14:sldId id="2147477815"/>
            <p14:sldId id="2147477816"/>
            <p14:sldId id="2147477817"/>
            <p14:sldId id="2147477818"/>
            <p14:sldId id="2147477819"/>
            <p14:sldId id="2147477820"/>
            <p14:sldId id="2147477821"/>
            <p14:sldId id="2147477822"/>
            <p14:sldId id="2147477823"/>
            <p14:sldId id="2147477824"/>
            <p14:sldId id="2147477825"/>
            <p14:sldId id="2147477826"/>
            <p14:sldId id="2147477827"/>
            <p14:sldId id="2147477828"/>
            <p14:sldId id="2147477829"/>
            <p14:sldId id="2147477830"/>
            <p14:sldId id="2147477831"/>
            <p14:sldId id="2147477832"/>
            <p14:sldId id="2147477833"/>
            <p14:sldId id="2147477834"/>
            <p14:sldId id="2147477835"/>
            <p14:sldId id="2147477836"/>
            <p14:sldId id="2147477837"/>
            <p14:sldId id="2147477838"/>
            <p14:sldId id="2147477839"/>
            <p14:sldId id="2147477840"/>
            <p14:sldId id="2147477841"/>
            <p14:sldId id="2147477842"/>
            <p14:sldId id="2147477843"/>
            <p14:sldId id="2147477844"/>
            <p14:sldId id="2147477845"/>
            <p14:sldId id="2147477846"/>
            <p14:sldId id="2147477847"/>
            <p14:sldId id="2147477848"/>
            <p14:sldId id="2147477849"/>
            <p14:sldId id="2147477850"/>
            <p14:sldId id="2147477851"/>
            <p14:sldId id="2147477852"/>
            <p14:sldId id="2147477853"/>
            <p14:sldId id="2147477854"/>
            <p14:sldId id="2147477855"/>
            <p14:sldId id="2147477856"/>
            <p14:sldId id="2147477857"/>
            <p14:sldId id="2147477858"/>
            <p14:sldId id="2147477859"/>
            <p14:sldId id="2147477860"/>
            <p14:sldId id="2147477861"/>
            <p14:sldId id="2147477862"/>
            <p14:sldId id="2147477863"/>
            <p14:sldId id="2147477864"/>
            <p14:sldId id="2147477865"/>
            <p14:sldId id="2147477866"/>
            <p14:sldId id="2147477867"/>
            <p14:sldId id="2147477868"/>
            <p14:sldId id="2147477869"/>
            <p14:sldId id="2147477870"/>
            <p14:sldId id="2147477871"/>
            <p14:sldId id="2147477872"/>
            <p14:sldId id="2147477873"/>
            <p14:sldId id="2147477874"/>
            <p14:sldId id="2147477875"/>
            <p14:sldId id="2147477876"/>
            <p14:sldId id="2147477877"/>
            <p14:sldId id="2147477878"/>
            <p14:sldId id="2147477879"/>
            <p14:sldId id="2147477880"/>
            <p14:sldId id="2147477881"/>
            <p14:sldId id="2147477882"/>
            <p14:sldId id="2147477883"/>
            <p14:sldId id="2147477884"/>
            <p14:sldId id="2147477885"/>
            <p14:sldId id="2147477886"/>
            <p14:sldId id="2147477887"/>
            <p14:sldId id="2147477888"/>
            <p14:sldId id="2147477889"/>
            <p14:sldId id="2147477890"/>
            <p14:sldId id="2147477891"/>
            <p14:sldId id="2147477892"/>
            <p14:sldId id="2147477893"/>
            <p14:sldId id="2147477894"/>
            <p14:sldId id="2147477895"/>
            <p14:sldId id="2147477896"/>
            <p14:sldId id="2147477897"/>
            <p14:sldId id="2147477898"/>
            <p14:sldId id="2147477899"/>
            <p14:sldId id="2147477900"/>
            <p14:sldId id="2147477901"/>
            <p14:sldId id="2147477902"/>
            <p14:sldId id="2147477903"/>
            <p14:sldId id="2147477904"/>
            <p14:sldId id="2147477905"/>
            <p14:sldId id="2147477906"/>
            <p14:sldId id="2147477907"/>
            <p14:sldId id="2147477908"/>
            <p14:sldId id="2147477909"/>
            <p14:sldId id="2147477910"/>
            <p14:sldId id="2147477911"/>
            <p14:sldId id="2147477912"/>
            <p14:sldId id="2147477913"/>
            <p14:sldId id="2147477914"/>
            <p14:sldId id="2147477915"/>
            <p14:sldId id="2147477916"/>
            <p14:sldId id="2147477917"/>
            <p14:sldId id="2147477918"/>
            <p14:sldId id="2147477919"/>
            <p14:sldId id="2147477920"/>
            <p14:sldId id="2147477921"/>
            <p14:sldId id="2147477922"/>
            <p14:sldId id="2147477923"/>
            <p14:sldId id="2147477924"/>
            <p14:sldId id="2147477925"/>
            <p14:sldId id="2147477926"/>
            <p14:sldId id="2147477927"/>
            <p14:sldId id="2147477928"/>
            <p14:sldId id="2147477929"/>
            <p14:sldId id="2147477930"/>
            <p14:sldId id="2147477931"/>
            <p14:sldId id="2147477932"/>
            <p14:sldId id="2147477933"/>
            <p14:sldId id="2147477934"/>
            <p14:sldId id="2147477935"/>
            <p14:sldId id="2147477936"/>
            <p14:sldId id="2147477937"/>
            <p14:sldId id="2147477938"/>
            <p14:sldId id="2147477939"/>
            <p14:sldId id="2147477940"/>
            <p14:sldId id="2147477941"/>
            <p14:sldId id="2147477942"/>
            <p14:sldId id="2147477943"/>
          </p14:sldIdLst>
        </p14:section>
        <p14:section name="Price Point Distribution By Brand By Sector" id="{91612ACA-DF67-455E-B2BC-54576CF6158B}">
          <p14:sldIdLst>
            <p14:sldId id="2147477944"/>
            <p14:sldId id="2147477945"/>
            <p14:sldId id="2147477946"/>
            <p14:sldId id="2147477947"/>
            <p14:sldId id="2147477948"/>
            <p14:sldId id="2147477949"/>
            <p14:sldId id="2147477950"/>
            <p14:sldId id="2147477951"/>
            <p14:sldId id="2147477952"/>
            <p14:sldId id="2147477953"/>
            <p14:sldId id="2147477954"/>
            <p14:sldId id="2147477955"/>
            <p14:sldId id="2147477956"/>
            <p14:sldId id="2147477957"/>
            <p14:sldId id="2147477958"/>
            <p14:sldId id="2147477959"/>
            <p14:sldId id="2147477960"/>
          </p14:sldIdLst>
        </p14:section>
        <p14:section name="Price Point Distribution By Brand By Segment" id="{FF811822-673E-47BC-9751-AF2BC596614F}">
          <p14:sldIdLst>
            <p14:sldId id="2147477961"/>
            <p14:sldId id="2147477962"/>
            <p14:sldId id="2147477963"/>
            <p14:sldId id="2147477964"/>
            <p14:sldId id="2147477965"/>
            <p14:sldId id="2147477966"/>
            <p14:sldId id="2147477967"/>
            <p14:sldId id="2147477968"/>
            <p14:sldId id="2147477969"/>
            <p14:sldId id="2147477970"/>
            <p14:sldId id="2147477971"/>
            <p14:sldId id="2147477972"/>
            <p14:sldId id="2147477973"/>
            <p14:sldId id="2147477974"/>
            <p14:sldId id="2147477975"/>
            <p14:sldId id="2147477976"/>
            <p14:sldId id="2147477977"/>
            <p14:sldId id="2147477978"/>
            <p14:sldId id="2147477979"/>
            <p14:sldId id="2147477980"/>
            <p14:sldId id="2147477981"/>
            <p14:sldId id="2147477982"/>
            <p14:sldId id="2147477983"/>
            <p14:sldId id="2147477984"/>
            <p14:sldId id="2147477985"/>
            <p14:sldId id="2147477986"/>
            <p14:sldId id="2147477987"/>
            <p14:sldId id="2147477988"/>
            <p14:sldId id="2147477989"/>
            <p14:sldId id="2147477990"/>
            <p14:sldId id="2147477991"/>
            <p14:sldId id="2147477992"/>
            <p14:sldId id="2147477993"/>
            <p14:sldId id="214747799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326" y="4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slide" Target="slides/slide616.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631" Type="http://schemas.openxmlformats.org/officeDocument/2006/relationships/slide" Target="slides/slide627.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79" Type="http://schemas.openxmlformats.org/officeDocument/2006/relationships/slide" Target="slides/slide475.xml"/><Relationship Id="rId36" Type="http://schemas.openxmlformats.org/officeDocument/2006/relationships/slide" Target="slides/slide32.xml"/><Relationship Id="rId339" Type="http://schemas.openxmlformats.org/officeDocument/2006/relationships/slide" Target="slides/slide335.xml"/><Relationship Id="rId546" Type="http://schemas.openxmlformats.org/officeDocument/2006/relationships/slide" Target="slides/slide542.xml"/><Relationship Id="rId101" Type="http://schemas.openxmlformats.org/officeDocument/2006/relationships/slide" Target="slides/slide97.xml"/><Relationship Id="rId185" Type="http://schemas.openxmlformats.org/officeDocument/2006/relationships/slide" Target="slides/slide181.xml"/><Relationship Id="rId406" Type="http://schemas.openxmlformats.org/officeDocument/2006/relationships/slide" Target="slides/slide402.xml"/><Relationship Id="rId392" Type="http://schemas.openxmlformats.org/officeDocument/2006/relationships/slide" Target="slides/slide388.xml"/><Relationship Id="rId613" Type="http://schemas.openxmlformats.org/officeDocument/2006/relationships/slide" Target="slides/slide609.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599" Type="http://schemas.openxmlformats.org/officeDocument/2006/relationships/slide" Target="slides/slide595.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624" Type="http://schemas.openxmlformats.org/officeDocument/2006/relationships/slide" Target="slides/slide620.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635" Type="http://schemas.openxmlformats.org/officeDocument/2006/relationships/notesMaster" Target="notesMasters/notesMaster1.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579" Type="http://schemas.openxmlformats.org/officeDocument/2006/relationships/slide" Target="slides/slide575.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590" Type="http://schemas.openxmlformats.org/officeDocument/2006/relationships/slide" Target="slides/slide586.xml"/><Relationship Id="rId604" Type="http://schemas.openxmlformats.org/officeDocument/2006/relationships/slide" Target="slides/slide600.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slide" Target="slides/slide566.xml"/><Relationship Id="rId626" Type="http://schemas.openxmlformats.org/officeDocument/2006/relationships/slide" Target="slides/slide622.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637"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617" Type="http://schemas.openxmlformats.org/officeDocument/2006/relationships/slide" Target="slides/slide613.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628" Type="http://schemas.openxmlformats.org/officeDocument/2006/relationships/slide" Target="slides/slide624.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583" Type="http://schemas.openxmlformats.org/officeDocument/2006/relationships/slide" Target="slides/slide579.xml"/><Relationship Id="rId639" Type="http://schemas.openxmlformats.org/officeDocument/2006/relationships/tableStyles" Target="tableStyles.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594" Type="http://schemas.openxmlformats.org/officeDocument/2006/relationships/slide" Target="slides/slide590.xml"/><Relationship Id="rId608" Type="http://schemas.openxmlformats.org/officeDocument/2006/relationships/slide" Target="slides/slide60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619" Type="http://schemas.openxmlformats.org/officeDocument/2006/relationships/slide" Target="slides/slide61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630" Type="http://schemas.openxmlformats.org/officeDocument/2006/relationships/slide" Target="slides/slide626.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slide" Target="slides/slide617.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632" Type="http://schemas.openxmlformats.org/officeDocument/2006/relationships/slide" Target="slides/slide628.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slide" Target="slides/slide619.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634" Type="http://schemas.openxmlformats.org/officeDocument/2006/relationships/slide" Target="slides/slide630.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625" Type="http://schemas.openxmlformats.org/officeDocument/2006/relationships/slide" Target="slides/slide621.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636" Type="http://schemas.openxmlformats.org/officeDocument/2006/relationships/presProps" Target="presProps.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627" Type="http://schemas.openxmlformats.org/officeDocument/2006/relationships/slide" Target="slides/slide623.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638" Type="http://schemas.openxmlformats.org/officeDocument/2006/relationships/theme" Target="theme/theme1.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640" Type="http://schemas.microsoft.com/office/2015/10/relationships/revisionInfo" Target="revisionInfo.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 Id="rId437" Type="http://schemas.openxmlformats.org/officeDocument/2006/relationships/slide" Target="slides/slide433.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610-4C44-8665-D589E05C3672}"/>
                </c:ext>
              </c:extLst>
            </c:dLbl>
            <c:dLbl>
              <c:idx val="1"/>
              <c:tx>
                <c:rich>
                  <a:bodyPr/>
                  <a:lstStyle/>
                  <a:p>
                    <a:r>
                      <a:rPr lang="en-US"/>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610-4C44-8665-D589E05C3672}"/>
                </c:ext>
              </c:extLst>
            </c:dLbl>
            <c:dLbl>
              <c:idx val="2"/>
              <c:tx>
                <c:rich>
                  <a:bodyPr/>
                  <a:lstStyle/>
                  <a:p>
                    <a:r>
                      <a:rPr lang="en-US"/>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610-4C44-8665-D589E05C3672}"/>
                </c:ext>
              </c:extLst>
            </c:dLbl>
            <c:dLbl>
              <c:idx val="3"/>
              <c:tx>
                <c:rich>
                  <a:bodyPr/>
                  <a:lstStyle/>
                  <a:p>
                    <a:r>
                      <a:rPr lang="en-US"/>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610-4C44-8665-D589E05C3672}"/>
                </c:ext>
              </c:extLst>
            </c:dLbl>
            <c:dLbl>
              <c:idx val="4"/>
              <c:tx>
                <c:rich>
                  <a:bodyPr/>
                  <a:lstStyle/>
                  <a:p>
                    <a:r>
                      <a:rPr lang="en-US"/>
                      <a:t>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610-4C44-8665-D589E05C3672}"/>
                </c:ext>
              </c:extLst>
            </c:dLbl>
            <c:dLbl>
              <c:idx val="5"/>
              <c:tx>
                <c:rich>
                  <a:bodyPr/>
                  <a:lstStyle/>
                  <a:p>
                    <a:r>
                      <a:rPr lang="en-US"/>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610-4C44-8665-D589E05C3672}"/>
                </c:ext>
              </c:extLst>
            </c:dLbl>
            <c:dLbl>
              <c:idx val="6"/>
              <c:tx>
                <c:rich>
                  <a:bodyPr/>
                  <a:lstStyle/>
                  <a:p>
                    <a:r>
                      <a:rPr lang="en-US"/>
                      <a:t>2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610-4C44-8665-D589E05C3672}"/>
                </c:ext>
              </c:extLst>
            </c:dLbl>
            <c:dLbl>
              <c:idx val="7"/>
              <c:tx>
                <c:rich>
                  <a:bodyPr/>
                  <a:lstStyle/>
                  <a:p>
                    <a:r>
                      <a:rPr lang="en-US"/>
                      <a:t>37.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610-4C44-8665-D589E05C3672}"/>
                </c:ext>
              </c:extLst>
            </c:dLbl>
            <c:dLbl>
              <c:idx val="8"/>
              <c:tx>
                <c:rich>
                  <a:bodyPr/>
                  <a:lstStyle/>
                  <a:p>
                    <a:r>
                      <a:rPr lang="en-US"/>
                      <a:t>4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610-4C44-8665-D589E05C3672}"/>
                </c:ext>
              </c:extLst>
            </c:dLbl>
            <c:dLbl>
              <c:idx val="9"/>
              <c:tx>
                <c:rich>
                  <a:bodyPr/>
                  <a:lstStyle/>
                  <a:p>
                    <a:r>
                      <a:rPr lang="en-US"/>
                      <a:t>2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610-4C44-8665-D589E05C3672}"/>
                </c:ext>
              </c:extLst>
            </c:dLbl>
            <c:dLbl>
              <c:idx val="10"/>
              <c:tx>
                <c:rich>
                  <a:bodyPr/>
                  <a:lstStyle/>
                  <a:p>
                    <a:r>
                      <a:rPr lang="en-US"/>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610-4C44-8665-D589E05C3672}"/>
                </c:ext>
              </c:extLst>
            </c:dLbl>
            <c:dLbl>
              <c:idx val="11"/>
              <c:tx>
                <c:rich>
                  <a:bodyPr/>
                  <a:lstStyle/>
                  <a:p>
                    <a:r>
                      <a:rPr lang="en-US"/>
                      <a:t>85.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610-4C44-8665-D589E05C3672}"/>
                </c:ext>
              </c:extLst>
            </c:dLbl>
            <c:dLbl>
              <c:idx val="12"/>
              <c:tx>
                <c:rich>
                  <a:bodyPr/>
                  <a:lstStyle/>
                  <a:p>
                    <a:r>
                      <a:rPr lang="en-US"/>
                      <a:t>7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610-4C44-8665-D589E05C3672}"/>
                </c:ext>
              </c:extLst>
            </c:dLbl>
            <c:dLbl>
              <c:idx val="13"/>
              <c:tx>
                <c:rich>
                  <a:bodyPr/>
                  <a:lstStyle/>
                  <a:p>
                    <a:r>
                      <a:rPr lang="en-US"/>
                      <a:t>37.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610-4C44-8665-D589E05C3672}"/>
                </c:ext>
              </c:extLst>
            </c:dLbl>
            <c:dLbl>
              <c:idx val="14"/>
              <c:tx>
                <c:rich>
                  <a:bodyPr/>
                  <a:lstStyle/>
                  <a:p>
                    <a:r>
                      <a:rPr lang="en-US"/>
                      <a:t>42.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610-4C44-8665-D589E05C367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87</c:v>
                </c:pt>
                <c:pt idx="1">
                  <c:v>38.99</c:v>
                </c:pt>
                <c:pt idx="2">
                  <c:v>24.98</c:v>
                </c:pt>
                <c:pt idx="3">
                  <c:v>37.32</c:v>
                </c:pt>
                <c:pt idx="4">
                  <c:v>41.3</c:v>
                </c:pt>
                <c:pt idx="5">
                  <c:v>45.58</c:v>
                </c:pt>
                <c:pt idx="6">
                  <c:v>22.47</c:v>
                </c:pt>
                <c:pt idx="7">
                  <c:v>37.03</c:v>
                </c:pt>
                <c:pt idx="8">
                  <c:v>46.63</c:v>
                </c:pt>
                <c:pt idx="9">
                  <c:v>23.48</c:v>
                </c:pt>
                <c:pt idx="10">
                  <c:v>23.96</c:v>
                </c:pt>
                <c:pt idx="11">
                  <c:v>85.97</c:v>
                </c:pt>
                <c:pt idx="12">
                  <c:v>74.05</c:v>
                </c:pt>
                <c:pt idx="13">
                  <c:v>37.369999999999997</c:v>
                </c:pt>
                <c:pt idx="14">
                  <c:v>42.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8E1-43F6-A6D2-DD5187A85121}"/>
                </c:ext>
              </c:extLst>
            </c:dLbl>
            <c:dLbl>
              <c:idx val="1"/>
              <c:tx>
                <c:rich>
                  <a:bodyPr/>
                  <a:lstStyle/>
                  <a:p>
                    <a:r>
                      <a:rPr lang="en-CH"/>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8E1-43F6-A6D2-DD5187A85121}"/>
                </c:ext>
              </c:extLst>
            </c:dLbl>
            <c:dLbl>
              <c:idx val="2"/>
              <c:tx>
                <c:rich>
                  <a:bodyPr/>
                  <a:lstStyle/>
                  <a:p>
                    <a:r>
                      <a:rPr lang="en-CH"/>
                      <a:t>3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8E1-43F6-A6D2-DD5187A85121}"/>
                </c:ext>
              </c:extLst>
            </c:dLbl>
            <c:dLbl>
              <c:idx val="3"/>
              <c:tx>
                <c:rich>
                  <a:bodyPr/>
                  <a:lstStyle/>
                  <a:p>
                    <a:r>
                      <a:rPr lang="en-CH"/>
                      <a:t>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8E1-43F6-A6D2-DD5187A85121}"/>
                </c:ext>
              </c:extLst>
            </c:dLbl>
            <c:dLbl>
              <c:idx val="4"/>
              <c:tx>
                <c:rich>
                  <a:bodyPr/>
                  <a:lstStyle/>
                  <a:p>
                    <a:r>
                      <a:rPr lang="en-CH"/>
                      <a:t>42.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8E1-43F6-A6D2-DD5187A85121}"/>
                </c:ext>
              </c:extLst>
            </c:dLbl>
            <c:dLbl>
              <c:idx val="5"/>
              <c:tx>
                <c:rich>
                  <a:bodyPr/>
                  <a:lstStyle/>
                  <a:p>
                    <a:r>
                      <a:rPr lang="en-CH"/>
                      <a:t>4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8E1-43F6-A6D2-DD5187A85121}"/>
                </c:ext>
              </c:extLst>
            </c:dLbl>
            <c:dLbl>
              <c:idx val="6"/>
              <c:tx>
                <c:rich>
                  <a:bodyPr/>
                  <a:lstStyle/>
                  <a:p>
                    <a:r>
                      <a:rPr lang="en-CH"/>
                      <a:t>3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8E1-43F6-A6D2-DD5187A8512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MG CHAMPAGNE E.NICOLAS BRUT 1CT X 1500ML</c:v>
                </c:pt>
                <c:pt idx="6">
                  <c:v>CHAMPAGNE NICOLAS BLC DE NOIRS 1CT X 750ML</c:v>
                </c:pt>
              </c:strCache>
            </c:strRef>
          </c:cat>
          <c:val>
            <c:numRef>
              <c:f>Sheet1!$B$2:$B$8</c:f>
              <c:numCache>
                <c:formatCode>General</c:formatCode>
                <c:ptCount val="7"/>
                <c:pt idx="0">
                  <c:v>21.94</c:v>
                </c:pt>
                <c:pt idx="1">
                  <c:v>37.090000000000003</c:v>
                </c:pt>
                <c:pt idx="2">
                  <c:v>39.229999999999997</c:v>
                </c:pt>
                <c:pt idx="3">
                  <c:v>25.28</c:v>
                </c:pt>
                <c:pt idx="4">
                  <c:v>42.73</c:v>
                </c:pt>
                <c:pt idx="5">
                  <c:v>43.96</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92A-4F72-97BE-1E2C4756A648}"/>
                </c:ext>
              </c:extLst>
            </c:dLbl>
            <c:dLbl>
              <c:idx val="1"/>
              <c:tx>
                <c:rich>
                  <a:bodyPr/>
                  <a:lstStyle/>
                  <a:p>
                    <a:r>
                      <a:t>38.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2A-4F72-97BE-1E2C4756A648}"/>
                </c:ext>
              </c:extLst>
            </c:dLbl>
            <c:dLbl>
              <c:idx val="2"/>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92A-4F72-97BE-1E2C4756A648}"/>
                </c:ext>
              </c:extLst>
            </c:dLbl>
            <c:dLbl>
              <c:idx val="3"/>
              <c:tx>
                <c:rich>
                  <a:bodyPr/>
                  <a:lstStyle/>
                  <a:p>
                    <a:r>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2A-4F72-97BE-1E2C4756A648}"/>
                </c:ext>
              </c:extLst>
            </c:dLbl>
            <c:dLbl>
              <c:idx val="4"/>
              <c:tx>
                <c:rich>
                  <a:bodyPr/>
                  <a:lstStyle/>
                  <a:p>
                    <a:r>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92A-4F72-97BE-1E2C4756A648}"/>
                </c:ext>
              </c:extLst>
            </c:dLbl>
            <c:dLbl>
              <c:idx val="5"/>
              <c:tx>
                <c:rich>
                  <a:bodyPr/>
                  <a:lstStyle/>
                  <a:p>
                    <a:r>
                      <a:t>4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2A-4F72-97BE-1E2C4756A648}"/>
                </c:ext>
              </c:extLst>
            </c:dLbl>
            <c:dLbl>
              <c:idx val="6"/>
              <c:tx>
                <c:rich>
                  <a:bodyPr/>
                  <a:lstStyle/>
                  <a:p>
                    <a:r>
                      <a:t>4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92A-4F72-97BE-1E2C4756A648}"/>
                </c:ext>
              </c:extLst>
            </c:dLbl>
            <c:dLbl>
              <c:idx val="7"/>
              <c:tx>
                <c:rich>
                  <a:bodyPr/>
                  <a:lstStyle/>
                  <a:p>
                    <a:r>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2A-4F72-97BE-1E2C4756A648}"/>
                </c:ext>
              </c:extLst>
            </c:dLbl>
            <c:dLbl>
              <c:idx val="8"/>
              <c:tx>
                <c:rich>
                  <a:bodyPr/>
                  <a:lstStyle/>
                  <a:p>
                    <a:r>
                      <a:t>4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92A-4F72-97BE-1E2C4756A648}"/>
                </c:ext>
              </c:extLst>
            </c:dLbl>
            <c:dLbl>
              <c:idx val="9"/>
              <c:tx>
                <c:rich>
                  <a:bodyPr/>
                  <a:lstStyle/>
                  <a:p>
                    <a:r>
                      <a:t>8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2A-4F72-97BE-1E2C4756A648}"/>
                </c:ext>
              </c:extLst>
            </c:dLbl>
            <c:dLbl>
              <c:idx val="10"/>
              <c:tx>
                <c:rich>
                  <a:bodyPr/>
                  <a:lstStyle/>
                  <a:p>
                    <a:r>
                      <a:t>24.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92A-4F72-97BE-1E2C4756A648}"/>
                </c:ext>
              </c:extLst>
            </c:dLbl>
            <c:dLbl>
              <c:idx val="11"/>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2A-4F72-97BE-1E2C4756A648}"/>
                </c:ext>
              </c:extLst>
            </c:dLbl>
            <c:dLbl>
              <c:idx val="12"/>
              <c:tx>
                <c:rich>
                  <a:bodyPr/>
                  <a:lstStyle/>
                  <a:p>
                    <a:r>
                      <a:t>7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92A-4F72-97BE-1E2C4756A648}"/>
                </c:ext>
              </c:extLst>
            </c:dLbl>
            <c:dLbl>
              <c:idx val="13"/>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92A-4F72-97BE-1E2C4756A648}"/>
                </c:ext>
              </c:extLst>
            </c:dLbl>
            <c:dLbl>
              <c:idx val="14"/>
              <c:tx>
                <c:rich>
                  <a:bodyPr/>
                  <a:lstStyle/>
                  <a:p>
                    <a:r>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2A-4F72-97BE-1E2C4756A64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6</c:v>
                </c:pt>
                <c:pt idx="1">
                  <c:v>38.96</c:v>
                </c:pt>
                <c:pt idx="2">
                  <c:v>25</c:v>
                </c:pt>
                <c:pt idx="3">
                  <c:v>37.07</c:v>
                </c:pt>
                <c:pt idx="4">
                  <c:v>22.24</c:v>
                </c:pt>
                <c:pt idx="5">
                  <c:v>45.29</c:v>
                </c:pt>
                <c:pt idx="6">
                  <c:v>41.01</c:v>
                </c:pt>
                <c:pt idx="7">
                  <c:v>24.06</c:v>
                </c:pt>
                <c:pt idx="8">
                  <c:v>46.77</c:v>
                </c:pt>
                <c:pt idx="9">
                  <c:v>84.11</c:v>
                </c:pt>
                <c:pt idx="10">
                  <c:v>24.29</c:v>
                </c:pt>
                <c:pt idx="11">
                  <c:v>36.93</c:v>
                </c:pt>
                <c:pt idx="12">
                  <c:v>76.790000000000006</c:v>
                </c:pt>
                <c:pt idx="13">
                  <c:v>36.369999999999997</c:v>
                </c:pt>
                <c:pt idx="14">
                  <c:v>37.8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5A-4BF8-AC71-0DF2D76527E7}"/>
                </c:ext>
              </c:extLst>
            </c:dLbl>
            <c:dLbl>
              <c:idx val="1"/>
              <c:tx>
                <c:rich>
                  <a:bodyPr/>
                  <a:lstStyle/>
                  <a:p>
                    <a:r>
                      <a:t>3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C5A-4BF8-AC71-0DF2D76527E7}"/>
                </c:ext>
              </c:extLst>
            </c:dLbl>
            <c:dLbl>
              <c:idx val="2"/>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C5A-4BF8-AC71-0DF2D76527E7}"/>
                </c:ext>
              </c:extLst>
            </c:dLbl>
            <c:dLbl>
              <c:idx val="3"/>
              <c:tx>
                <c:rich>
                  <a:bodyPr/>
                  <a:lstStyle/>
                  <a:p>
                    <a:r>
                      <a:t>3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C5A-4BF8-AC71-0DF2D76527E7}"/>
                </c:ext>
              </c:extLst>
            </c:dLbl>
            <c:dLbl>
              <c:idx val="4"/>
              <c:tx>
                <c:rich>
                  <a:bodyPr/>
                  <a:lstStyle/>
                  <a:p>
                    <a:r>
                      <a:t>2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C5A-4BF8-AC71-0DF2D76527E7}"/>
                </c:ext>
              </c:extLst>
            </c:dLbl>
            <c:dLbl>
              <c:idx val="5"/>
              <c:tx>
                <c:rich>
                  <a:bodyPr/>
                  <a:lstStyle/>
                  <a:p>
                    <a:r>
                      <a:t>45.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C5A-4BF8-AC71-0DF2D76527E7}"/>
                </c:ext>
              </c:extLst>
            </c:dLbl>
            <c:dLbl>
              <c:idx val="6"/>
              <c:tx>
                <c:rich>
                  <a:bodyPr/>
                  <a:lstStyle/>
                  <a:p>
                    <a:r>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C5A-4BF8-AC71-0DF2D76527E7}"/>
                </c:ext>
              </c:extLst>
            </c:dLbl>
            <c:dLbl>
              <c:idx val="7"/>
              <c:tx>
                <c:rich>
                  <a:bodyPr/>
                  <a:lstStyle/>
                  <a:p>
                    <a:r>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C5A-4BF8-AC71-0DF2D76527E7}"/>
                </c:ext>
              </c:extLst>
            </c:dLbl>
            <c:dLbl>
              <c:idx val="8"/>
              <c:tx>
                <c:rich>
                  <a:bodyPr/>
                  <a:lstStyle/>
                  <a:p>
                    <a:r>
                      <a:t>2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C5A-4BF8-AC71-0DF2D76527E7}"/>
                </c:ext>
              </c:extLst>
            </c:dLbl>
            <c:dLbl>
              <c:idx val="9"/>
              <c:tx>
                <c:rich>
                  <a:bodyPr/>
                  <a:lstStyle/>
                  <a:p>
                    <a:r>
                      <a:t>37.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C5A-4BF8-AC71-0DF2D76527E7}"/>
                </c:ext>
              </c:extLst>
            </c:dLbl>
            <c:dLbl>
              <c:idx val="10"/>
              <c:tx>
                <c:rich>
                  <a:bodyPr/>
                  <a:lstStyle/>
                  <a:p>
                    <a:r>
                      <a:t>87.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C5A-4BF8-AC71-0DF2D76527E7}"/>
                </c:ext>
              </c:extLst>
            </c:dLbl>
            <c:dLbl>
              <c:idx val="11"/>
              <c:tx>
                <c:rich>
                  <a:bodyPr/>
                  <a:lstStyle/>
                  <a:p>
                    <a:r>
                      <a:t>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C5A-4BF8-AC71-0DF2D76527E7}"/>
                </c:ext>
              </c:extLst>
            </c:dLbl>
            <c:dLbl>
              <c:idx val="12"/>
              <c:tx>
                <c:rich>
                  <a:bodyPr/>
                  <a:lstStyle/>
                  <a:p>
                    <a:r>
                      <a:t>7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C5A-4BF8-AC71-0DF2D76527E7}"/>
                </c:ext>
              </c:extLst>
            </c:dLbl>
            <c:dLbl>
              <c:idx val="13"/>
              <c:tx>
                <c:rich>
                  <a:bodyPr/>
                  <a:lstStyle/>
                  <a:p>
                    <a:r>
                      <a:t>3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C5A-4BF8-AC71-0DF2D76527E7}"/>
                </c:ext>
              </c:extLst>
            </c:dLbl>
            <c:dLbl>
              <c:idx val="14"/>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C5A-4BF8-AC71-0DF2D76527E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strCache>
            </c:strRef>
          </c:cat>
          <c:val>
            <c:numRef>
              <c:f>Sheet1!$B$2:$B$16</c:f>
              <c:numCache>
                <c:formatCode>General</c:formatCode>
                <c:ptCount val="15"/>
                <c:pt idx="0">
                  <c:v>21.91</c:v>
                </c:pt>
                <c:pt idx="1">
                  <c:v>38.93</c:v>
                </c:pt>
                <c:pt idx="2">
                  <c:v>25.02</c:v>
                </c:pt>
                <c:pt idx="3">
                  <c:v>37.130000000000003</c:v>
                </c:pt>
                <c:pt idx="4">
                  <c:v>22.35</c:v>
                </c:pt>
                <c:pt idx="5">
                  <c:v>45.44</c:v>
                </c:pt>
                <c:pt idx="6">
                  <c:v>41.36</c:v>
                </c:pt>
                <c:pt idx="7">
                  <c:v>46.56</c:v>
                </c:pt>
                <c:pt idx="8">
                  <c:v>24.15</c:v>
                </c:pt>
                <c:pt idx="9">
                  <c:v>37.11</c:v>
                </c:pt>
                <c:pt idx="10">
                  <c:v>87.57</c:v>
                </c:pt>
                <c:pt idx="11">
                  <c:v>23.8</c:v>
                </c:pt>
                <c:pt idx="12">
                  <c:v>74.13</c:v>
                </c:pt>
                <c:pt idx="13">
                  <c:v>36.36</c:v>
                </c:pt>
                <c:pt idx="14">
                  <c:v>36.3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34D-42FC-BC5E-110A9CFC81A1}"/>
                </c:ext>
              </c:extLst>
            </c:dLbl>
            <c:dLbl>
              <c:idx val="1"/>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34D-42FC-BC5E-110A9CFC81A1}"/>
                </c:ext>
              </c:extLst>
            </c:dLbl>
            <c:dLbl>
              <c:idx val="2"/>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34D-42FC-BC5E-110A9CFC81A1}"/>
                </c:ext>
              </c:extLst>
            </c:dLbl>
            <c:dLbl>
              <c:idx val="3"/>
              <c:tx>
                <c:rich>
                  <a:bodyPr/>
                  <a:lstStyle/>
                  <a:p>
                    <a:r>
                      <a:t>38.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34D-42FC-BC5E-110A9CFC81A1}"/>
                </c:ext>
              </c:extLst>
            </c:dLbl>
            <c:dLbl>
              <c:idx val="4"/>
              <c:tx>
                <c:rich>
                  <a:bodyPr/>
                  <a:lstStyle/>
                  <a:p>
                    <a:r>
                      <a:t>4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34D-42FC-BC5E-110A9CFC81A1}"/>
                </c:ext>
              </c:extLst>
            </c:dLbl>
            <c:dLbl>
              <c:idx val="5"/>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34D-42FC-BC5E-110A9CFC81A1}"/>
                </c:ext>
              </c:extLst>
            </c:dLbl>
            <c:dLbl>
              <c:idx val="6"/>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34D-42FC-BC5E-110A9CFC81A1}"/>
                </c:ext>
              </c:extLst>
            </c:dLbl>
            <c:dLbl>
              <c:idx val="7"/>
              <c:tx>
                <c:rich>
                  <a:bodyPr/>
                  <a:lstStyle/>
                  <a:p>
                    <a:r>
                      <a:t>8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34D-42FC-BC5E-110A9CFC81A1}"/>
                </c:ext>
              </c:extLst>
            </c:dLbl>
            <c:dLbl>
              <c:idx val="8"/>
              <c:tx>
                <c:rich>
                  <a:bodyPr/>
                  <a:lstStyle/>
                  <a:p>
                    <a:r>
                      <a:t>4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34D-42FC-BC5E-110A9CFC81A1}"/>
                </c:ext>
              </c:extLst>
            </c:dLbl>
            <c:dLbl>
              <c:idx val="9"/>
              <c:tx>
                <c:rich>
                  <a:bodyPr/>
                  <a:lstStyle/>
                  <a:p>
                    <a:r>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34D-42FC-BC5E-110A9CFC81A1}"/>
                </c:ext>
              </c:extLst>
            </c:dLbl>
            <c:dLbl>
              <c:idx val="10"/>
              <c:tx>
                <c:rich>
                  <a:bodyPr/>
                  <a:lstStyle/>
                  <a:p>
                    <a:r>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34D-42FC-BC5E-110A9CFC81A1}"/>
                </c:ext>
              </c:extLst>
            </c:dLbl>
            <c:dLbl>
              <c:idx val="11"/>
              <c:tx>
                <c:rich>
                  <a:bodyPr/>
                  <a:lstStyle/>
                  <a:p>
                    <a:r>
                      <a:t>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34D-42FC-BC5E-110A9CFC81A1}"/>
                </c:ext>
              </c:extLst>
            </c:dLbl>
            <c:dLbl>
              <c:idx val="12"/>
              <c:tx>
                <c:rich>
                  <a:bodyPr/>
                  <a:lstStyle/>
                  <a:p>
                    <a:r>
                      <a:t>7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34D-42FC-BC5E-110A9CFC81A1}"/>
                </c:ext>
              </c:extLst>
            </c:dLbl>
            <c:dLbl>
              <c:idx val="13"/>
              <c:tx>
                <c:rich>
                  <a:bodyPr/>
                  <a:lstStyle/>
                  <a:p>
                    <a:r>
                      <a:t>36.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34D-42FC-BC5E-110A9CFC81A1}"/>
                </c:ext>
              </c:extLst>
            </c:dLbl>
            <c:dLbl>
              <c:idx val="14"/>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34D-42FC-BC5E-110A9CFC81A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strCache>
            </c:strRef>
          </c:cat>
          <c:val>
            <c:numRef>
              <c:f>Sheet1!$B$2:$B$16</c:f>
              <c:numCache>
                <c:formatCode>General</c:formatCode>
                <c:ptCount val="15"/>
                <c:pt idx="0">
                  <c:v>21.91</c:v>
                </c:pt>
                <c:pt idx="1">
                  <c:v>39.020000000000003</c:v>
                </c:pt>
                <c:pt idx="2">
                  <c:v>24.97</c:v>
                </c:pt>
                <c:pt idx="3">
                  <c:v>38.58</c:v>
                </c:pt>
                <c:pt idx="4">
                  <c:v>45.07</c:v>
                </c:pt>
                <c:pt idx="5">
                  <c:v>22.28</c:v>
                </c:pt>
                <c:pt idx="6">
                  <c:v>36.89</c:v>
                </c:pt>
                <c:pt idx="7">
                  <c:v>84.55</c:v>
                </c:pt>
                <c:pt idx="8">
                  <c:v>46.23</c:v>
                </c:pt>
                <c:pt idx="9">
                  <c:v>24.08</c:v>
                </c:pt>
                <c:pt idx="10">
                  <c:v>23.92</c:v>
                </c:pt>
                <c:pt idx="11">
                  <c:v>42.36</c:v>
                </c:pt>
                <c:pt idx="12">
                  <c:v>78</c:v>
                </c:pt>
                <c:pt idx="13">
                  <c:v>36.71</c:v>
                </c:pt>
                <c:pt idx="14">
                  <c:v>3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1B4-4E1E-9800-08EA4633216B}"/>
                </c:ext>
              </c:extLst>
            </c:dLbl>
            <c:dLbl>
              <c:idx val="1"/>
              <c:tx>
                <c:rich>
                  <a:bodyPr/>
                  <a:lstStyle/>
                  <a:p>
                    <a:r>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1B4-4E1E-9800-08EA4633216B}"/>
                </c:ext>
              </c:extLst>
            </c:dLbl>
            <c:dLbl>
              <c:idx val="2"/>
              <c:tx>
                <c:rich>
                  <a:bodyPr/>
                  <a:lstStyle/>
                  <a:p>
                    <a:r>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1B4-4E1E-9800-08EA4633216B}"/>
                </c:ext>
              </c:extLst>
            </c:dLbl>
            <c:dLbl>
              <c:idx val="3"/>
              <c:tx>
                <c:rich>
                  <a:bodyPr/>
                  <a:lstStyle/>
                  <a:p>
                    <a:r>
                      <a:t>2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1B4-4E1E-9800-08EA4633216B}"/>
                </c:ext>
              </c:extLst>
            </c:dLbl>
            <c:dLbl>
              <c:idx val="4"/>
              <c:tx>
                <c:rich>
                  <a:bodyPr/>
                  <a:lstStyle/>
                  <a:p>
                    <a:r>
                      <a:t>4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1B4-4E1E-9800-08EA4633216B}"/>
                </c:ext>
              </c:extLst>
            </c:dLbl>
            <c:dLbl>
              <c:idx val="5"/>
              <c:tx>
                <c:rich>
                  <a:bodyPr/>
                  <a:lstStyle/>
                  <a:p>
                    <a:r>
                      <a:t>7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1B4-4E1E-9800-08EA4633216B}"/>
                </c:ext>
              </c:extLst>
            </c:dLbl>
            <c:dLbl>
              <c:idx val="6"/>
              <c:tx>
                <c:rich>
                  <a:bodyPr/>
                  <a:lstStyle/>
                  <a:p>
                    <a:r>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1B4-4E1E-9800-08EA4633216B}"/>
                </c:ext>
              </c:extLst>
            </c:dLbl>
            <c:dLbl>
              <c:idx val="7"/>
              <c:tx>
                <c:rich>
                  <a:bodyPr/>
                  <a:lstStyle/>
                  <a:p>
                    <a:r>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1B4-4E1E-9800-08EA4633216B}"/>
                </c:ext>
              </c:extLst>
            </c:dLbl>
            <c:dLbl>
              <c:idx val="8"/>
              <c:tx>
                <c:rich>
                  <a:bodyPr/>
                  <a:lstStyle/>
                  <a:p>
                    <a:r>
                      <a:t>85.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1B4-4E1E-9800-08EA4633216B}"/>
                </c:ext>
              </c:extLst>
            </c:dLbl>
            <c:dLbl>
              <c:idx val="9"/>
              <c:tx>
                <c:rich>
                  <a:bodyPr/>
                  <a:lstStyle/>
                  <a:p>
                    <a:r>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1B4-4E1E-9800-08EA4633216B}"/>
                </c:ext>
              </c:extLst>
            </c:dLbl>
            <c:dLbl>
              <c:idx val="10"/>
              <c:tx>
                <c:rich>
                  <a:bodyPr/>
                  <a:lstStyle/>
                  <a:p>
                    <a:r>
                      <a:t>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1B4-4E1E-9800-08EA4633216B}"/>
                </c:ext>
              </c:extLst>
            </c:dLbl>
            <c:dLbl>
              <c:idx val="11"/>
              <c:tx>
                <c:rich>
                  <a:bodyPr/>
                  <a:lstStyle/>
                  <a:p>
                    <a:r>
                      <a:t>2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1B4-4E1E-9800-08EA4633216B}"/>
                </c:ext>
              </c:extLst>
            </c:dLbl>
            <c:dLbl>
              <c:idx val="12"/>
              <c:tx>
                <c:rich>
                  <a:bodyPr/>
                  <a:lstStyle/>
                  <a:p>
                    <a:r>
                      <a:t>42.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1B4-4E1E-9800-08EA4633216B}"/>
                </c:ext>
              </c:extLst>
            </c:dLbl>
            <c:dLbl>
              <c:idx val="13"/>
              <c:tx>
                <c:rich>
                  <a:bodyPr/>
                  <a:lstStyle/>
                  <a:p>
                    <a:r>
                      <a:t>37.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1B4-4E1E-9800-08EA4633216B}"/>
                </c:ext>
              </c:extLst>
            </c:dLbl>
            <c:dLbl>
              <c:idx val="14"/>
              <c:tx>
                <c:rich>
                  <a:bodyPr/>
                  <a:lstStyle/>
                  <a:p>
                    <a:r>
                      <a:t>37.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1B4-4E1E-9800-08EA4633216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7</c:v>
                </c:pt>
                <c:pt idx="1">
                  <c:v>37.32</c:v>
                </c:pt>
                <c:pt idx="2">
                  <c:v>45.58</c:v>
                </c:pt>
                <c:pt idx="3">
                  <c:v>22.47</c:v>
                </c:pt>
                <c:pt idx="4">
                  <c:v>46.63</c:v>
                </c:pt>
                <c:pt idx="5">
                  <c:v>74.05</c:v>
                </c:pt>
                <c:pt idx="6">
                  <c:v>38.99</c:v>
                </c:pt>
                <c:pt idx="7">
                  <c:v>23.96</c:v>
                </c:pt>
                <c:pt idx="8">
                  <c:v>85.97</c:v>
                </c:pt>
                <c:pt idx="9">
                  <c:v>24.98</c:v>
                </c:pt>
                <c:pt idx="10">
                  <c:v>41.3</c:v>
                </c:pt>
                <c:pt idx="11">
                  <c:v>23.48</c:v>
                </c:pt>
                <c:pt idx="12">
                  <c:v>42.05</c:v>
                </c:pt>
                <c:pt idx="13">
                  <c:v>37.03</c:v>
                </c:pt>
                <c:pt idx="14">
                  <c:v>37.3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0D5-4BC9-B8B8-DDCA20E7F846}"/>
                </c:ext>
              </c:extLst>
            </c:dLbl>
            <c:dLbl>
              <c:idx val="1"/>
              <c:tx>
                <c:rich>
                  <a:bodyPr/>
                  <a:lstStyle/>
                  <a:p>
                    <a:r>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0D5-4BC9-B8B8-DDCA20E7F846}"/>
                </c:ext>
              </c:extLst>
            </c:dLbl>
            <c:dLbl>
              <c:idx val="2"/>
              <c:tx>
                <c:rich>
                  <a:bodyPr/>
                  <a:lstStyle/>
                  <a:p>
                    <a:r>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0D5-4BC9-B8B8-DDCA20E7F846}"/>
                </c:ext>
              </c:extLst>
            </c:dLbl>
            <c:dLbl>
              <c:idx val="3"/>
              <c:tx>
                <c:rich>
                  <a:bodyPr/>
                  <a:lstStyle/>
                  <a:p>
                    <a:r>
                      <a:t>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0D5-4BC9-B8B8-DDCA20E7F846}"/>
                </c:ext>
              </c:extLst>
            </c:dLbl>
            <c:dLbl>
              <c:idx val="4"/>
              <c:tx>
                <c:rich>
                  <a:bodyPr/>
                  <a:lstStyle/>
                  <a:p>
                    <a:r>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0D5-4BC9-B8B8-DDCA20E7F846}"/>
                </c:ext>
              </c:extLst>
            </c:dLbl>
            <c:dLbl>
              <c:idx val="5"/>
              <c:tx>
                <c:rich>
                  <a:bodyPr/>
                  <a:lstStyle/>
                  <a:p>
                    <a:r>
                      <a:t>7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0D5-4BC9-B8B8-DDCA20E7F846}"/>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0D5-4BC9-B8B8-DDCA20E7F846}"/>
                </c:ext>
              </c:extLst>
            </c:dLbl>
            <c:dLbl>
              <c:idx val="7"/>
              <c:tx>
                <c:rich>
                  <a:bodyPr/>
                  <a:lstStyle/>
                  <a:p>
                    <a:r>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0D5-4BC9-B8B8-DDCA20E7F846}"/>
                </c:ext>
              </c:extLst>
            </c:dLbl>
            <c:dLbl>
              <c:idx val="8"/>
              <c:tx>
                <c:rich>
                  <a:bodyPr/>
                  <a:lstStyle/>
                  <a:p>
                    <a:r>
                      <a:t>85.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0D5-4BC9-B8B8-DDCA20E7F846}"/>
                </c:ext>
              </c:extLst>
            </c:dLbl>
            <c:dLbl>
              <c:idx val="9"/>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0D5-4BC9-B8B8-DDCA20E7F846}"/>
                </c:ext>
              </c:extLst>
            </c:dLbl>
            <c:dLbl>
              <c:idx val="10"/>
              <c:tx>
                <c:rich>
                  <a:bodyPr/>
                  <a:lstStyle/>
                  <a:p>
                    <a:r>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0D5-4BC9-B8B8-DDCA20E7F846}"/>
                </c:ext>
              </c:extLst>
            </c:dLbl>
            <c:dLbl>
              <c:idx val="11"/>
              <c:tx>
                <c:rich>
                  <a:bodyPr/>
                  <a:lstStyle/>
                  <a:p>
                    <a:r>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0D5-4BC9-B8B8-DDCA20E7F846}"/>
                </c:ext>
              </c:extLst>
            </c:dLbl>
            <c:dLbl>
              <c:idx val="12"/>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0D5-4BC9-B8B8-DDCA20E7F846}"/>
                </c:ext>
              </c:extLst>
            </c:dLbl>
            <c:dLbl>
              <c:idx val="13"/>
              <c:tx>
                <c:rich>
                  <a:bodyPr/>
                  <a:lstStyle/>
                  <a:p>
                    <a:r>
                      <a:t>3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0D5-4BC9-B8B8-DDCA20E7F846}"/>
                </c:ext>
              </c:extLst>
            </c:dLbl>
            <c:dLbl>
              <c:idx val="14"/>
              <c:tx>
                <c:rich>
                  <a:bodyPr/>
                  <a:lstStyle/>
                  <a:p>
                    <a:r>
                      <a:t>38.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0D5-4BC9-B8B8-DDCA20E7F84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c:v>
                </c:pt>
                <c:pt idx="1">
                  <c:v>37.1</c:v>
                </c:pt>
                <c:pt idx="2">
                  <c:v>45.58</c:v>
                </c:pt>
                <c:pt idx="3">
                  <c:v>22.29</c:v>
                </c:pt>
                <c:pt idx="4">
                  <c:v>45.64</c:v>
                </c:pt>
                <c:pt idx="5">
                  <c:v>76.05</c:v>
                </c:pt>
                <c:pt idx="6">
                  <c:v>39.090000000000003</c:v>
                </c:pt>
                <c:pt idx="7">
                  <c:v>23.96</c:v>
                </c:pt>
                <c:pt idx="8">
                  <c:v>85.88</c:v>
                </c:pt>
                <c:pt idx="9">
                  <c:v>24.99</c:v>
                </c:pt>
                <c:pt idx="10">
                  <c:v>41.37</c:v>
                </c:pt>
                <c:pt idx="11">
                  <c:v>24.03</c:v>
                </c:pt>
                <c:pt idx="12">
                  <c:v>42.42</c:v>
                </c:pt>
                <c:pt idx="13">
                  <c:v>36.74</c:v>
                </c:pt>
                <c:pt idx="14">
                  <c:v>38.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03D-45E6-A862-96F1724077F8}"/>
                </c:ext>
              </c:extLst>
            </c:dLbl>
            <c:dLbl>
              <c:idx val="1"/>
              <c:tx>
                <c:rich>
                  <a:bodyPr/>
                  <a:lstStyle/>
                  <a:p>
                    <a:r>
                      <a:t>3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03D-45E6-A862-96F1724077F8}"/>
                </c:ext>
              </c:extLst>
            </c:dLbl>
            <c:dLbl>
              <c:idx val="2"/>
              <c:tx>
                <c:rich>
                  <a:bodyPr/>
                  <a:lstStyle/>
                  <a:p>
                    <a:r>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03D-45E6-A862-96F1724077F8}"/>
                </c:ext>
              </c:extLst>
            </c:dLbl>
            <c:dLbl>
              <c:idx val="3"/>
              <c:tx>
                <c:rich>
                  <a:bodyPr/>
                  <a:lstStyle/>
                  <a:p>
                    <a:r>
                      <a:t>2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03D-45E6-A862-96F1724077F8}"/>
                </c:ext>
              </c:extLst>
            </c:dLbl>
            <c:dLbl>
              <c:idx val="4"/>
              <c:tx>
                <c:rich>
                  <a:bodyPr/>
                  <a:lstStyle/>
                  <a:p>
                    <a:r>
                      <a:t>4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03D-45E6-A862-96F1724077F8}"/>
                </c:ext>
              </c:extLst>
            </c:dLbl>
            <c:dLbl>
              <c:idx val="5"/>
              <c:tx>
                <c:rich>
                  <a:bodyPr/>
                  <a:lstStyle/>
                  <a:p>
                    <a:r>
                      <a:t>79.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03D-45E6-A862-96F1724077F8}"/>
                </c:ext>
              </c:extLst>
            </c:dLbl>
            <c:dLbl>
              <c:idx val="6"/>
              <c:tx>
                <c:rich>
                  <a:bodyPr/>
                  <a:lstStyle/>
                  <a:p>
                    <a:r>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03D-45E6-A862-96F1724077F8}"/>
                </c:ext>
              </c:extLst>
            </c:dLbl>
            <c:dLbl>
              <c:idx val="7"/>
              <c:tx>
                <c:rich>
                  <a:bodyPr/>
                  <a:lstStyle/>
                  <a:p>
                    <a:r>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03D-45E6-A862-96F1724077F8}"/>
                </c:ext>
              </c:extLst>
            </c:dLbl>
            <c:dLbl>
              <c:idx val="8"/>
              <c:tx>
                <c:rich>
                  <a:bodyPr/>
                  <a:lstStyle/>
                  <a:p>
                    <a:r>
                      <a:t>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03D-45E6-A862-96F1724077F8}"/>
                </c:ext>
              </c:extLst>
            </c:dLbl>
            <c:dLbl>
              <c:idx val="9"/>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03D-45E6-A862-96F1724077F8}"/>
                </c:ext>
              </c:extLst>
            </c:dLbl>
            <c:dLbl>
              <c:idx val="10"/>
              <c:tx>
                <c:rich>
                  <a:bodyPr/>
                  <a:lstStyle/>
                  <a:p>
                    <a:r>
                      <a:t>4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03D-45E6-A862-96F1724077F8}"/>
                </c:ext>
              </c:extLst>
            </c:dLbl>
            <c:dLbl>
              <c:idx val="11"/>
              <c:tx>
                <c:rich>
                  <a:bodyPr/>
                  <a:lstStyle/>
                  <a:p>
                    <a:r>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03D-45E6-A862-96F1724077F8}"/>
                </c:ext>
              </c:extLst>
            </c:dLbl>
            <c:dLbl>
              <c:idx val="12"/>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03D-45E6-A862-96F1724077F8}"/>
                </c:ext>
              </c:extLst>
            </c:dLbl>
            <c:dLbl>
              <c:idx val="13"/>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03D-45E6-A862-96F1724077F8}"/>
                </c:ext>
              </c:extLst>
            </c:dLbl>
            <c:dLbl>
              <c:idx val="14"/>
              <c:tx>
                <c:rich>
                  <a:bodyPr/>
                  <a:lstStyle/>
                  <a:p>
                    <a:r>
                      <a:t>3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03D-45E6-A862-96F1724077F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1</c:v>
                </c:pt>
                <c:pt idx="1">
                  <c:v>37.08</c:v>
                </c:pt>
                <c:pt idx="2">
                  <c:v>45.64</c:v>
                </c:pt>
                <c:pt idx="3">
                  <c:v>22.26</c:v>
                </c:pt>
                <c:pt idx="4">
                  <c:v>45.73</c:v>
                </c:pt>
                <c:pt idx="5">
                  <c:v>79.31</c:v>
                </c:pt>
                <c:pt idx="6">
                  <c:v>39.049999999999997</c:v>
                </c:pt>
                <c:pt idx="7">
                  <c:v>24.06</c:v>
                </c:pt>
                <c:pt idx="8">
                  <c:v>83.3</c:v>
                </c:pt>
                <c:pt idx="9">
                  <c:v>25.02</c:v>
                </c:pt>
                <c:pt idx="10">
                  <c:v>41.04</c:v>
                </c:pt>
                <c:pt idx="11">
                  <c:v>24.08</c:v>
                </c:pt>
                <c:pt idx="12">
                  <c:v>43.15</c:v>
                </c:pt>
                <c:pt idx="13">
                  <c:v>36.93</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1FD-47F7-A84B-E4BF0A95BB61}"/>
                </c:ext>
              </c:extLst>
            </c:dLbl>
            <c:dLbl>
              <c:idx val="1"/>
              <c:tx>
                <c:rich>
                  <a:bodyPr/>
                  <a:lstStyle/>
                  <a:p>
                    <a:r>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1FD-47F7-A84B-E4BF0A95BB61}"/>
                </c:ext>
              </c:extLst>
            </c:dLbl>
            <c:dLbl>
              <c:idx val="2"/>
              <c:tx>
                <c:rich>
                  <a:bodyPr/>
                  <a:lstStyle/>
                  <a:p>
                    <a:r>
                      <a:t>45.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1FD-47F7-A84B-E4BF0A95BB61}"/>
                </c:ext>
              </c:extLst>
            </c:dLbl>
            <c:dLbl>
              <c:idx val="3"/>
              <c:tx>
                <c:rich>
                  <a:bodyPr/>
                  <a:lstStyle/>
                  <a:p>
                    <a:r>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1FD-47F7-A84B-E4BF0A95BB61}"/>
                </c:ext>
              </c:extLst>
            </c:dLbl>
            <c:dLbl>
              <c:idx val="4"/>
              <c:tx>
                <c:rich>
                  <a:bodyPr/>
                  <a:lstStyle/>
                  <a:p>
                    <a:r>
                      <a:t>45.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1FD-47F7-A84B-E4BF0A95BB61}"/>
                </c:ext>
              </c:extLst>
            </c:dLbl>
            <c:dLbl>
              <c:idx val="5"/>
              <c:tx>
                <c:rich>
                  <a:bodyPr/>
                  <a:lstStyle/>
                  <a:p>
                    <a:r>
                      <a:t>74.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1FD-47F7-A84B-E4BF0A95BB61}"/>
                </c:ext>
              </c:extLst>
            </c:dLbl>
            <c:dLbl>
              <c:idx val="6"/>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1FD-47F7-A84B-E4BF0A95BB61}"/>
                </c:ext>
              </c:extLst>
            </c:dLbl>
            <c:dLbl>
              <c:idx val="7"/>
              <c:tx>
                <c:rich>
                  <a:bodyPr/>
                  <a:lstStyle/>
                  <a:p>
                    <a:r>
                      <a:t>8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1FD-47F7-A84B-E4BF0A95BB61}"/>
                </c:ext>
              </c:extLst>
            </c:dLbl>
            <c:dLbl>
              <c:idx val="8"/>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1FD-47F7-A84B-E4BF0A95BB61}"/>
                </c:ext>
              </c:extLst>
            </c:dLbl>
            <c:dLbl>
              <c:idx val="9"/>
              <c:tx>
                <c:rich>
                  <a:bodyPr/>
                  <a:lstStyle/>
                  <a:p>
                    <a:r>
                      <a:t>2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1FD-47F7-A84B-E4BF0A95BB61}"/>
                </c:ext>
              </c:extLst>
            </c:dLbl>
            <c:dLbl>
              <c:idx val="10"/>
              <c:tx>
                <c:rich>
                  <a:bodyPr/>
                  <a:lstStyle/>
                  <a:p>
                    <a:r>
                      <a:t>42.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1FD-47F7-A84B-E4BF0A95BB61}"/>
                </c:ext>
              </c:extLst>
            </c:dLbl>
            <c:dLbl>
              <c:idx val="11"/>
              <c:tx>
                <c:rich>
                  <a:bodyPr/>
                  <a:lstStyle/>
                  <a:p>
                    <a:r>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1FD-47F7-A84B-E4BF0A95BB61}"/>
                </c:ext>
              </c:extLst>
            </c:dLbl>
            <c:dLbl>
              <c:idx val="12"/>
              <c:tx>
                <c:rich>
                  <a:bodyPr/>
                  <a:lstStyle/>
                  <a:p>
                    <a:r>
                      <a:t>3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1FD-47F7-A84B-E4BF0A95BB61}"/>
                </c:ext>
              </c:extLst>
            </c:dLbl>
            <c:dLbl>
              <c:idx val="13"/>
              <c:tx>
                <c:rich>
                  <a:bodyPr/>
                  <a:lstStyle/>
                  <a:p>
                    <a:r>
                      <a:t>39.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1FD-47F7-A84B-E4BF0A95BB6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81</c:v>
                </c:pt>
                <c:pt idx="1">
                  <c:v>37.07</c:v>
                </c:pt>
                <c:pt idx="2">
                  <c:v>45.08</c:v>
                </c:pt>
                <c:pt idx="3">
                  <c:v>22.34</c:v>
                </c:pt>
                <c:pt idx="4">
                  <c:v>45.65</c:v>
                </c:pt>
                <c:pt idx="5">
                  <c:v>74.959999999999994</c:v>
                </c:pt>
                <c:pt idx="6">
                  <c:v>39.020000000000003</c:v>
                </c:pt>
                <c:pt idx="7">
                  <c:v>83.76</c:v>
                </c:pt>
                <c:pt idx="8">
                  <c:v>24.3</c:v>
                </c:pt>
                <c:pt idx="9">
                  <c:v>24.91</c:v>
                </c:pt>
                <c:pt idx="10">
                  <c:v>42.78</c:v>
                </c:pt>
                <c:pt idx="11">
                  <c:v>23.87</c:v>
                </c:pt>
                <c:pt idx="12">
                  <c:v>36.619999999999997</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38F-4B3C-9B0E-9C172B6BD7F3}"/>
                </c:ext>
              </c:extLst>
            </c:dLbl>
            <c:dLbl>
              <c:idx val="1"/>
              <c:tx>
                <c:rich>
                  <a:bodyPr/>
                  <a:lstStyle/>
                  <a:p>
                    <a:r>
                      <a:t>37.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38F-4B3C-9B0E-9C172B6BD7F3}"/>
                </c:ext>
              </c:extLst>
            </c:dLbl>
            <c:dLbl>
              <c:idx val="2"/>
              <c:tx>
                <c:rich>
                  <a:bodyPr/>
                  <a:lstStyle/>
                  <a:p>
                    <a:r>
                      <a:t>2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38F-4B3C-9B0E-9C172B6BD7F3}"/>
                </c:ext>
              </c:extLst>
            </c:dLbl>
            <c:dLbl>
              <c:idx val="3"/>
              <c:tx>
                <c:rich>
                  <a:bodyPr/>
                  <a:lstStyle/>
                  <a:p>
                    <a:r>
                      <a:t>4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38F-4B3C-9B0E-9C172B6BD7F3}"/>
                </c:ext>
              </c:extLst>
            </c:dLbl>
            <c:dLbl>
              <c:idx val="4"/>
              <c:tx>
                <c:rich>
                  <a:bodyPr/>
                  <a:lstStyle/>
                  <a:p>
                    <a:r>
                      <a:t>4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38F-4B3C-9B0E-9C172B6BD7F3}"/>
                </c:ext>
              </c:extLst>
            </c:dLbl>
            <c:dLbl>
              <c:idx val="5"/>
              <c:tx>
                <c:rich>
                  <a:bodyPr/>
                  <a:lstStyle/>
                  <a:p>
                    <a:r>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38F-4B3C-9B0E-9C172B6BD7F3}"/>
                </c:ext>
              </c:extLst>
            </c:dLbl>
            <c:dLbl>
              <c:idx val="6"/>
              <c:tx>
                <c:rich>
                  <a:bodyPr/>
                  <a:lstStyle/>
                  <a:p>
                    <a:r>
                      <a:t>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38F-4B3C-9B0E-9C172B6BD7F3}"/>
                </c:ext>
              </c:extLst>
            </c:dLbl>
            <c:dLbl>
              <c:idx val="7"/>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38F-4B3C-9B0E-9C172B6BD7F3}"/>
                </c:ext>
              </c:extLst>
            </c:dLbl>
            <c:dLbl>
              <c:idx val="8"/>
              <c:tx>
                <c:rich>
                  <a:bodyPr/>
                  <a:lstStyle/>
                  <a:p>
                    <a:r>
                      <a:t>39.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38F-4B3C-9B0E-9C172B6BD7F3}"/>
                </c:ext>
              </c:extLst>
            </c:dLbl>
            <c:dLbl>
              <c:idx val="9"/>
              <c:tx>
                <c:rich>
                  <a:bodyPr/>
                  <a:lstStyle/>
                  <a:p>
                    <a:r>
                      <a:t>2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38F-4B3C-9B0E-9C172B6BD7F3}"/>
                </c:ext>
              </c:extLst>
            </c:dLbl>
            <c:dLbl>
              <c:idx val="10"/>
              <c:tx>
                <c:rich>
                  <a:bodyPr/>
                  <a:lstStyle/>
                  <a:p>
                    <a:r>
                      <a:t>36.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38F-4B3C-9B0E-9C172B6BD7F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CHAMPAGNE NICOLAS BLC/BLC BS 1CT X 750ML</c:v>
                </c:pt>
                <c:pt idx="6">
                  <c:v>1/2 CHAMP NICOLAS BLC/BLC BS 1CT X 375ML</c:v>
                </c:pt>
                <c:pt idx="7">
                  <c:v>CHAMPAGNE E.NICOLAS ROSE 1CT X 750ML</c:v>
                </c:pt>
                <c:pt idx="8">
                  <c:v>CHAMPAGNE NICOLAS ROSE 1ERE CU 1CT X 750ML</c:v>
                </c:pt>
                <c:pt idx="9">
                  <c:v>1/2 CHAMP NICOLAS ROSE 1E C BS 1CT X 375ML</c:v>
                </c:pt>
                <c:pt idx="10">
                  <c:v>CHAMPAGNE NICOLAS BLC DE NOIRS 1CT X 750ML</c:v>
                </c:pt>
              </c:strCache>
            </c:strRef>
          </c:cat>
          <c:val>
            <c:numRef>
              <c:f>Sheet1!$B$2:$B$12</c:f>
              <c:numCache>
                <c:formatCode>General</c:formatCode>
                <c:ptCount val="11"/>
                <c:pt idx="0">
                  <c:v>21.92</c:v>
                </c:pt>
                <c:pt idx="1">
                  <c:v>37.26</c:v>
                </c:pt>
                <c:pt idx="2">
                  <c:v>22.3</c:v>
                </c:pt>
                <c:pt idx="3">
                  <c:v>46.52</c:v>
                </c:pt>
                <c:pt idx="4">
                  <c:v>45.45</c:v>
                </c:pt>
                <c:pt idx="5">
                  <c:v>38.979999999999997</c:v>
                </c:pt>
                <c:pt idx="6">
                  <c:v>24.1</c:v>
                </c:pt>
                <c:pt idx="7">
                  <c:v>25.01</c:v>
                </c:pt>
                <c:pt idx="8">
                  <c:v>39.56</c:v>
                </c:pt>
                <c:pt idx="9">
                  <c:v>23.74</c:v>
                </c:pt>
                <c:pt idx="10">
                  <c:v>36.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EE-4846-A1D8-EB45510F80D7}"/>
                </c:ext>
              </c:extLst>
            </c:dLbl>
            <c:dLbl>
              <c:idx val="1"/>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EE-4846-A1D8-EB45510F80D7}"/>
                </c:ext>
              </c:extLst>
            </c:dLbl>
            <c:dLbl>
              <c:idx val="2"/>
              <c:tx>
                <c:rich>
                  <a:bodyPr/>
                  <a:lstStyle/>
                  <a:p>
                    <a:r>
                      <a:t>4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0EE-4846-A1D8-EB45510F80D7}"/>
                </c:ext>
              </c:extLst>
            </c:dLbl>
            <c:dLbl>
              <c:idx val="3"/>
              <c:tx>
                <c:rich>
                  <a:bodyPr/>
                  <a:lstStyle/>
                  <a:p>
                    <a:r>
                      <a:t>2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EE-4846-A1D8-EB45510F80D7}"/>
                </c:ext>
              </c:extLst>
            </c:dLbl>
            <c:dLbl>
              <c:idx val="4"/>
              <c:tx>
                <c:rich>
                  <a:bodyPr/>
                  <a:lstStyle/>
                  <a:p>
                    <a:r>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0EE-4846-A1D8-EB45510F80D7}"/>
                </c:ext>
              </c:extLst>
            </c:dLbl>
            <c:dLbl>
              <c:idx val="5"/>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EE-4846-A1D8-EB45510F80D7}"/>
                </c:ext>
              </c:extLst>
            </c:dLbl>
            <c:dLbl>
              <c:idx val="6"/>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0EE-4846-A1D8-EB45510F80D7}"/>
                </c:ext>
              </c:extLst>
            </c:dLbl>
            <c:dLbl>
              <c:idx val="7"/>
              <c:tx>
                <c:rich>
                  <a:bodyPr/>
                  <a:lstStyle/>
                  <a:p>
                    <a:r>
                      <a:t>4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EE-4846-A1D8-EB45510F80D7}"/>
                </c:ext>
              </c:extLst>
            </c:dLbl>
            <c:dLbl>
              <c:idx val="8"/>
              <c:tx>
                <c:rich>
                  <a:bodyPr/>
                  <a:lstStyle/>
                  <a:p>
                    <a:r>
                      <a:t>3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0EE-4846-A1D8-EB45510F80D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CHAMPAGNE NICOLAS BLC/BLC BS 1CT X 750ML</c:v>
                </c:pt>
                <c:pt idx="5">
                  <c:v>1/2 CHAMP NICOLAS BLC/BLC BS 1CT X 375ML</c:v>
                </c:pt>
                <c:pt idx="6">
                  <c:v>CHAMPAGNE E.NICOLAS ROSE 1CT X 750ML</c:v>
                </c:pt>
                <c:pt idx="7">
                  <c:v>CHAMPAGNE NICOLAS ROSE 1ERE CU 1CT X 750ML</c:v>
                </c:pt>
                <c:pt idx="8">
                  <c:v>CHAMPAGNE NICOLAS BLC DE NOIRS 1CT X 750ML</c:v>
                </c:pt>
              </c:strCache>
            </c:strRef>
          </c:cat>
          <c:val>
            <c:numRef>
              <c:f>Sheet1!$B$2:$B$10</c:f>
              <c:numCache>
                <c:formatCode>General</c:formatCode>
                <c:ptCount val="9"/>
                <c:pt idx="0">
                  <c:v>21.93</c:v>
                </c:pt>
                <c:pt idx="1">
                  <c:v>36.89</c:v>
                </c:pt>
                <c:pt idx="2">
                  <c:v>46.93</c:v>
                </c:pt>
                <c:pt idx="3">
                  <c:v>23.37</c:v>
                </c:pt>
                <c:pt idx="4">
                  <c:v>39.08</c:v>
                </c:pt>
                <c:pt idx="5">
                  <c:v>24.16</c:v>
                </c:pt>
                <c:pt idx="6">
                  <c:v>25.02</c:v>
                </c:pt>
                <c:pt idx="7">
                  <c:v>45.18</c:v>
                </c:pt>
                <c:pt idx="8">
                  <c:v>37.29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4B3-4782-901A-F9EC7DB572AE}"/>
                </c:ext>
              </c:extLst>
            </c:dLbl>
            <c:dLbl>
              <c:idx val="1"/>
              <c:tx>
                <c:rich>
                  <a:bodyPr/>
                  <a:lstStyle/>
                  <a:p>
                    <a:r>
                      <a:t>3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4B3-4782-901A-F9EC7DB572AE}"/>
                </c:ext>
              </c:extLst>
            </c:dLbl>
            <c:dLbl>
              <c:idx val="2"/>
              <c:tx>
                <c:rich>
                  <a:bodyPr/>
                  <a:lstStyle/>
                  <a:p>
                    <a:r>
                      <a:t>4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4B3-4782-901A-F9EC7DB572AE}"/>
                </c:ext>
              </c:extLst>
            </c:dLbl>
            <c:dLbl>
              <c:idx val="3"/>
              <c:tx>
                <c:rich>
                  <a:bodyPr/>
                  <a:lstStyle/>
                  <a:p>
                    <a:r>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4B3-4782-901A-F9EC7DB572AE}"/>
                </c:ext>
              </c:extLst>
            </c:dLbl>
            <c:dLbl>
              <c:idx val="4"/>
              <c:tx>
                <c:rich>
                  <a:bodyPr/>
                  <a:lstStyle/>
                  <a:p>
                    <a:r>
                      <a:t>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4B3-4782-901A-F9EC7DB572AE}"/>
                </c:ext>
              </c:extLst>
            </c:dLbl>
            <c:dLbl>
              <c:idx val="5"/>
              <c:tx>
                <c:rich>
                  <a:bodyPr/>
                  <a:lstStyle/>
                  <a:p>
                    <a:r>
                      <a:t>4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4B3-4782-901A-F9EC7DB572A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1ERE CUVEE 1CT X 750ML</c:v>
                </c:pt>
                <c:pt idx="2">
                  <c:v>MG CHAMPAGNE E.NICOLAS BRUT 1CT X 1500ML</c:v>
                </c:pt>
                <c:pt idx="3">
                  <c:v>CHAMPAGNE NICOLAS BLC/BLC BS 1CT X 750ML</c:v>
                </c:pt>
                <c:pt idx="4">
                  <c:v>CHAMPAGNE E.NICOLAS ROSE 1CT X 750ML</c:v>
                </c:pt>
                <c:pt idx="5">
                  <c:v>CHAMPAGNE NICOLAS ROSE 1ERE CU 1CT X 750ML</c:v>
                </c:pt>
              </c:strCache>
            </c:strRef>
          </c:cat>
          <c:val>
            <c:numRef>
              <c:f>Sheet1!$B$2:$B$7</c:f>
              <c:numCache>
                <c:formatCode>General</c:formatCode>
                <c:ptCount val="6"/>
                <c:pt idx="0">
                  <c:v>21.94</c:v>
                </c:pt>
                <c:pt idx="1">
                  <c:v>36.22</c:v>
                </c:pt>
                <c:pt idx="2">
                  <c:v>44.21</c:v>
                </c:pt>
                <c:pt idx="3">
                  <c:v>39.590000000000003</c:v>
                </c:pt>
                <c:pt idx="4">
                  <c:v>25.1</c:v>
                </c:pt>
                <c:pt idx="5">
                  <c:v>4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058-410A-B047-9ECB456EB5C3}"/>
                </c:ext>
              </c:extLst>
            </c:dLbl>
            <c:dLbl>
              <c:idx val="1"/>
              <c:tx>
                <c:rich>
                  <a:bodyPr/>
                  <a:lstStyle/>
                  <a:p>
                    <a:r>
                      <a:rPr lang="en-CH"/>
                      <a:t>25.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058-410A-B047-9ECB456EB5C3}"/>
                </c:ext>
              </c:extLst>
            </c:dLbl>
            <c:dLbl>
              <c:idx val="2"/>
              <c:tx>
                <c:rich>
                  <a:bodyPr/>
                  <a:lstStyle/>
                  <a:p>
                    <a:r>
                      <a:rPr lang="en-CH"/>
                      <a:t>38.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058-410A-B047-9ECB456EB5C3}"/>
                </c:ext>
              </c:extLst>
            </c:dLbl>
            <c:dLbl>
              <c:idx val="3"/>
              <c:tx>
                <c:rich>
                  <a:bodyPr/>
                  <a:lstStyle/>
                  <a:p>
                    <a:r>
                      <a:rPr lang="en-CH"/>
                      <a:t>3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058-410A-B047-9ECB456EB5C3}"/>
                </c:ext>
              </c:extLst>
            </c:dLbl>
            <c:dLbl>
              <c:idx val="4"/>
              <c:tx>
                <c:rich>
                  <a:bodyPr/>
                  <a:lstStyle/>
                  <a:p>
                    <a:r>
                      <a:rPr lang="en-CH"/>
                      <a:t>3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058-410A-B047-9ECB456EB5C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strCache>
            </c:strRef>
          </c:cat>
          <c:val>
            <c:numRef>
              <c:f>Sheet1!$B$2:$B$6</c:f>
              <c:numCache>
                <c:formatCode>General</c:formatCode>
                <c:ptCount val="5"/>
                <c:pt idx="0">
                  <c:v>21.91</c:v>
                </c:pt>
                <c:pt idx="1">
                  <c:v>25.19</c:v>
                </c:pt>
                <c:pt idx="2">
                  <c:v>38.74</c:v>
                </c:pt>
                <c:pt idx="3">
                  <c:v>36.64</c:v>
                </c:pt>
                <c:pt idx="4">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D46-4861-9A2D-3F35C841DF03}"/>
                </c:ext>
              </c:extLst>
            </c:dLbl>
            <c:dLbl>
              <c:idx val="1"/>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D46-4861-9A2D-3F35C841DF03}"/>
                </c:ext>
              </c:extLst>
            </c:dLbl>
            <c:dLbl>
              <c:idx val="2"/>
              <c:tx>
                <c:rich>
                  <a:bodyPr/>
                  <a:lstStyle/>
                  <a:p>
                    <a:r>
                      <a:t>46.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D46-4861-9A2D-3F35C841DF03}"/>
                </c:ext>
              </c:extLst>
            </c:dLbl>
            <c:dLbl>
              <c:idx val="3"/>
              <c:tx>
                <c:rich>
                  <a:bodyPr/>
                  <a:lstStyle/>
                  <a:p>
                    <a:r>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D46-4861-9A2D-3F35C841DF03}"/>
                </c:ext>
              </c:extLst>
            </c:dLbl>
            <c:dLbl>
              <c:idx val="4"/>
              <c:tx>
                <c:rich>
                  <a:bodyPr/>
                  <a:lstStyle/>
                  <a:p>
                    <a:r>
                      <a:t>4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D46-4861-9A2D-3F35C841DF03}"/>
                </c:ext>
              </c:extLst>
            </c:dLbl>
            <c:dLbl>
              <c:idx val="5"/>
              <c:tx>
                <c:rich>
                  <a:bodyPr/>
                  <a:lstStyle/>
                  <a:p>
                    <a:r>
                      <a:t>74.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D46-4861-9A2D-3F35C841DF03}"/>
                </c:ext>
              </c:extLst>
            </c:dLbl>
            <c:dLbl>
              <c:idx val="6"/>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D46-4861-9A2D-3F35C841DF03}"/>
                </c:ext>
              </c:extLst>
            </c:dLbl>
            <c:dLbl>
              <c:idx val="7"/>
              <c:tx>
                <c:rich>
                  <a:bodyPr/>
                  <a:lstStyle/>
                  <a:p>
                    <a:r>
                      <a:t>23.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D46-4861-9A2D-3F35C841DF03}"/>
                </c:ext>
              </c:extLst>
            </c:dLbl>
            <c:dLbl>
              <c:idx val="8"/>
              <c:tx>
                <c:rich>
                  <a:bodyPr/>
                  <a:lstStyle/>
                  <a:p>
                    <a:r>
                      <a:t>88.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D46-4861-9A2D-3F35C841DF03}"/>
                </c:ext>
              </c:extLst>
            </c:dLbl>
            <c:dLbl>
              <c:idx val="9"/>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D46-4861-9A2D-3F35C841DF03}"/>
                </c:ext>
              </c:extLst>
            </c:dLbl>
            <c:dLbl>
              <c:idx val="10"/>
              <c:tx>
                <c:rich>
                  <a:bodyPr/>
                  <a:lstStyle/>
                  <a:p>
                    <a:r>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D46-4861-9A2D-3F35C841DF03}"/>
                </c:ext>
              </c:extLst>
            </c:dLbl>
            <c:dLbl>
              <c:idx val="11"/>
              <c:tx>
                <c:rich>
                  <a:bodyPr/>
                  <a:lstStyle/>
                  <a:p>
                    <a:r>
                      <a:t>2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D46-4861-9A2D-3F35C841DF03}"/>
                </c:ext>
              </c:extLst>
            </c:dLbl>
            <c:dLbl>
              <c:idx val="12"/>
              <c:tx>
                <c:rich>
                  <a:bodyPr/>
                  <a:lstStyle/>
                  <a:p>
                    <a:r>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D46-4861-9A2D-3F35C841DF03}"/>
                </c:ext>
              </c:extLst>
            </c:dLbl>
            <c:dLbl>
              <c:idx val="13"/>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D46-4861-9A2D-3F35C841DF03}"/>
                </c:ext>
              </c:extLst>
            </c:dLbl>
            <c:dLbl>
              <c:idx val="14"/>
              <c:tx>
                <c:rich>
                  <a:bodyPr/>
                  <a:lstStyle/>
                  <a:p>
                    <a:r>
                      <a:t>3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D46-4861-9A2D-3F35C841DF0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2</c:v>
                </c:pt>
                <c:pt idx="1">
                  <c:v>36.99</c:v>
                </c:pt>
                <c:pt idx="2">
                  <c:v>46.02</c:v>
                </c:pt>
                <c:pt idx="3">
                  <c:v>22.24</c:v>
                </c:pt>
                <c:pt idx="4">
                  <c:v>46.62</c:v>
                </c:pt>
                <c:pt idx="5">
                  <c:v>74.069999999999993</c:v>
                </c:pt>
                <c:pt idx="6">
                  <c:v>39</c:v>
                </c:pt>
                <c:pt idx="7">
                  <c:v>23.89</c:v>
                </c:pt>
                <c:pt idx="8">
                  <c:v>88.11</c:v>
                </c:pt>
                <c:pt idx="9">
                  <c:v>25</c:v>
                </c:pt>
                <c:pt idx="10">
                  <c:v>41.37</c:v>
                </c:pt>
                <c:pt idx="11">
                  <c:v>23.95</c:v>
                </c:pt>
                <c:pt idx="12">
                  <c:v>41.36</c:v>
                </c:pt>
                <c:pt idx="13">
                  <c:v>37.090000000000003</c:v>
                </c:pt>
                <c:pt idx="14">
                  <c:v>36.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6F5-4A6A-A266-0C1C525B309B}"/>
                </c:ext>
              </c:extLst>
            </c:dLbl>
            <c:dLbl>
              <c:idx val="1"/>
              <c:tx>
                <c:rich>
                  <a:bodyPr/>
                  <a:lstStyle/>
                  <a:p>
                    <a:r>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6F5-4A6A-A266-0C1C525B309B}"/>
                </c:ext>
              </c:extLst>
            </c:dLbl>
            <c:dLbl>
              <c:idx val="2"/>
              <c:tx>
                <c:rich>
                  <a:bodyPr/>
                  <a:lstStyle/>
                  <a:p>
                    <a:r>
                      <a:t>4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6F5-4A6A-A266-0C1C525B309B}"/>
                </c:ext>
              </c:extLst>
            </c:dLbl>
            <c:dLbl>
              <c:idx val="3"/>
              <c:tx>
                <c:rich>
                  <a:bodyPr/>
                  <a:lstStyle/>
                  <a:p>
                    <a:r>
                      <a:t>2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6F5-4A6A-A266-0C1C525B309B}"/>
                </c:ext>
              </c:extLst>
            </c:dLbl>
            <c:dLbl>
              <c:idx val="4"/>
              <c:tx>
                <c:rich>
                  <a:bodyPr/>
                  <a:lstStyle/>
                  <a:p>
                    <a:r>
                      <a:t>4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6F5-4A6A-A266-0C1C525B309B}"/>
                </c:ext>
              </c:extLst>
            </c:dLbl>
            <c:dLbl>
              <c:idx val="5"/>
              <c:tx>
                <c:rich>
                  <a:bodyPr/>
                  <a:lstStyle/>
                  <a:p>
                    <a:r>
                      <a:t>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6F5-4A6A-A266-0C1C525B309B}"/>
                </c:ext>
              </c:extLst>
            </c:dLbl>
            <c:dLbl>
              <c:idx val="6"/>
              <c:tx>
                <c:rich>
                  <a:bodyPr/>
                  <a:lstStyle/>
                  <a:p>
                    <a:r>
                      <a:t>77.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6F5-4A6A-A266-0C1C525B309B}"/>
                </c:ext>
              </c:extLst>
            </c:dLbl>
            <c:dLbl>
              <c:idx val="7"/>
              <c:tx>
                <c:rich>
                  <a:bodyPr/>
                  <a:lstStyle/>
                  <a:p>
                    <a:r>
                      <a:t>2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6F5-4A6A-A266-0C1C525B309B}"/>
                </c:ext>
              </c:extLst>
            </c:dLbl>
            <c:dLbl>
              <c:idx val="8"/>
              <c:tx>
                <c:rich>
                  <a:bodyPr/>
                  <a:lstStyle/>
                  <a:p>
                    <a:r>
                      <a:t>2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6F5-4A6A-A266-0C1C525B309B}"/>
                </c:ext>
              </c:extLst>
            </c:dLbl>
            <c:dLbl>
              <c:idx val="9"/>
              <c:tx>
                <c:rich>
                  <a:bodyPr/>
                  <a:lstStyle/>
                  <a:p>
                    <a:r>
                      <a:t>4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6F5-4A6A-A266-0C1C525B309B}"/>
                </c:ext>
              </c:extLst>
            </c:dLbl>
            <c:dLbl>
              <c:idx val="10"/>
              <c:tx>
                <c:rich>
                  <a:bodyPr/>
                  <a:lstStyle/>
                  <a:p>
                    <a:r>
                      <a:t>38.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6F5-4A6A-A266-0C1C525B309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BLC/BLC BS 1CT X 750ML</c:v>
                </c:pt>
                <c:pt idx="6">
                  <c:v>MG CHAMPAGNE NICOLAS BLC/BL BS 1CT X 1500ML</c:v>
                </c:pt>
                <c:pt idx="7">
                  <c:v>1/2 CHAMP NICOLAS BLC/BLC BS 1CT X 375ML</c:v>
                </c:pt>
                <c:pt idx="8">
                  <c:v>CHAMPAGNE E.NICOLAS ROSE 1CT X 750ML</c:v>
                </c:pt>
                <c:pt idx="9">
                  <c:v>CHAMPAGNE NICOLAS ROSE 1ERE CU 1CT X 750ML</c:v>
                </c:pt>
                <c:pt idx="10">
                  <c:v>CHAMPAGNE NICOLAS BLC DE NOIRS 1CT X 750ML</c:v>
                </c:pt>
              </c:strCache>
            </c:strRef>
          </c:cat>
          <c:val>
            <c:numRef>
              <c:f>Sheet1!$B$2:$B$12</c:f>
              <c:numCache>
                <c:formatCode>General</c:formatCode>
                <c:ptCount val="11"/>
                <c:pt idx="0">
                  <c:v>21.92</c:v>
                </c:pt>
                <c:pt idx="1">
                  <c:v>37.29</c:v>
                </c:pt>
                <c:pt idx="2">
                  <c:v>44.86</c:v>
                </c:pt>
                <c:pt idx="3">
                  <c:v>22.42</c:v>
                </c:pt>
                <c:pt idx="4">
                  <c:v>48.33</c:v>
                </c:pt>
                <c:pt idx="5">
                  <c:v>39.200000000000003</c:v>
                </c:pt>
                <c:pt idx="6">
                  <c:v>77.790000000000006</c:v>
                </c:pt>
                <c:pt idx="7">
                  <c:v>24.38</c:v>
                </c:pt>
                <c:pt idx="8">
                  <c:v>25.16</c:v>
                </c:pt>
                <c:pt idx="9">
                  <c:v>40.729999999999997</c:v>
                </c:pt>
                <c:pt idx="10">
                  <c:v>38.8800000000000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1A9-410E-8ABF-B2E0FEA11EDB}"/>
                </c:ext>
              </c:extLst>
            </c:dLbl>
            <c:dLbl>
              <c:idx val="1"/>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1A9-410E-8ABF-B2E0FEA11EDB}"/>
                </c:ext>
              </c:extLst>
            </c:dLbl>
            <c:dLbl>
              <c:idx val="2"/>
              <c:tx>
                <c:rich>
                  <a:bodyPr/>
                  <a:lstStyle/>
                  <a:p>
                    <a:r>
                      <a:t>4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1A9-410E-8ABF-B2E0FEA11EDB}"/>
                </c:ext>
              </c:extLst>
            </c:dLbl>
            <c:dLbl>
              <c:idx val="3"/>
              <c:tx>
                <c:rich>
                  <a:bodyPr/>
                  <a:lstStyle/>
                  <a:p>
                    <a:r>
                      <a:t>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1A9-410E-8ABF-B2E0FEA11EDB}"/>
                </c:ext>
              </c:extLst>
            </c:dLbl>
            <c:dLbl>
              <c:idx val="4"/>
              <c:tx>
                <c:rich>
                  <a:bodyPr/>
                  <a:lstStyle/>
                  <a:p>
                    <a:r>
                      <a:t>42.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1A9-410E-8ABF-B2E0FEA11EDB}"/>
                </c:ext>
              </c:extLst>
            </c:dLbl>
            <c:dLbl>
              <c:idx val="5"/>
              <c:tx>
                <c:rich>
                  <a:bodyPr/>
                  <a:lstStyle/>
                  <a:p>
                    <a:r>
                      <a:t>3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1A9-410E-8ABF-B2E0FEA11EDB}"/>
                </c:ext>
              </c:extLst>
            </c:dLbl>
            <c:dLbl>
              <c:idx val="6"/>
              <c:tx>
                <c:rich>
                  <a:bodyPr/>
                  <a:lstStyle/>
                  <a:p>
                    <a:r>
                      <a:t>3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1A9-410E-8ABF-B2E0FEA11ED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MG CHAMPAGNE E.NICOLAS BRUT 1CT X 1500ML</c:v>
                </c:pt>
                <c:pt idx="3">
                  <c:v>CHAMPAGNE E.NICOLAS ROSE 1CT X 750ML</c:v>
                </c:pt>
                <c:pt idx="4">
                  <c:v>CHAMPAGNE NICOLAS ROSE 1ERE CU 1CT X 750ML</c:v>
                </c:pt>
                <c:pt idx="5">
                  <c:v>CHAMPAGNE NICOLAS BLC/BLC BS 1CT X 750ML</c:v>
                </c:pt>
                <c:pt idx="6">
                  <c:v>CHAMPAGNE NICOLAS BLC DE NOIRS 1CT X 750ML</c:v>
                </c:pt>
              </c:strCache>
            </c:strRef>
          </c:cat>
          <c:val>
            <c:numRef>
              <c:f>Sheet1!$B$2:$B$8</c:f>
              <c:numCache>
                <c:formatCode>General</c:formatCode>
                <c:ptCount val="7"/>
                <c:pt idx="0">
                  <c:v>21.94</c:v>
                </c:pt>
                <c:pt idx="1">
                  <c:v>37.090000000000003</c:v>
                </c:pt>
                <c:pt idx="2">
                  <c:v>43.96</c:v>
                </c:pt>
                <c:pt idx="3">
                  <c:v>25.28</c:v>
                </c:pt>
                <c:pt idx="4">
                  <c:v>42.73</c:v>
                </c:pt>
                <c:pt idx="5">
                  <c:v>39.229999999999997</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326-4914-91B2-836CCC422BD3}"/>
                </c:ext>
              </c:extLst>
            </c:dLbl>
            <c:dLbl>
              <c:idx val="1"/>
              <c:tx>
                <c:rich>
                  <a:bodyPr/>
                  <a:lstStyle/>
                  <a:p>
                    <a:r>
                      <a:t>3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326-4914-91B2-836CCC422BD3}"/>
                </c:ext>
              </c:extLst>
            </c:dLbl>
            <c:dLbl>
              <c:idx val="2"/>
              <c:tx>
                <c:rich>
                  <a:bodyPr/>
                  <a:lstStyle/>
                  <a:p>
                    <a:r>
                      <a:t>25.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326-4914-91B2-836CCC422BD3}"/>
                </c:ext>
              </c:extLst>
            </c:dLbl>
            <c:dLbl>
              <c:idx val="3"/>
              <c:tx>
                <c:rich>
                  <a:bodyPr/>
                  <a:lstStyle/>
                  <a:p>
                    <a:r>
                      <a:t>3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326-4914-91B2-836CCC422BD3}"/>
                </c:ext>
              </c:extLst>
            </c:dLbl>
            <c:dLbl>
              <c:idx val="4"/>
              <c:tx>
                <c:rich>
                  <a:bodyPr/>
                  <a:lstStyle/>
                  <a:p>
                    <a:r>
                      <a:t>38.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326-4914-91B2-836CCC422BD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NICOLAS 1ERE CUVEE 1CT X 750ML</c:v>
                </c:pt>
                <c:pt idx="2">
                  <c:v>CHAMPAGNE E.NICOLAS ROSE 1CT X 750ML</c:v>
                </c:pt>
                <c:pt idx="3">
                  <c:v>CHAMPAGNE NICOLAS ROSE 1ERE CU 1CT X 750ML</c:v>
                </c:pt>
                <c:pt idx="4">
                  <c:v>CHAMPAGNE NICOLAS BLC/BLC BS 1CT X 750ML</c:v>
                </c:pt>
              </c:strCache>
            </c:strRef>
          </c:cat>
          <c:val>
            <c:numRef>
              <c:f>Sheet1!$B$2:$B$6</c:f>
              <c:numCache>
                <c:formatCode>General</c:formatCode>
                <c:ptCount val="5"/>
                <c:pt idx="0">
                  <c:v>21.91</c:v>
                </c:pt>
                <c:pt idx="1">
                  <c:v>36.64</c:v>
                </c:pt>
                <c:pt idx="2">
                  <c:v>25.19</c:v>
                </c:pt>
                <c:pt idx="3">
                  <c:v>36</c:v>
                </c:pt>
                <c:pt idx="4">
                  <c:v>3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8C7-4DFD-A297-F29546AC9E53}"/>
                </c:ext>
              </c:extLst>
            </c:dLbl>
            <c:dLbl>
              <c:idx val="1"/>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8C7-4DFD-A297-F29546AC9E53}"/>
                </c:ext>
              </c:extLst>
            </c:dLbl>
            <c:dLbl>
              <c:idx val="2"/>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8C7-4DFD-A297-F29546AC9E5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114-4A78-BD08-CB08DB686ECC}"/>
                </c:ext>
              </c:extLst>
            </c:dLbl>
            <c:dLbl>
              <c:idx val="1"/>
              <c:tx>
                <c:rich>
                  <a:bodyPr/>
                  <a:lstStyle/>
                  <a:p>
                    <a:r>
                      <a:t>36.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114-4A78-BD08-CB08DB686ECC}"/>
                </c:ext>
              </c:extLst>
            </c:dLbl>
            <c:dLbl>
              <c:idx val="2"/>
              <c:tx>
                <c:rich>
                  <a:bodyPr/>
                  <a:lstStyle/>
                  <a:p>
                    <a:r>
                      <a:t>4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114-4A78-BD08-CB08DB686ECC}"/>
                </c:ext>
              </c:extLst>
            </c:dLbl>
            <c:dLbl>
              <c:idx val="3"/>
              <c:tx>
                <c:rich>
                  <a:bodyPr/>
                  <a:lstStyle/>
                  <a:p>
                    <a:r>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114-4A78-BD08-CB08DB686ECC}"/>
                </c:ext>
              </c:extLst>
            </c:dLbl>
            <c:dLbl>
              <c:idx val="4"/>
              <c:tx>
                <c:rich>
                  <a:bodyPr/>
                  <a:lstStyle/>
                  <a:p>
                    <a:r>
                      <a:t>4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114-4A78-BD08-CB08DB686ECC}"/>
                </c:ext>
              </c:extLst>
            </c:dLbl>
            <c:dLbl>
              <c:idx val="5"/>
              <c:tx>
                <c:rich>
                  <a:bodyPr/>
                  <a:lstStyle/>
                  <a:p>
                    <a:r>
                      <a:t>66.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114-4A78-BD08-CB08DB686ECC}"/>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114-4A78-BD08-CB08DB686ECC}"/>
                </c:ext>
              </c:extLst>
            </c:dLbl>
            <c:dLbl>
              <c:idx val="7"/>
              <c:tx>
                <c:rich>
                  <a:bodyPr/>
                  <a:lstStyle/>
                  <a:p>
                    <a:r>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114-4A78-BD08-CB08DB686ECC}"/>
                </c:ext>
              </c:extLst>
            </c:dLbl>
            <c:dLbl>
              <c:idx val="8"/>
              <c:tx>
                <c:rich>
                  <a:bodyPr/>
                  <a:lstStyle/>
                  <a:p>
                    <a:r>
                      <a:t>87.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114-4A78-BD08-CB08DB686ECC}"/>
                </c:ext>
              </c:extLst>
            </c:dLbl>
            <c:dLbl>
              <c:idx val="9"/>
              <c:tx>
                <c:rich>
                  <a:bodyPr/>
                  <a:lstStyle/>
                  <a:p>
                    <a:r>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114-4A78-BD08-CB08DB686ECC}"/>
                </c:ext>
              </c:extLst>
            </c:dLbl>
            <c:dLbl>
              <c:idx val="10"/>
              <c:tx>
                <c:rich>
                  <a:bodyPr/>
                  <a:lstStyle/>
                  <a:p>
                    <a:r>
                      <a:t>40.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114-4A78-BD08-CB08DB686ECC}"/>
                </c:ext>
              </c:extLst>
            </c:dLbl>
            <c:dLbl>
              <c:idx val="11"/>
              <c:tx>
                <c:rich>
                  <a:bodyPr/>
                  <a:lstStyle/>
                  <a:p>
                    <a:r>
                      <a:t>2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114-4A78-BD08-CB08DB686ECC}"/>
                </c:ext>
              </c:extLst>
            </c:dLbl>
            <c:dLbl>
              <c:idx val="12"/>
              <c:tx>
                <c:rich>
                  <a:bodyPr/>
                  <a:lstStyle/>
                  <a:p>
                    <a:r>
                      <a:t>4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114-4A78-BD08-CB08DB686ECC}"/>
                </c:ext>
              </c:extLst>
            </c:dLbl>
            <c:dLbl>
              <c:idx val="13"/>
              <c:tx>
                <c:rich>
                  <a:bodyPr/>
                  <a:lstStyle/>
                  <a:p>
                    <a:r>
                      <a:t>36.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114-4A78-BD08-CB08DB686EC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strCache>
            </c:strRef>
          </c:cat>
          <c:val>
            <c:numRef>
              <c:f>Sheet1!$B$2:$B$15</c:f>
              <c:numCache>
                <c:formatCode>General</c:formatCode>
                <c:ptCount val="14"/>
                <c:pt idx="0">
                  <c:v>21.87</c:v>
                </c:pt>
                <c:pt idx="1">
                  <c:v>36.840000000000003</c:v>
                </c:pt>
                <c:pt idx="2">
                  <c:v>45.39</c:v>
                </c:pt>
                <c:pt idx="3">
                  <c:v>22.31</c:v>
                </c:pt>
                <c:pt idx="4">
                  <c:v>45.04</c:v>
                </c:pt>
                <c:pt idx="5">
                  <c:v>66.53</c:v>
                </c:pt>
                <c:pt idx="6">
                  <c:v>39.090000000000003</c:v>
                </c:pt>
                <c:pt idx="7">
                  <c:v>23.86</c:v>
                </c:pt>
                <c:pt idx="8">
                  <c:v>87.71</c:v>
                </c:pt>
                <c:pt idx="9">
                  <c:v>24.94</c:v>
                </c:pt>
                <c:pt idx="10">
                  <c:v>40.71</c:v>
                </c:pt>
                <c:pt idx="11">
                  <c:v>23.91</c:v>
                </c:pt>
                <c:pt idx="12">
                  <c:v>42.54</c:v>
                </c:pt>
                <c:pt idx="13">
                  <c:v>3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ADB-46DC-A367-856A42220351}"/>
                </c:ext>
              </c:extLst>
            </c:dLbl>
            <c:dLbl>
              <c:idx val="1"/>
              <c:tx>
                <c:rich>
                  <a:bodyPr/>
                  <a:lstStyle/>
                  <a:p>
                    <a:r>
                      <a:t>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ADB-46DC-A367-856A42220351}"/>
                </c:ext>
              </c:extLst>
            </c:dLbl>
            <c:dLbl>
              <c:idx val="2"/>
              <c:tx>
                <c:rich>
                  <a:bodyPr/>
                  <a:lstStyle/>
                  <a:p>
                    <a:r>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ADB-46DC-A367-856A42220351}"/>
                </c:ext>
              </c:extLst>
            </c:dLbl>
            <c:dLbl>
              <c:idx val="3"/>
              <c:tx>
                <c:rich>
                  <a:bodyPr/>
                  <a:lstStyle/>
                  <a:p>
                    <a:r>
                      <a:t>4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DB-46DC-A367-856A42220351}"/>
                </c:ext>
              </c:extLst>
            </c:dLbl>
            <c:dLbl>
              <c:idx val="4"/>
              <c:tx>
                <c:rich>
                  <a:bodyPr/>
                  <a:lstStyle/>
                  <a:p>
                    <a:r>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DB-46DC-A367-856A42220351}"/>
                </c:ext>
              </c:extLst>
            </c:dLbl>
            <c:dLbl>
              <c:idx val="5"/>
              <c:tx>
                <c:rich>
                  <a:bodyPr/>
                  <a:lstStyle/>
                  <a:p>
                    <a:r>
                      <a:t>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DB-46DC-A367-856A42220351}"/>
                </c:ext>
              </c:extLst>
            </c:dLbl>
            <c:dLbl>
              <c:idx val="6"/>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DB-46DC-A367-856A42220351}"/>
                </c:ext>
              </c:extLst>
            </c:dLbl>
            <c:dLbl>
              <c:idx val="7"/>
              <c:tx>
                <c:rich>
                  <a:bodyPr/>
                  <a:lstStyle/>
                  <a:p>
                    <a:r>
                      <a:t>2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ADB-46DC-A367-856A42220351}"/>
                </c:ext>
              </c:extLst>
            </c:dLbl>
            <c:dLbl>
              <c:idx val="8"/>
              <c:tx>
                <c:rich>
                  <a:bodyPr/>
                  <a:lstStyle/>
                  <a:p>
                    <a:r>
                      <a:t>103.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ADB-46DC-A367-856A42220351}"/>
                </c:ext>
              </c:extLst>
            </c:dLbl>
            <c:dLbl>
              <c:idx val="9"/>
              <c:tx>
                <c:rich>
                  <a:bodyPr/>
                  <a:lstStyle/>
                  <a:p>
                    <a:r>
                      <a:t>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ADB-46DC-A367-856A42220351}"/>
                </c:ext>
              </c:extLst>
            </c:dLbl>
            <c:dLbl>
              <c:idx val="10"/>
              <c:tx>
                <c:rich>
                  <a:bodyPr/>
                  <a:lstStyle/>
                  <a:p>
                    <a:r>
                      <a:t>41.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ADB-46DC-A367-856A42220351}"/>
                </c:ext>
              </c:extLst>
            </c:dLbl>
            <c:dLbl>
              <c:idx val="11"/>
              <c:tx>
                <c:rich>
                  <a:bodyPr/>
                  <a:lstStyle/>
                  <a:p>
                    <a:r>
                      <a:t>24.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ADB-46DC-A367-856A42220351}"/>
                </c:ext>
              </c:extLst>
            </c:dLbl>
            <c:dLbl>
              <c:idx val="12"/>
              <c:tx>
                <c:rich>
                  <a:bodyPr/>
                  <a:lstStyle/>
                  <a:p>
                    <a:r>
                      <a:t>3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ADB-46DC-A367-856A4222035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strCache>
            </c:strRef>
          </c:cat>
          <c:val>
            <c:numRef>
              <c:f>Sheet1!$B$2:$B$14</c:f>
              <c:numCache>
                <c:formatCode>General</c:formatCode>
                <c:ptCount val="13"/>
                <c:pt idx="0">
                  <c:v>21.91</c:v>
                </c:pt>
                <c:pt idx="1">
                  <c:v>37.6</c:v>
                </c:pt>
                <c:pt idx="2">
                  <c:v>22.41</c:v>
                </c:pt>
                <c:pt idx="3">
                  <c:v>48.77</c:v>
                </c:pt>
                <c:pt idx="4">
                  <c:v>46.69</c:v>
                </c:pt>
                <c:pt idx="5">
                  <c:v>64.75</c:v>
                </c:pt>
                <c:pt idx="6">
                  <c:v>39.03</c:v>
                </c:pt>
                <c:pt idx="7">
                  <c:v>24.26</c:v>
                </c:pt>
                <c:pt idx="8">
                  <c:v>103.82</c:v>
                </c:pt>
                <c:pt idx="9">
                  <c:v>24.9</c:v>
                </c:pt>
                <c:pt idx="10">
                  <c:v>41.16</c:v>
                </c:pt>
                <c:pt idx="11">
                  <c:v>24.73</c:v>
                </c:pt>
                <c:pt idx="12">
                  <c:v>35.79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597-472E-BFE4-939D263B3E78}"/>
                </c:ext>
              </c:extLst>
            </c:dLbl>
            <c:dLbl>
              <c:idx val="1"/>
              <c:tx>
                <c:rich>
                  <a:bodyPr/>
                  <a:lstStyle/>
                  <a:p>
                    <a:r>
                      <a:t>3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597-472E-BFE4-939D263B3E78}"/>
                </c:ext>
              </c:extLst>
            </c:dLbl>
            <c:dLbl>
              <c:idx val="2"/>
              <c:tx>
                <c:rich>
                  <a:bodyPr/>
                  <a:lstStyle/>
                  <a:p>
                    <a:r>
                      <a:t>4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597-472E-BFE4-939D263B3E78}"/>
                </c:ext>
              </c:extLst>
            </c:dLbl>
            <c:dLbl>
              <c:idx val="3"/>
              <c:tx>
                <c:rich>
                  <a:bodyPr/>
                  <a:lstStyle/>
                  <a:p>
                    <a:r>
                      <a:t>2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597-472E-BFE4-939D263B3E78}"/>
                </c:ext>
              </c:extLst>
            </c:dLbl>
            <c:dLbl>
              <c:idx val="4"/>
              <c:tx>
                <c:rich>
                  <a:bodyPr/>
                  <a:lstStyle/>
                  <a:p>
                    <a:r>
                      <a:t>46.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597-472E-BFE4-939D263B3E78}"/>
                </c:ext>
              </c:extLst>
            </c:dLbl>
            <c:dLbl>
              <c:idx val="5"/>
              <c:tx>
                <c:rich>
                  <a:bodyPr/>
                  <a:lstStyle/>
                  <a:p>
                    <a:r>
                      <a:t>77.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597-472E-BFE4-939D263B3E78}"/>
                </c:ext>
              </c:extLst>
            </c:dLbl>
            <c:dLbl>
              <c:idx val="6"/>
              <c:tx>
                <c:rich>
                  <a:bodyPr/>
                  <a:lstStyle/>
                  <a:p>
                    <a:r>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597-472E-BFE4-939D263B3E78}"/>
                </c:ext>
              </c:extLst>
            </c:dLbl>
            <c:dLbl>
              <c:idx val="7"/>
              <c:tx>
                <c:rich>
                  <a:bodyPr/>
                  <a:lstStyle/>
                  <a:p>
                    <a:r>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597-472E-BFE4-939D263B3E78}"/>
                </c:ext>
              </c:extLst>
            </c:dLbl>
            <c:dLbl>
              <c:idx val="8"/>
              <c:tx>
                <c:rich>
                  <a:bodyPr/>
                  <a:lstStyle/>
                  <a:p>
                    <a:r>
                      <a:t>8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597-472E-BFE4-939D263B3E78}"/>
                </c:ext>
              </c:extLst>
            </c:dLbl>
            <c:dLbl>
              <c:idx val="9"/>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597-472E-BFE4-939D263B3E78}"/>
                </c:ext>
              </c:extLst>
            </c:dLbl>
            <c:dLbl>
              <c:idx val="10"/>
              <c:tx>
                <c:rich>
                  <a:bodyPr/>
                  <a:lstStyle/>
                  <a:p>
                    <a:r>
                      <a:t>4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597-472E-BFE4-939D263B3E78}"/>
                </c:ext>
              </c:extLst>
            </c:dLbl>
            <c:dLbl>
              <c:idx val="11"/>
              <c:tx>
                <c:rich>
                  <a:bodyPr/>
                  <a:lstStyle/>
                  <a:p>
                    <a:r>
                      <a:t>2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597-472E-BFE4-939D263B3E78}"/>
                </c:ext>
              </c:extLst>
            </c:dLbl>
            <c:dLbl>
              <c:idx val="12"/>
              <c:tx>
                <c:rich>
                  <a:bodyPr/>
                  <a:lstStyle/>
                  <a:p>
                    <a:r>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597-472E-BFE4-939D263B3E78}"/>
                </c:ext>
              </c:extLst>
            </c:dLbl>
            <c:dLbl>
              <c:idx val="13"/>
              <c:tx>
                <c:rich>
                  <a:bodyPr/>
                  <a:lstStyle/>
                  <a:p>
                    <a:r>
                      <a:t>3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597-472E-BFE4-939D263B3E78}"/>
                </c:ext>
              </c:extLst>
            </c:dLbl>
            <c:dLbl>
              <c:idx val="14"/>
              <c:tx>
                <c:rich>
                  <a:bodyPr/>
                  <a:lstStyle/>
                  <a:p>
                    <a:r>
                      <a:t>3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597-472E-BFE4-939D263B3E7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pt idx="14">
                  <c:v>CHAMPAGNE NICOLAS 1ER CRU ETUI 1CT X 750ML</c:v>
                </c:pt>
              </c:strCache>
            </c:strRef>
          </c:cat>
          <c:val>
            <c:numRef>
              <c:f>Sheet1!$B$2:$B$16</c:f>
              <c:numCache>
                <c:formatCode>General</c:formatCode>
                <c:ptCount val="15"/>
                <c:pt idx="0">
                  <c:v>21.89</c:v>
                </c:pt>
                <c:pt idx="1">
                  <c:v>36.950000000000003</c:v>
                </c:pt>
                <c:pt idx="2">
                  <c:v>45</c:v>
                </c:pt>
                <c:pt idx="3">
                  <c:v>22.25</c:v>
                </c:pt>
                <c:pt idx="4">
                  <c:v>46.31</c:v>
                </c:pt>
                <c:pt idx="5">
                  <c:v>77.349999999999994</c:v>
                </c:pt>
                <c:pt idx="6">
                  <c:v>38.979999999999997</c:v>
                </c:pt>
                <c:pt idx="7">
                  <c:v>23.9</c:v>
                </c:pt>
                <c:pt idx="8">
                  <c:v>88.12</c:v>
                </c:pt>
                <c:pt idx="9">
                  <c:v>25.01</c:v>
                </c:pt>
                <c:pt idx="10">
                  <c:v>41.25</c:v>
                </c:pt>
                <c:pt idx="11">
                  <c:v>24.55</c:v>
                </c:pt>
                <c:pt idx="12">
                  <c:v>37.18</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D0B-4D7E-A3C2-3E2738D0A2AE}"/>
                </c:ext>
              </c:extLst>
            </c:dLbl>
            <c:dLbl>
              <c:idx val="1"/>
              <c:tx>
                <c:rich>
                  <a:bodyPr/>
                  <a:lstStyle/>
                  <a:p>
                    <a:r>
                      <a:t>3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D0B-4D7E-A3C2-3E2738D0A2AE}"/>
                </c:ext>
              </c:extLst>
            </c:dLbl>
            <c:dLbl>
              <c:idx val="2"/>
              <c:tx>
                <c:rich>
                  <a:bodyPr/>
                  <a:lstStyle/>
                  <a:p>
                    <a:r>
                      <a:t>4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D0B-4D7E-A3C2-3E2738D0A2AE}"/>
                </c:ext>
              </c:extLst>
            </c:dLbl>
            <c:dLbl>
              <c:idx val="3"/>
              <c:tx>
                <c:rich>
                  <a:bodyPr/>
                  <a:lstStyle/>
                  <a:p>
                    <a:r>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D0B-4D7E-A3C2-3E2738D0A2AE}"/>
                </c:ext>
              </c:extLst>
            </c:dLbl>
            <c:dLbl>
              <c:idx val="4"/>
              <c:tx>
                <c:rich>
                  <a:bodyPr/>
                  <a:lstStyle/>
                  <a:p>
                    <a:r>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D0B-4D7E-A3C2-3E2738D0A2AE}"/>
                </c:ext>
              </c:extLst>
            </c:dLbl>
            <c:dLbl>
              <c:idx val="5"/>
              <c:tx>
                <c:rich>
                  <a:bodyPr/>
                  <a:lstStyle/>
                  <a:p>
                    <a:r>
                      <a:t>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D0B-4D7E-A3C2-3E2738D0A2AE}"/>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D0B-4D7E-A3C2-3E2738D0A2AE}"/>
                </c:ext>
              </c:extLst>
            </c:dLbl>
            <c:dLbl>
              <c:idx val="7"/>
              <c:tx>
                <c:rich>
                  <a:bodyPr/>
                  <a:lstStyle/>
                  <a:p>
                    <a:r>
                      <a:t>24.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D0B-4D7E-A3C2-3E2738D0A2AE}"/>
                </c:ext>
              </c:extLst>
            </c:dLbl>
            <c:dLbl>
              <c:idx val="8"/>
              <c:tx>
                <c:rich>
                  <a:bodyPr/>
                  <a:lstStyle/>
                  <a:p>
                    <a:r>
                      <a:t>8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D0B-4D7E-A3C2-3E2738D0A2AE}"/>
                </c:ext>
              </c:extLst>
            </c:dLbl>
            <c:dLbl>
              <c:idx val="9"/>
              <c:tx>
                <c:rich>
                  <a:bodyPr/>
                  <a:lstStyle/>
                  <a:p>
                    <a:r>
                      <a:t>2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D0B-4D7E-A3C2-3E2738D0A2AE}"/>
                </c:ext>
              </c:extLst>
            </c:dLbl>
            <c:dLbl>
              <c:idx val="10"/>
              <c:tx>
                <c:rich>
                  <a:bodyPr/>
                  <a:lstStyle/>
                  <a:p>
                    <a:r>
                      <a:t>41.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D0B-4D7E-A3C2-3E2738D0A2AE}"/>
                </c:ext>
              </c:extLst>
            </c:dLbl>
            <c:dLbl>
              <c:idx val="11"/>
              <c:tx>
                <c:rich>
                  <a:bodyPr/>
                  <a:lstStyle/>
                  <a:p>
                    <a:r>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D0B-4D7E-A3C2-3E2738D0A2AE}"/>
                </c:ext>
              </c:extLst>
            </c:dLbl>
            <c:dLbl>
              <c:idx val="12"/>
              <c:tx>
                <c:rich>
                  <a:bodyPr/>
                  <a:lstStyle/>
                  <a:p>
                    <a:r>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D0B-4D7E-A3C2-3E2738D0A2AE}"/>
                </c:ext>
              </c:extLst>
            </c:dLbl>
            <c:dLbl>
              <c:idx val="13"/>
              <c:tx>
                <c:rich>
                  <a:bodyPr/>
                  <a:lstStyle/>
                  <a:p>
                    <a:r>
                      <a:t>3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D0B-4D7E-A3C2-3E2738D0A2A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92</c:v>
                </c:pt>
                <c:pt idx="1">
                  <c:v>36.92</c:v>
                </c:pt>
                <c:pt idx="2">
                  <c:v>45.55</c:v>
                </c:pt>
                <c:pt idx="3">
                  <c:v>22.34</c:v>
                </c:pt>
                <c:pt idx="4">
                  <c:v>46.56</c:v>
                </c:pt>
                <c:pt idx="5">
                  <c:v>75.099999999999994</c:v>
                </c:pt>
                <c:pt idx="6">
                  <c:v>39.090000000000003</c:v>
                </c:pt>
                <c:pt idx="7">
                  <c:v>24.37</c:v>
                </c:pt>
                <c:pt idx="8">
                  <c:v>89.67</c:v>
                </c:pt>
                <c:pt idx="9">
                  <c:v>25.12</c:v>
                </c:pt>
                <c:pt idx="10">
                  <c:v>41.31</c:v>
                </c:pt>
                <c:pt idx="11">
                  <c:v>23.86</c:v>
                </c:pt>
                <c:pt idx="12">
                  <c:v>36.46</c:v>
                </c:pt>
                <c:pt idx="13">
                  <c:v>37.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D4-455F-BDA6-BAB8C6E84EA0}"/>
                </c:ext>
              </c:extLst>
            </c:dLbl>
            <c:dLbl>
              <c:idx val="1"/>
              <c:tx>
                <c:rich>
                  <a:bodyPr/>
                  <a:lstStyle/>
                  <a:p>
                    <a:r>
                      <a:t>3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D4-455F-BDA6-BAB8C6E84EA0}"/>
                </c:ext>
              </c:extLst>
            </c:dLbl>
            <c:dLbl>
              <c:idx val="2"/>
              <c:tx>
                <c:rich>
                  <a:bodyPr/>
                  <a:lstStyle/>
                  <a:p>
                    <a:r>
                      <a:t>4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7D4-455F-BDA6-BAB8C6E84EA0}"/>
                </c:ext>
              </c:extLst>
            </c:dLbl>
            <c:dLbl>
              <c:idx val="3"/>
              <c:tx>
                <c:rich>
                  <a:bodyPr/>
                  <a:lstStyle/>
                  <a:p>
                    <a:r>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7D4-455F-BDA6-BAB8C6E84EA0}"/>
                </c:ext>
              </c:extLst>
            </c:dLbl>
            <c:dLbl>
              <c:idx val="4"/>
              <c:tx>
                <c:rich>
                  <a:bodyPr/>
                  <a:lstStyle/>
                  <a:p>
                    <a:r>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7D4-455F-BDA6-BAB8C6E84EA0}"/>
                </c:ext>
              </c:extLst>
            </c:dLbl>
            <c:dLbl>
              <c:idx val="5"/>
              <c:tx>
                <c:rich>
                  <a:bodyPr/>
                  <a:lstStyle/>
                  <a:p>
                    <a:r>
                      <a:t>7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7D4-455F-BDA6-BAB8C6E84EA0}"/>
                </c:ext>
              </c:extLst>
            </c:dLbl>
            <c:dLbl>
              <c:idx val="6"/>
              <c:tx>
                <c:rich>
                  <a:bodyPr/>
                  <a:lstStyle/>
                  <a:p>
                    <a:r>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7D4-455F-BDA6-BAB8C6E84EA0}"/>
                </c:ext>
              </c:extLst>
            </c:dLbl>
            <c:dLbl>
              <c:idx val="7"/>
              <c:tx>
                <c:rich>
                  <a:bodyPr/>
                  <a:lstStyle/>
                  <a:p>
                    <a:r>
                      <a:t>8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7D4-455F-BDA6-BAB8C6E84EA0}"/>
                </c:ext>
              </c:extLst>
            </c:dLbl>
            <c:dLbl>
              <c:idx val="8"/>
              <c:tx>
                <c:rich>
                  <a:bodyPr/>
                  <a:lstStyle/>
                  <a:p>
                    <a:r>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7D4-455F-BDA6-BAB8C6E84EA0}"/>
                </c:ext>
              </c:extLst>
            </c:dLbl>
            <c:dLbl>
              <c:idx val="9"/>
              <c:tx>
                <c:rich>
                  <a:bodyPr/>
                  <a:lstStyle/>
                  <a:p>
                    <a:r>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7D4-455F-BDA6-BAB8C6E84EA0}"/>
                </c:ext>
              </c:extLst>
            </c:dLbl>
            <c:dLbl>
              <c:idx val="10"/>
              <c:tx>
                <c:rich>
                  <a:bodyPr/>
                  <a:lstStyle/>
                  <a:p>
                    <a:r>
                      <a:t>42.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7D4-455F-BDA6-BAB8C6E84EA0}"/>
                </c:ext>
              </c:extLst>
            </c:dLbl>
            <c:dLbl>
              <c:idx val="11"/>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7D4-455F-BDA6-BAB8C6E84EA0}"/>
                </c:ext>
              </c:extLst>
            </c:dLbl>
            <c:dLbl>
              <c:idx val="12"/>
              <c:tx>
                <c:rich>
                  <a:bodyPr/>
                  <a:lstStyle/>
                  <a:p>
                    <a:r>
                      <a:t>4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7D4-455F-BDA6-BAB8C6E84EA0}"/>
                </c:ext>
              </c:extLst>
            </c:dLbl>
            <c:dLbl>
              <c:idx val="13"/>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7D4-455F-BDA6-BAB8C6E84EA0}"/>
                </c:ext>
              </c:extLst>
            </c:dLbl>
            <c:dLbl>
              <c:idx val="14"/>
              <c:tx>
                <c:rich>
                  <a:bodyPr/>
                  <a:lstStyle/>
                  <a:p>
                    <a:r>
                      <a:t>35.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7D4-455F-BDA6-BAB8C6E84EA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 C BS 1CT X 750ML</c:v>
                </c:pt>
                <c:pt idx="13">
                  <c:v>CHAMPAGNE NICOLAS BLC DE NOIRS 1CT X 750ML</c:v>
                </c:pt>
                <c:pt idx="14">
                  <c:v>CHAMPAGNE NICOLAS 1ER CRU BS 1CT X 750ML</c:v>
                </c:pt>
              </c:strCache>
            </c:strRef>
          </c:cat>
          <c:val>
            <c:numRef>
              <c:f>Sheet1!$B$2:$B$16</c:f>
              <c:numCache>
                <c:formatCode>General</c:formatCode>
                <c:ptCount val="15"/>
                <c:pt idx="0">
                  <c:v>21.93</c:v>
                </c:pt>
                <c:pt idx="1">
                  <c:v>36.979999999999997</c:v>
                </c:pt>
                <c:pt idx="2">
                  <c:v>45.8</c:v>
                </c:pt>
                <c:pt idx="3">
                  <c:v>22.31</c:v>
                </c:pt>
                <c:pt idx="4">
                  <c:v>46.69</c:v>
                </c:pt>
                <c:pt idx="5">
                  <c:v>75.209999999999994</c:v>
                </c:pt>
                <c:pt idx="6">
                  <c:v>39.08</c:v>
                </c:pt>
                <c:pt idx="7">
                  <c:v>81.19</c:v>
                </c:pt>
                <c:pt idx="8">
                  <c:v>23.76</c:v>
                </c:pt>
                <c:pt idx="9">
                  <c:v>25.05</c:v>
                </c:pt>
                <c:pt idx="10">
                  <c:v>42.65</c:v>
                </c:pt>
                <c:pt idx="11">
                  <c:v>24.16</c:v>
                </c:pt>
                <c:pt idx="12">
                  <c:v>42.19</c:v>
                </c:pt>
                <c:pt idx="13">
                  <c:v>36.369999999999997</c:v>
                </c:pt>
                <c:pt idx="14">
                  <c:v>35.97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7EA-49A8-A540-68A6B991EED0}"/>
                </c:ext>
              </c:extLst>
            </c:dLbl>
            <c:dLbl>
              <c:idx val="1"/>
              <c:tx>
                <c:rich>
                  <a:bodyPr/>
                  <a:lstStyle/>
                  <a:p>
                    <a:r>
                      <a:rPr lang="en-CH"/>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7EA-49A8-A540-68A6B991EED0}"/>
                </c:ext>
              </c:extLst>
            </c:dLbl>
            <c:dLbl>
              <c:idx val="2"/>
              <c:tx>
                <c:rich>
                  <a:bodyPr/>
                  <a:lstStyle/>
                  <a:p>
                    <a:r>
                      <a:rPr lang="en-CH"/>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7EA-49A8-A540-68A6B991EED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6F4-4C15-9CC5-6C3B48B61E7F}"/>
                </c:ext>
              </c:extLst>
            </c:dLbl>
            <c:dLbl>
              <c:idx val="1"/>
              <c:tx>
                <c:rich>
                  <a:bodyPr/>
                  <a:lstStyle/>
                  <a:p>
                    <a:r>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6F4-4C15-9CC5-6C3B48B61E7F}"/>
                </c:ext>
              </c:extLst>
            </c:dLbl>
            <c:dLbl>
              <c:idx val="2"/>
              <c:tx>
                <c:rich>
                  <a:bodyPr/>
                  <a:lstStyle/>
                  <a:p>
                    <a:r>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6F4-4C15-9CC5-6C3B48B61E7F}"/>
                </c:ext>
              </c:extLst>
            </c:dLbl>
            <c:dLbl>
              <c:idx val="3"/>
              <c:tx>
                <c:rich>
                  <a:bodyPr/>
                  <a:lstStyle/>
                  <a:p>
                    <a:r>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6F4-4C15-9CC5-6C3B48B61E7F}"/>
                </c:ext>
              </c:extLst>
            </c:dLbl>
            <c:dLbl>
              <c:idx val="4"/>
              <c:tx>
                <c:rich>
                  <a:bodyPr/>
                  <a:lstStyle/>
                  <a:p>
                    <a:r>
                      <a:t>4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6F4-4C15-9CC5-6C3B48B61E7F}"/>
                </c:ext>
              </c:extLst>
            </c:dLbl>
            <c:dLbl>
              <c:idx val="5"/>
              <c:tx>
                <c:rich>
                  <a:bodyPr/>
                  <a:lstStyle/>
                  <a:p>
                    <a:r>
                      <a:t>75.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6F4-4C15-9CC5-6C3B48B61E7F}"/>
                </c:ext>
              </c:extLst>
            </c:dLbl>
            <c:dLbl>
              <c:idx val="6"/>
              <c:tx>
                <c:rich>
                  <a:bodyPr/>
                  <a:lstStyle/>
                  <a:p>
                    <a:r>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6F4-4C15-9CC5-6C3B48B61E7F}"/>
                </c:ext>
              </c:extLst>
            </c:dLbl>
            <c:dLbl>
              <c:idx val="7"/>
              <c:tx>
                <c:rich>
                  <a:bodyPr/>
                  <a:lstStyle/>
                  <a:p>
                    <a:r>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6F4-4C15-9CC5-6C3B48B61E7F}"/>
                </c:ext>
              </c:extLst>
            </c:dLbl>
            <c:dLbl>
              <c:idx val="8"/>
              <c:tx>
                <c:rich>
                  <a:bodyPr/>
                  <a:lstStyle/>
                  <a:p>
                    <a:r>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6F4-4C15-9CC5-6C3B48B61E7F}"/>
                </c:ext>
              </c:extLst>
            </c:dLbl>
            <c:dLbl>
              <c:idx val="9"/>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6F4-4C15-9CC5-6C3B48B61E7F}"/>
                </c:ext>
              </c:extLst>
            </c:dLbl>
            <c:dLbl>
              <c:idx val="10"/>
              <c:tx>
                <c:rich>
                  <a:bodyPr/>
                  <a:lstStyle/>
                  <a:p>
                    <a:r>
                      <a:t>41.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6F4-4C15-9CC5-6C3B48B61E7F}"/>
                </c:ext>
              </c:extLst>
            </c:dLbl>
            <c:dLbl>
              <c:idx val="11"/>
              <c:tx>
                <c:rich>
                  <a:bodyPr/>
                  <a:lstStyle/>
                  <a:p>
                    <a:r>
                      <a:t>2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6F4-4C15-9CC5-6C3B48B61E7F}"/>
                </c:ext>
              </c:extLst>
            </c:dLbl>
            <c:dLbl>
              <c:idx val="12"/>
              <c:tx>
                <c:rich>
                  <a:bodyPr/>
                  <a:lstStyle/>
                  <a:p>
                    <a:r>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6F4-4C15-9CC5-6C3B48B61E7F}"/>
                </c:ext>
              </c:extLst>
            </c:dLbl>
            <c:dLbl>
              <c:idx val="13"/>
              <c:tx>
                <c:rich>
                  <a:bodyPr/>
                  <a:lstStyle/>
                  <a:p>
                    <a:r>
                      <a:t>38.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6F4-4C15-9CC5-6C3B48B61E7F}"/>
                </c:ext>
              </c:extLst>
            </c:dLbl>
            <c:dLbl>
              <c:idx val="14"/>
              <c:tx>
                <c:rich>
                  <a:bodyPr/>
                  <a:lstStyle/>
                  <a:p>
                    <a:r>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6F4-4C15-9CC5-6C3B48B61E7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5</c:v>
                </c:pt>
                <c:pt idx="1">
                  <c:v>37.869999999999997</c:v>
                </c:pt>
                <c:pt idx="2">
                  <c:v>22.49</c:v>
                </c:pt>
                <c:pt idx="3">
                  <c:v>45.15</c:v>
                </c:pt>
                <c:pt idx="4">
                  <c:v>46.51</c:v>
                </c:pt>
                <c:pt idx="5">
                  <c:v>75.36</c:v>
                </c:pt>
                <c:pt idx="6">
                  <c:v>38.99</c:v>
                </c:pt>
                <c:pt idx="7">
                  <c:v>23.99</c:v>
                </c:pt>
                <c:pt idx="8">
                  <c:v>85.63</c:v>
                </c:pt>
                <c:pt idx="9">
                  <c:v>24.99</c:v>
                </c:pt>
                <c:pt idx="10">
                  <c:v>41.43</c:v>
                </c:pt>
                <c:pt idx="11">
                  <c:v>23.53</c:v>
                </c:pt>
                <c:pt idx="12">
                  <c:v>37.119999999999997</c:v>
                </c:pt>
                <c:pt idx="13">
                  <c:v>38.75</c:v>
                </c:pt>
                <c:pt idx="14">
                  <c:v>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073-44D2-A9B4-03DF85DF0CC3}"/>
                </c:ext>
              </c:extLst>
            </c:dLbl>
            <c:dLbl>
              <c:idx val="1"/>
              <c:tx>
                <c:rich>
                  <a:bodyPr/>
                  <a:lstStyle/>
                  <a:p>
                    <a:r>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073-44D2-A9B4-03DF85DF0CC3}"/>
                </c:ext>
              </c:extLst>
            </c:dLbl>
            <c:dLbl>
              <c:idx val="2"/>
              <c:tx>
                <c:rich>
                  <a:bodyPr/>
                  <a:lstStyle/>
                  <a:p>
                    <a:r>
                      <a:t>2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073-44D2-A9B4-03DF85DF0CC3}"/>
                </c:ext>
              </c:extLst>
            </c:dLbl>
            <c:dLbl>
              <c:idx val="3"/>
              <c:tx>
                <c:rich>
                  <a:bodyPr/>
                  <a:lstStyle/>
                  <a:p>
                    <a:r>
                      <a:t>4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073-44D2-A9B4-03DF85DF0CC3}"/>
                </c:ext>
              </c:extLst>
            </c:dLbl>
            <c:dLbl>
              <c:idx val="4"/>
              <c:tx>
                <c:rich>
                  <a:bodyPr/>
                  <a:lstStyle/>
                  <a:p>
                    <a:r>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073-44D2-A9B4-03DF85DF0CC3}"/>
                </c:ext>
              </c:extLst>
            </c:dLbl>
            <c:dLbl>
              <c:idx val="5"/>
              <c:tx>
                <c:rich>
                  <a:bodyPr/>
                  <a:lstStyle/>
                  <a:p>
                    <a:r>
                      <a:t>75.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073-44D2-A9B4-03DF85DF0CC3}"/>
                </c:ext>
              </c:extLst>
            </c:dLbl>
            <c:dLbl>
              <c:idx val="6"/>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073-44D2-A9B4-03DF85DF0CC3}"/>
                </c:ext>
              </c:extLst>
            </c:dLbl>
            <c:dLbl>
              <c:idx val="7"/>
              <c:tx>
                <c:rich>
                  <a:bodyPr/>
                  <a:lstStyle/>
                  <a:p>
                    <a:r>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073-44D2-A9B4-03DF85DF0CC3}"/>
                </c:ext>
              </c:extLst>
            </c:dLbl>
            <c:dLbl>
              <c:idx val="8"/>
              <c:tx>
                <c:rich>
                  <a:bodyPr/>
                  <a:lstStyle/>
                  <a:p>
                    <a:r>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073-44D2-A9B4-03DF85DF0CC3}"/>
                </c:ext>
              </c:extLst>
            </c:dLbl>
            <c:dLbl>
              <c:idx val="9"/>
              <c:tx>
                <c:rich>
                  <a:bodyPr/>
                  <a:lstStyle/>
                  <a:p>
                    <a:r>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073-44D2-A9B4-03DF85DF0CC3}"/>
                </c:ext>
              </c:extLst>
            </c:dLbl>
            <c:dLbl>
              <c:idx val="10"/>
              <c:tx>
                <c:rich>
                  <a:bodyPr/>
                  <a:lstStyle/>
                  <a:p>
                    <a:r>
                      <a:t>4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073-44D2-A9B4-03DF85DF0CC3}"/>
                </c:ext>
              </c:extLst>
            </c:dLbl>
            <c:dLbl>
              <c:idx val="11"/>
              <c:tx>
                <c:rich>
                  <a:bodyPr/>
                  <a:lstStyle/>
                  <a:p>
                    <a:r>
                      <a:t>2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073-44D2-A9B4-03DF85DF0CC3}"/>
                </c:ext>
              </c:extLst>
            </c:dLbl>
            <c:dLbl>
              <c:idx val="12"/>
              <c:tx>
                <c:rich>
                  <a:bodyPr/>
                  <a:lstStyle/>
                  <a:p>
                    <a:r>
                      <a:t>37.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073-44D2-A9B4-03DF85DF0CC3}"/>
                </c:ext>
              </c:extLst>
            </c:dLbl>
            <c:dLbl>
              <c:idx val="13"/>
              <c:tx>
                <c:rich>
                  <a:bodyPr/>
                  <a:lstStyle/>
                  <a:p>
                    <a:r>
                      <a:t>3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073-44D2-A9B4-03DF85DF0CC3}"/>
                </c:ext>
              </c:extLst>
            </c:dLbl>
            <c:dLbl>
              <c:idx val="14"/>
              <c:tx>
                <c:rich>
                  <a:bodyPr/>
                  <a:lstStyle/>
                  <a:p>
                    <a:r>
                      <a:t>36.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073-44D2-A9B4-03DF85DF0CC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8</c:v>
                </c:pt>
                <c:pt idx="1">
                  <c:v>37.18</c:v>
                </c:pt>
                <c:pt idx="2">
                  <c:v>22.36</c:v>
                </c:pt>
                <c:pt idx="3">
                  <c:v>45.06</c:v>
                </c:pt>
                <c:pt idx="4">
                  <c:v>46.38</c:v>
                </c:pt>
                <c:pt idx="5">
                  <c:v>75.78</c:v>
                </c:pt>
                <c:pt idx="6">
                  <c:v>39.03</c:v>
                </c:pt>
                <c:pt idx="7">
                  <c:v>23.87</c:v>
                </c:pt>
                <c:pt idx="8">
                  <c:v>85.35</c:v>
                </c:pt>
                <c:pt idx="9">
                  <c:v>24.98</c:v>
                </c:pt>
                <c:pt idx="10">
                  <c:v>41.53</c:v>
                </c:pt>
                <c:pt idx="11">
                  <c:v>24.05</c:v>
                </c:pt>
                <c:pt idx="12">
                  <c:v>37.549999999999997</c:v>
                </c:pt>
                <c:pt idx="13">
                  <c:v>36.630000000000003</c:v>
                </c:pt>
                <c:pt idx="14">
                  <c:v>3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E6E-4BFD-9F3C-6180F5EBCB3B}"/>
                </c:ext>
              </c:extLst>
            </c:dLbl>
            <c:dLbl>
              <c:idx val="1"/>
              <c:tx>
                <c:rich>
                  <a:bodyPr/>
                  <a:lstStyle/>
                  <a:p>
                    <a:r>
                      <a:t>3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E6E-4BFD-9F3C-6180F5EBCB3B}"/>
                </c:ext>
              </c:extLst>
            </c:dLbl>
            <c:dLbl>
              <c:idx val="2"/>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E6E-4BFD-9F3C-6180F5EBCB3B}"/>
                </c:ext>
              </c:extLst>
            </c:dLbl>
            <c:dLbl>
              <c:idx val="3"/>
              <c:tx>
                <c:rich>
                  <a:bodyPr/>
                  <a:lstStyle/>
                  <a:p>
                    <a:r>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E6E-4BFD-9F3C-6180F5EBCB3B}"/>
                </c:ext>
              </c:extLst>
            </c:dLbl>
            <c:dLbl>
              <c:idx val="4"/>
              <c:tx>
                <c:rich>
                  <a:bodyPr/>
                  <a:lstStyle/>
                  <a:p>
                    <a:r>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E6E-4BFD-9F3C-6180F5EBCB3B}"/>
                </c:ext>
              </c:extLst>
            </c:dLbl>
            <c:dLbl>
              <c:idx val="5"/>
              <c:tx>
                <c:rich>
                  <a:bodyPr/>
                  <a:lstStyle/>
                  <a:p>
                    <a:r>
                      <a:t>7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E6E-4BFD-9F3C-6180F5EBCB3B}"/>
                </c:ext>
              </c:extLst>
            </c:dLbl>
            <c:dLbl>
              <c:idx val="6"/>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E6E-4BFD-9F3C-6180F5EBCB3B}"/>
                </c:ext>
              </c:extLst>
            </c:dLbl>
            <c:dLbl>
              <c:idx val="7"/>
              <c:tx>
                <c:rich>
                  <a:bodyPr/>
                  <a:lstStyle/>
                  <a:p>
                    <a:r>
                      <a:t>8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E6E-4BFD-9F3C-6180F5EBCB3B}"/>
                </c:ext>
              </c:extLst>
            </c:dLbl>
            <c:dLbl>
              <c:idx val="8"/>
              <c:tx>
                <c:rich>
                  <a:bodyPr/>
                  <a:lstStyle/>
                  <a:p>
                    <a:r>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E6E-4BFD-9F3C-6180F5EBCB3B}"/>
                </c:ext>
              </c:extLst>
            </c:dLbl>
            <c:dLbl>
              <c:idx val="9"/>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E6E-4BFD-9F3C-6180F5EBCB3B}"/>
                </c:ext>
              </c:extLst>
            </c:dLbl>
            <c:dLbl>
              <c:idx val="10"/>
              <c:tx>
                <c:rich>
                  <a:bodyPr/>
                  <a:lstStyle/>
                  <a:p>
                    <a:r>
                      <a:t>4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E6E-4BFD-9F3C-6180F5EBCB3B}"/>
                </c:ext>
              </c:extLst>
            </c:dLbl>
            <c:dLbl>
              <c:idx val="11"/>
              <c:tx>
                <c:rich>
                  <a:bodyPr/>
                  <a:lstStyle/>
                  <a:p>
                    <a:r>
                      <a:t>24.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E6E-4BFD-9F3C-6180F5EBCB3B}"/>
                </c:ext>
              </c:extLst>
            </c:dLbl>
            <c:dLbl>
              <c:idx val="12"/>
              <c:tx>
                <c:rich>
                  <a:bodyPr/>
                  <a:lstStyle/>
                  <a:p>
                    <a:r>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E6E-4BFD-9F3C-6180F5EBCB3B}"/>
                </c:ext>
              </c:extLst>
            </c:dLbl>
            <c:dLbl>
              <c:idx val="13"/>
              <c:tx>
                <c:rich>
                  <a:bodyPr/>
                  <a:lstStyle/>
                  <a:p>
                    <a:r>
                      <a:t>3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E6E-4BFD-9F3C-6180F5EBCB3B}"/>
                </c:ext>
              </c:extLst>
            </c:dLbl>
            <c:dLbl>
              <c:idx val="14"/>
              <c:tx>
                <c:rich>
                  <a:bodyPr/>
                  <a:lstStyle/>
                  <a:p>
                    <a:r>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E6E-4BFD-9F3C-6180F5EBCB3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4</c:v>
                </c:pt>
                <c:pt idx="2">
                  <c:v>22.28</c:v>
                </c:pt>
                <c:pt idx="3">
                  <c:v>45.15</c:v>
                </c:pt>
                <c:pt idx="4">
                  <c:v>46.21</c:v>
                </c:pt>
                <c:pt idx="5">
                  <c:v>76.41</c:v>
                </c:pt>
                <c:pt idx="6">
                  <c:v>39.020000000000003</c:v>
                </c:pt>
                <c:pt idx="7">
                  <c:v>85.57</c:v>
                </c:pt>
                <c:pt idx="8">
                  <c:v>23.99</c:v>
                </c:pt>
                <c:pt idx="9">
                  <c:v>24.99</c:v>
                </c:pt>
                <c:pt idx="10">
                  <c:v>41.52</c:v>
                </c:pt>
                <c:pt idx="11">
                  <c:v>24.01</c:v>
                </c:pt>
                <c:pt idx="12">
                  <c:v>37.29</c:v>
                </c:pt>
                <c:pt idx="13">
                  <c:v>37</c:v>
                </c:pt>
                <c:pt idx="14">
                  <c:v>37.11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E56-4137-9BCE-B7CBD72474A0}"/>
                </c:ext>
              </c:extLst>
            </c:dLbl>
            <c:dLbl>
              <c:idx val="1"/>
              <c:tx>
                <c:rich>
                  <a:bodyPr/>
                  <a:lstStyle/>
                  <a:p>
                    <a:r>
                      <a:t>3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E56-4137-9BCE-B7CBD72474A0}"/>
                </c:ext>
              </c:extLst>
            </c:dLbl>
            <c:dLbl>
              <c:idx val="2"/>
              <c:tx>
                <c:rich>
                  <a:bodyPr/>
                  <a:lstStyle/>
                  <a:p>
                    <a:r>
                      <a:t>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E56-4137-9BCE-B7CBD72474A0}"/>
                </c:ext>
              </c:extLst>
            </c:dLbl>
            <c:dLbl>
              <c:idx val="3"/>
              <c:tx>
                <c:rich>
                  <a:bodyPr/>
                  <a:lstStyle/>
                  <a:p>
                    <a:r>
                      <a:t>2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E56-4137-9BCE-B7CBD72474A0}"/>
                </c:ext>
              </c:extLst>
            </c:dLbl>
            <c:dLbl>
              <c:idx val="4"/>
              <c:tx>
                <c:rich>
                  <a:bodyPr/>
                  <a:lstStyle/>
                  <a:p>
                    <a:r>
                      <a:t>46.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E56-4137-9BCE-B7CBD72474A0}"/>
                </c:ext>
              </c:extLst>
            </c:dLbl>
            <c:dLbl>
              <c:idx val="5"/>
              <c:tx>
                <c:rich>
                  <a:bodyPr/>
                  <a:lstStyle/>
                  <a:p>
                    <a:r>
                      <a:t>7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E56-4137-9BCE-B7CBD72474A0}"/>
                </c:ext>
              </c:extLst>
            </c:dLbl>
            <c:dLbl>
              <c:idx val="6"/>
              <c:tx>
                <c:rich>
                  <a:bodyPr/>
                  <a:lstStyle/>
                  <a:p>
                    <a:r>
                      <a:t>39.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E56-4137-9BCE-B7CBD72474A0}"/>
                </c:ext>
              </c:extLst>
            </c:dLbl>
            <c:dLbl>
              <c:idx val="7"/>
              <c:tx>
                <c:rich>
                  <a:bodyPr/>
                  <a:lstStyle/>
                  <a:p>
                    <a:r>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E56-4137-9BCE-B7CBD72474A0}"/>
                </c:ext>
              </c:extLst>
            </c:dLbl>
            <c:dLbl>
              <c:idx val="8"/>
              <c:tx>
                <c:rich>
                  <a:bodyPr/>
                  <a:lstStyle/>
                  <a:p>
                    <a:r>
                      <a:t>2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E56-4137-9BCE-B7CBD72474A0}"/>
                </c:ext>
              </c:extLst>
            </c:dLbl>
            <c:dLbl>
              <c:idx val="9"/>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E56-4137-9BCE-B7CBD72474A0}"/>
                </c:ext>
              </c:extLst>
            </c:dLbl>
            <c:dLbl>
              <c:idx val="10"/>
              <c:tx>
                <c:rich>
                  <a:bodyPr/>
                  <a:lstStyle/>
                  <a:p>
                    <a:r>
                      <a:t>4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E56-4137-9BCE-B7CBD72474A0}"/>
                </c:ext>
              </c:extLst>
            </c:dLbl>
            <c:dLbl>
              <c:idx val="11"/>
              <c:tx>
                <c:rich>
                  <a:bodyPr/>
                  <a:lstStyle/>
                  <a:p>
                    <a:r>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E56-4137-9BCE-B7CBD72474A0}"/>
                </c:ext>
              </c:extLst>
            </c:dLbl>
            <c:dLbl>
              <c:idx val="12"/>
              <c:tx>
                <c:rich>
                  <a:bodyPr/>
                  <a:lstStyle/>
                  <a:p>
                    <a:r>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E56-4137-9BCE-B7CBD72474A0}"/>
                </c:ext>
              </c:extLst>
            </c:dLbl>
            <c:dLbl>
              <c:idx val="13"/>
              <c:tx>
                <c:rich>
                  <a:bodyPr/>
                  <a:lstStyle/>
                  <a:p>
                    <a:r>
                      <a:t>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E56-4137-9BCE-B7CBD72474A0}"/>
                </c:ext>
              </c:extLst>
            </c:dLbl>
            <c:dLbl>
              <c:idx val="14"/>
              <c:tx>
                <c:rich>
                  <a:bodyPr/>
                  <a:lstStyle/>
                  <a:p>
                    <a:r>
                      <a:t>36.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E56-4137-9BCE-B7CBD72474A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1ER CRU BS 1CT X 750ML</c:v>
                </c:pt>
                <c:pt idx="14">
                  <c:v>CHAMPAGNE NICOLAS BLC DE NOIRS 1CT X 750ML</c:v>
                </c:pt>
              </c:strCache>
            </c:strRef>
          </c:cat>
          <c:val>
            <c:numRef>
              <c:f>Sheet1!$B$2:$B$16</c:f>
              <c:numCache>
                <c:formatCode>General</c:formatCode>
                <c:ptCount val="15"/>
                <c:pt idx="0">
                  <c:v>21.81</c:v>
                </c:pt>
                <c:pt idx="1">
                  <c:v>38.47</c:v>
                </c:pt>
                <c:pt idx="2">
                  <c:v>45.3</c:v>
                </c:pt>
                <c:pt idx="3">
                  <c:v>22.32</c:v>
                </c:pt>
                <c:pt idx="4">
                  <c:v>46.58</c:v>
                </c:pt>
                <c:pt idx="5">
                  <c:v>76.33</c:v>
                </c:pt>
                <c:pt idx="6">
                  <c:v>39.01</c:v>
                </c:pt>
                <c:pt idx="7">
                  <c:v>85.63</c:v>
                </c:pt>
                <c:pt idx="8">
                  <c:v>24.21</c:v>
                </c:pt>
                <c:pt idx="9">
                  <c:v>24.97</c:v>
                </c:pt>
                <c:pt idx="10">
                  <c:v>42.14</c:v>
                </c:pt>
                <c:pt idx="11">
                  <c:v>23.92</c:v>
                </c:pt>
                <c:pt idx="12">
                  <c:v>40.98</c:v>
                </c:pt>
                <c:pt idx="13">
                  <c:v>37.4</c:v>
                </c:pt>
                <c:pt idx="14">
                  <c:v>36.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4C2-44BA-9FE4-3E6EA65BC1DF}"/>
                </c:ext>
              </c:extLst>
            </c:dLbl>
            <c:dLbl>
              <c:idx val="1"/>
              <c:tx>
                <c:rich>
                  <a:bodyPr/>
                  <a:lstStyle/>
                  <a:p>
                    <a:r>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4C2-44BA-9FE4-3E6EA65BC1DF}"/>
                </c:ext>
              </c:extLst>
            </c:dLbl>
            <c:dLbl>
              <c:idx val="2"/>
              <c:tx>
                <c:rich>
                  <a:bodyPr/>
                  <a:lstStyle/>
                  <a:p>
                    <a:r>
                      <a:t>2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4C2-44BA-9FE4-3E6EA65BC1DF}"/>
                </c:ext>
              </c:extLst>
            </c:dLbl>
            <c:dLbl>
              <c:idx val="3"/>
              <c:tx>
                <c:rich>
                  <a:bodyPr/>
                  <a:lstStyle/>
                  <a:p>
                    <a:r>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4C2-44BA-9FE4-3E6EA65BC1DF}"/>
                </c:ext>
              </c:extLst>
            </c:dLbl>
            <c:dLbl>
              <c:idx val="4"/>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4C2-44BA-9FE4-3E6EA65BC1DF}"/>
                </c:ext>
              </c:extLst>
            </c:dLbl>
            <c:dLbl>
              <c:idx val="5"/>
              <c:tx>
                <c:rich>
                  <a:bodyPr/>
                  <a:lstStyle/>
                  <a:p>
                    <a:r>
                      <a:t>71.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4C2-44BA-9FE4-3E6EA65BC1DF}"/>
                </c:ext>
              </c:extLst>
            </c:dLbl>
            <c:dLbl>
              <c:idx val="6"/>
              <c:tx>
                <c:rich>
                  <a:bodyPr/>
                  <a:lstStyle/>
                  <a:p>
                    <a:r>
                      <a:t>38.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4C2-44BA-9FE4-3E6EA65BC1DF}"/>
                </c:ext>
              </c:extLst>
            </c:dLbl>
            <c:dLbl>
              <c:idx val="7"/>
              <c:tx>
                <c:rich>
                  <a:bodyPr/>
                  <a:lstStyle/>
                  <a:p>
                    <a:r>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4C2-44BA-9FE4-3E6EA65BC1DF}"/>
                </c:ext>
              </c:extLst>
            </c:dLbl>
            <c:dLbl>
              <c:idx val="8"/>
              <c:tx>
                <c:rich>
                  <a:bodyPr/>
                  <a:lstStyle/>
                  <a:p>
                    <a:r>
                      <a:t>8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4C2-44BA-9FE4-3E6EA65BC1DF}"/>
                </c:ext>
              </c:extLst>
            </c:dLbl>
            <c:dLbl>
              <c:idx val="9"/>
              <c:tx>
                <c:rich>
                  <a:bodyPr/>
                  <a:lstStyle/>
                  <a:p>
                    <a:r>
                      <a:t>2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4C2-44BA-9FE4-3E6EA65BC1DF}"/>
                </c:ext>
              </c:extLst>
            </c:dLbl>
            <c:dLbl>
              <c:idx val="10"/>
              <c:tx>
                <c:rich>
                  <a:bodyPr/>
                  <a:lstStyle/>
                  <a:p>
                    <a:r>
                      <a:t>4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4C2-44BA-9FE4-3E6EA65BC1DF}"/>
                </c:ext>
              </c:extLst>
            </c:dLbl>
            <c:dLbl>
              <c:idx val="11"/>
              <c:tx>
                <c:rich>
                  <a:bodyPr/>
                  <a:lstStyle/>
                  <a:p>
                    <a:r>
                      <a:t>2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4C2-44BA-9FE4-3E6EA65BC1DF}"/>
                </c:ext>
              </c:extLst>
            </c:dLbl>
            <c:dLbl>
              <c:idx val="12"/>
              <c:tx>
                <c:rich>
                  <a:bodyPr/>
                  <a:lstStyle/>
                  <a:p>
                    <a:r>
                      <a:t>3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4C2-44BA-9FE4-3E6EA65BC1DF}"/>
                </c:ext>
              </c:extLst>
            </c:dLbl>
            <c:dLbl>
              <c:idx val="13"/>
              <c:tx>
                <c:rich>
                  <a:bodyPr/>
                  <a:lstStyle/>
                  <a:p>
                    <a:r>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4C2-44BA-9FE4-3E6EA65BC1DF}"/>
                </c:ext>
              </c:extLst>
            </c:dLbl>
            <c:dLbl>
              <c:idx val="14"/>
              <c:tx>
                <c:rich>
                  <a:bodyPr/>
                  <a:lstStyle/>
                  <a:p>
                    <a:r>
                      <a:t>36.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4C2-44BA-9FE4-3E6EA65BC1D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6.97</c:v>
                </c:pt>
                <c:pt idx="2">
                  <c:v>22.46</c:v>
                </c:pt>
                <c:pt idx="3">
                  <c:v>46.21</c:v>
                </c:pt>
                <c:pt idx="4">
                  <c:v>45.17</c:v>
                </c:pt>
                <c:pt idx="5">
                  <c:v>71.75</c:v>
                </c:pt>
                <c:pt idx="6">
                  <c:v>38.86</c:v>
                </c:pt>
                <c:pt idx="7">
                  <c:v>24.03</c:v>
                </c:pt>
                <c:pt idx="8">
                  <c:v>85.83</c:v>
                </c:pt>
                <c:pt idx="9">
                  <c:v>25.04</c:v>
                </c:pt>
                <c:pt idx="10">
                  <c:v>40.909999999999997</c:v>
                </c:pt>
                <c:pt idx="11">
                  <c:v>24.13</c:v>
                </c:pt>
                <c:pt idx="12">
                  <c:v>38.82</c:v>
                </c:pt>
                <c:pt idx="13">
                  <c:v>36.46</c:v>
                </c:pt>
                <c:pt idx="14">
                  <c:v>36.8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CAD-495C-B6CC-FF3E59DBE6C1}"/>
                </c:ext>
              </c:extLst>
            </c:dLbl>
            <c:dLbl>
              <c:idx val="1"/>
              <c:tx>
                <c:rich>
                  <a:bodyPr/>
                  <a:lstStyle/>
                  <a:p>
                    <a:r>
                      <a:t>3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CAD-495C-B6CC-FF3E59DBE6C1}"/>
                </c:ext>
              </c:extLst>
            </c:dLbl>
            <c:dLbl>
              <c:idx val="2"/>
              <c:tx>
                <c:rich>
                  <a:bodyPr/>
                  <a:lstStyle/>
                  <a:p>
                    <a:r>
                      <a:t>2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CAD-495C-B6CC-FF3E59DBE6C1}"/>
                </c:ext>
              </c:extLst>
            </c:dLbl>
            <c:dLbl>
              <c:idx val="3"/>
              <c:tx>
                <c:rich>
                  <a:bodyPr/>
                  <a:lstStyle/>
                  <a:p>
                    <a:r>
                      <a:t>47.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CAD-495C-B6CC-FF3E59DBE6C1}"/>
                </c:ext>
              </c:extLst>
            </c:dLbl>
            <c:dLbl>
              <c:idx val="4"/>
              <c:tx>
                <c:rich>
                  <a:bodyPr/>
                  <a:lstStyle/>
                  <a:p>
                    <a:r>
                      <a:t>4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CAD-495C-B6CC-FF3E59DBE6C1}"/>
                </c:ext>
              </c:extLst>
            </c:dLbl>
            <c:dLbl>
              <c:idx val="5"/>
              <c:tx>
                <c:rich>
                  <a:bodyPr/>
                  <a:lstStyle/>
                  <a:p>
                    <a:r>
                      <a:t>7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CAD-495C-B6CC-FF3E59DBE6C1}"/>
                </c:ext>
              </c:extLst>
            </c:dLbl>
            <c:dLbl>
              <c:idx val="6"/>
              <c:tx>
                <c:rich>
                  <a:bodyPr/>
                  <a:lstStyle/>
                  <a:p>
                    <a:r>
                      <a:t>39.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CAD-495C-B6CC-FF3E59DBE6C1}"/>
                </c:ext>
              </c:extLst>
            </c:dLbl>
            <c:dLbl>
              <c:idx val="7"/>
              <c:tx>
                <c:rich>
                  <a:bodyPr/>
                  <a:lstStyle/>
                  <a:p>
                    <a:r>
                      <a:t>2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CAD-495C-B6CC-FF3E59DBE6C1}"/>
                </c:ext>
              </c:extLst>
            </c:dLbl>
            <c:dLbl>
              <c:idx val="8"/>
              <c:tx>
                <c:rich>
                  <a:bodyPr/>
                  <a:lstStyle/>
                  <a:p>
                    <a:r>
                      <a:t>7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CAD-495C-B6CC-FF3E59DBE6C1}"/>
                </c:ext>
              </c:extLst>
            </c:dLbl>
            <c:dLbl>
              <c:idx val="9"/>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CAD-495C-B6CC-FF3E59DBE6C1}"/>
                </c:ext>
              </c:extLst>
            </c:dLbl>
            <c:dLbl>
              <c:idx val="10"/>
              <c:tx>
                <c:rich>
                  <a:bodyPr/>
                  <a:lstStyle/>
                  <a:p>
                    <a:r>
                      <a:t>4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CAD-495C-B6CC-FF3E59DBE6C1}"/>
                </c:ext>
              </c:extLst>
            </c:dLbl>
            <c:dLbl>
              <c:idx val="11"/>
              <c:tx>
                <c:rich>
                  <a:bodyPr/>
                  <a:lstStyle/>
                  <a:p>
                    <a:r>
                      <a:t>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CAD-495C-B6CC-FF3E59DBE6C1}"/>
                </c:ext>
              </c:extLst>
            </c:dLbl>
            <c:dLbl>
              <c:idx val="12"/>
              <c:tx>
                <c:rich>
                  <a:bodyPr/>
                  <a:lstStyle/>
                  <a:p>
                    <a:r>
                      <a:t>3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CAD-495C-B6CC-FF3E59DBE6C1}"/>
                </c:ext>
              </c:extLst>
            </c:dLbl>
            <c:dLbl>
              <c:idx val="13"/>
              <c:tx>
                <c:rich>
                  <a:bodyPr/>
                  <a:lstStyle/>
                  <a:p>
                    <a:r>
                      <a:t>3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CAD-495C-B6CC-FF3E59DBE6C1}"/>
                </c:ext>
              </c:extLst>
            </c:dLbl>
            <c:dLbl>
              <c:idx val="14"/>
              <c:tx>
                <c:rich>
                  <a:bodyPr/>
                  <a:lstStyle/>
                  <a:p>
                    <a:r>
                      <a:t>37.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CAD-495C-B6CC-FF3E59DBE6C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9</c:v>
                </c:pt>
                <c:pt idx="1">
                  <c:v>36.549999999999997</c:v>
                </c:pt>
                <c:pt idx="2">
                  <c:v>22.95</c:v>
                </c:pt>
                <c:pt idx="3">
                  <c:v>47.33</c:v>
                </c:pt>
                <c:pt idx="4">
                  <c:v>45.77</c:v>
                </c:pt>
                <c:pt idx="5">
                  <c:v>77.12</c:v>
                </c:pt>
                <c:pt idx="6">
                  <c:v>39.18</c:v>
                </c:pt>
                <c:pt idx="7">
                  <c:v>23.93</c:v>
                </c:pt>
                <c:pt idx="8">
                  <c:v>78.81</c:v>
                </c:pt>
                <c:pt idx="9">
                  <c:v>25</c:v>
                </c:pt>
                <c:pt idx="10">
                  <c:v>42.07</c:v>
                </c:pt>
                <c:pt idx="11">
                  <c:v>23.6</c:v>
                </c:pt>
                <c:pt idx="12">
                  <c:v>37.42</c:v>
                </c:pt>
                <c:pt idx="13">
                  <c:v>36.229999999999997</c:v>
                </c:pt>
                <c:pt idx="14">
                  <c:v>37.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6A-45A8-9A7B-C37CEB8A7435}"/>
                </c:ext>
              </c:extLst>
            </c:dLbl>
            <c:dLbl>
              <c:idx val="1"/>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26A-45A8-9A7B-C37CEB8A7435}"/>
                </c:ext>
              </c:extLst>
            </c:dLbl>
            <c:dLbl>
              <c:idx val="2"/>
              <c:tx>
                <c:rich>
                  <a:bodyPr/>
                  <a:lstStyle/>
                  <a:p>
                    <a:r>
                      <a:t>4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6A-45A8-9A7B-C37CEB8A7435}"/>
                </c:ext>
              </c:extLst>
            </c:dLbl>
            <c:dLbl>
              <c:idx val="3"/>
              <c:tx>
                <c:rich>
                  <a:bodyPr/>
                  <a:lstStyle/>
                  <a:p>
                    <a:r>
                      <a:t>2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6A-45A8-9A7B-C37CEB8A7435}"/>
                </c:ext>
              </c:extLst>
            </c:dLbl>
            <c:dLbl>
              <c:idx val="4"/>
              <c:tx>
                <c:rich>
                  <a:bodyPr/>
                  <a:lstStyle/>
                  <a:p>
                    <a:r>
                      <a:t>89.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6A-45A8-9A7B-C37CEB8A7435}"/>
                </c:ext>
              </c:extLst>
            </c:dLbl>
            <c:dLbl>
              <c:idx val="5"/>
              <c:tx>
                <c:rich>
                  <a:bodyPr/>
                  <a:lstStyle/>
                  <a:p>
                    <a:r>
                      <a:t>4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6A-45A8-9A7B-C37CEB8A7435}"/>
                </c:ext>
              </c:extLst>
            </c:dLbl>
            <c:dLbl>
              <c:idx val="6"/>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26A-45A8-9A7B-C37CEB8A7435}"/>
                </c:ext>
              </c:extLst>
            </c:dLbl>
            <c:dLbl>
              <c:idx val="7"/>
              <c:tx>
                <c:rich>
                  <a:bodyPr/>
                  <a:lstStyle/>
                  <a:p>
                    <a:r>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6A-45A8-9A7B-C37CEB8A7435}"/>
                </c:ext>
              </c:extLst>
            </c:dLbl>
            <c:dLbl>
              <c:idx val="8"/>
              <c:tx>
                <c:rich>
                  <a:bodyPr/>
                  <a:lstStyle/>
                  <a:p>
                    <a:r>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26A-45A8-9A7B-C37CEB8A7435}"/>
                </c:ext>
              </c:extLst>
            </c:dLbl>
            <c:dLbl>
              <c:idx val="9"/>
              <c:tx>
                <c:rich>
                  <a:bodyPr/>
                  <a:lstStyle/>
                  <a:p>
                    <a:r>
                      <a:t>4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6A-45A8-9A7B-C37CEB8A7435}"/>
                </c:ext>
              </c:extLst>
            </c:dLbl>
            <c:dLbl>
              <c:idx val="10"/>
              <c:tx>
                <c:rich>
                  <a:bodyPr/>
                  <a:lstStyle/>
                  <a:p>
                    <a:r>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26A-45A8-9A7B-C37CEB8A7435}"/>
                </c:ext>
              </c:extLst>
            </c:dLbl>
            <c:dLbl>
              <c:idx val="11"/>
              <c:tx>
                <c:rich>
                  <a:bodyPr/>
                  <a:lstStyle/>
                  <a:p>
                    <a:r>
                      <a:t>3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26A-45A8-9A7B-C37CEB8A7435}"/>
                </c:ext>
              </c:extLst>
            </c:dLbl>
            <c:dLbl>
              <c:idx val="12"/>
              <c:tx>
                <c:rich>
                  <a:bodyPr/>
                  <a:lstStyle/>
                  <a:p>
                    <a:r>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26A-45A8-9A7B-C37CEB8A7435}"/>
                </c:ext>
              </c:extLst>
            </c:dLbl>
            <c:dLbl>
              <c:idx val="13"/>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26A-45A8-9A7B-C37CEB8A7435}"/>
                </c:ext>
              </c:extLst>
            </c:dLbl>
            <c:dLbl>
              <c:idx val="14"/>
              <c:tx>
                <c:rich>
                  <a:bodyPr/>
                  <a:lstStyle/>
                  <a:p>
                    <a:r>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26A-45A8-9A7B-C37CEB8A743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BLC/BLC BS 1CT X 750ML</c:v>
                </c:pt>
                <c:pt idx="7">
                  <c:v>MG CHAMPAGNE NICOLAS BLC/BL BS 1CT X 1500ML</c:v>
                </c:pt>
                <c:pt idx="8">
                  <c:v>1/2 CHAMP NICOLAS BLC/BLC BS 1CT X 375ML</c:v>
                </c:pt>
                <c:pt idx="9">
                  <c:v>CHAMPAGNE NICOLAS BLC/BL BS ET 1CT X 750ML</c:v>
                </c:pt>
                <c:pt idx="10">
                  <c:v>CHAMPAGNE E.NICOLAS ROSE 1CT X 750ML</c:v>
                </c:pt>
                <c:pt idx="11">
                  <c:v>CHAMPAGNE NICOLAS ROSE 1ERE CU 1CT X 750ML</c:v>
                </c:pt>
                <c:pt idx="12">
                  <c:v>1/2 CHAMP NICOLAS ROSE 1E C BS 1CT X 375ML</c:v>
                </c:pt>
                <c:pt idx="13">
                  <c:v>CHAMPAGNE NICOLAS 1ER CRU BS 1CT X 750ML</c:v>
                </c:pt>
                <c:pt idx="14">
                  <c:v>CHAMPAGNE NICOLAS BLC DE NOIRS 1CT X 750ML</c:v>
                </c:pt>
              </c:strCache>
            </c:strRef>
          </c:cat>
          <c:val>
            <c:numRef>
              <c:f>Sheet1!$B$2:$B$16</c:f>
              <c:numCache>
                <c:formatCode>General</c:formatCode>
                <c:ptCount val="15"/>
                <c:pt idx="0">
                  <c:v>21.91</c:v>
                </c:pt>
                <c:pt idx="1">
                  <c:v>36.89</c:v>
                </c:pt>
                <c:pt idx="2">
                  <c:v>43.32</c:v>
                </c:pt>
                <c:pt idx="3">
                  <c:v>23.02</c:v>
                </c:pt>
                <c:pt idx="4">
                  <c:v>89.26</c:v>
                </c:pt>
                <c:pt idx="5">
                  <c:v>46.79</c:v>
                </c:pt>
                <c:pt idx="6">
                  <c:v>39.020000000000003</c:v>
                </c:pt>
                <c:pt idx="7">
                  <c:v>85.35</c:v>
                </c:pt>
                <c:pt idx="8">
                  <c:v>23.76</c:v>
                </c:pt>
                <c:pt idx="9">
                  <c:v>40.67</c:v>
                </c:pt>
                <c:pt idx="10">
                  <c:v>24.95</c:v>
                </c:pt>
                <c:pt idx="11">
                  <c:v>39.39</c:v>
                </c:pt>
                <c:pt idx="12">
                  <c:v>24.95</c:v>
                </c:pt>
                <c:pt idx="13">
                  <c:v>38.42</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B82-4D4B-9687-7DF855F1711D}"/>
                </c:ext>
              </c:extLst>
            </c:dLbl>
            <c:dLbl>
              <c:idx val="1"/>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B82-4D4B-9687-7DF855F1711D}"/>
                </c:ext>
              </c:extLst>
            </c:dLbl>
            <c:dLbl>
              <c:idx val="2"/>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B82-4D4B-9687-7DF855F1711D}"/>
                </c:ext>
              </c:extLst>
            </c:dLbl>
            <c:dLbl>
              <c:idx val="3"/>
              <c:tx>
                <c:rich>
                  <a:bodyPr/>
                  <a:lstStyle/>
                  <a:p>
                    <a:r>
                      <a:t>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B82-4D4B-9687-7DF855F1711D}"/>
                </c:ext>
              </c:extLst>
            </c:dLbl>
            <c:dLbl>
              <c:idx val="4"/>
              <c:tx>
                <c:rich>
                  <a:bodyPr/>
                  <a:lstStyle/>
                  <a:p>
                    <a:r>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B82-4D4B-9687-7DF855F1711D}"/>
                </c:ext>
              </c:extLst>
            </c:dLbl>
            <c:dLbl>
              <c:idx val="5"/>
              <c:tx>
                <c:rich>
                  <a:bodyPr/>
                  <a:lstStyle/>
                  <a:p>
                    <a:r>
                      <a:t>76.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B82-4D4B-9687-7DF855F1711D}"/>
                </c:ext>
              </c:extLst>
            </c:dLbl>
            <c:dLbl>
              <c:idx val="6"/>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B82-4D4B-9687-7DF855F1711D}"/>
                </c:ext>
              </c:extLst>
            </c:dLbl>
            <c:dLbl>
              <c:idx val="7"/>
              <c:tx>
                <c:rich>
                  <a:bodyPr/>
                  <a:lstStyle/>
                  <a:p>
                    <a:r>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B82-4D4B-9687-7DF855F1711D}"/>
                </c:ext>
              </c:extLst>
            </c:dLbl>
            <c:dLbl>
              <c:idx val="8"/>
              <c:tx>
                <c:rich>
                  <a:bodyPr/>
                  <a:lstStyle/>
                  <a:p>
                    <a:r>
                      <a:t>86.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B82-4D4B-9687-7DF855F1711D}"/>
                </c:ext>
              </c:extLst>
            </c:dLbl>
            <c:dLbl>
              <c:idx val="9"/>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B82-4D4B-9687-7DF855F1711D}"/>
                </c:ext>
              </c:extLst>
            </c:dLbl>
            <c:dLbl>
              <c:idx val="10"/>
              <c:tx>
                <c:rich>
                  <a:bodyPr/>
                  <a:lstStyle/>
                  <a:p>
                    <a:r>
                      <a:t>41.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B82-4D4B-9687-7DF855F1711D}"/>
                </c:ext>
              </c:extLst>
            </c:dLbl>
            <c:dLbl>
              <c:idx val="11"/>
              <c:tx>
                <c:rich>
                  <a:bodyPr/>
                  <a:lstStyle/>
                  <a:p>
                    <a:r>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B82-4D4B-9687-7DF855F1711D}"/>
                </c:ext>
              </c:extLst>
            </c:dLbl>
            <c:dLbl>
              <c:idx val="12"/>
              <c:tx>
                <c:rich>
                  <a:bodyPr/>
                  <a:lstStyle/>
                  <a:p>
                    <a:r>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B82-4D4B-9687-7DF855F1711D}"/>
                </c:ext>
              </c:extLst>
            </c:dLbl>
            <c:dLbl>
              <c:idx val="13"/>
              <c:tx>
                <c:rich>
                  <a:bodyPr/>
                  <a:lstStyle/>
                  <a:p>
                    <a:r>
                      <a:t>37.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B82-4D4B-9687-7DF855F1711D}"/>
                </c:ext>
              </c:extLst>
            </c:dLbl>
            <c:dLbl>
              <c:idx val="14"/>
              <c:tx>
                <c:rich>
                  <a:bodyPr/>
                  <a:lstStyle/>
                  <a:p>
                    <a:r>
                      <a:t>3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B82-4D4B-9687-7DF855F1711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9</c:v>
                </c:pt>
                <c:pt idx="2">
                  <c:v>22.28</c:v>
                </c:pt>
                <c:pt idx="3">
                  <c:v>45.37</c:v>
                </c:pt>
                <c:pt idx="4">
                  <c:v>46.38</c:v>
                </c:pt>
                <c:pt idx="5">
                  <c:v>76.13</c:v>
                </c:pt>
                <c:pt idx="6">
                  <c:v>39</c:v>
                </c:pt>
                <c:pt idx="7">
                  <c:v>23.97</c:v>
                </c:pt>
                <c:pt idx="8">
                  <c:v>86.54</c:v>
                </c:pt>
                <c:pt idx="9">
                  <c:v>25.01</c:v>
                </c:pt>
                <c:pt idx="10">
                  <c:v>41.24</c:v>
                </c:pt>
                <c:pt idx="11">
                  <c:v>23.99</c:v>
                </c:pt>
                <c:pt idx="12">
                  <c:v>37.020000000000003</c:v>
                </c:pt>
                <c:pt idx="13">
                  <c:v>37.04</c:v>
                </c:pt>
                <c:pt idx="14">
                  <c:v>37.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356-4FB8-A30C-97A48D4EC011}"/>
                </c:ext>
              </c:extLst>
            </c:dLbl>
            <c:dLbl>
              <c:idx val="1"/>
              <c:tx>
                <c:rich>
                  <a:bodyPr/>
                  <a:lstStyle/>
                  <a:p>
                    <a:r>
                      <a:t>37.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356-4FB8-A30C-97A48D4EC011}"/>
                </c:ext>
              </c:extLst>
            </c:dLbl>
            <c:dLbl>
              <c:idx val="2"/>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356-4FB8-A30C-97A48D4EC011}"/>
                </c:ext>
              </c:extLst>
            </c:dLbl>
            <c:dLbl>
              <c:idx val="3"/>
              <c:tx>
                <c:rich>
                  <a:bodyPr/>
                  <a:lstStyle/>
                  <a:p>
                    <a:r>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356-4FB8-A30C-97A48D4EC011}"/>
                </c:ext>
              </c:extLst>
            </c:dLbl>
            <c:dLbl>
              <c:idx val="4"/>
              <c:tx>
                <c:rich>
                  <a:bodyPr/>
                  <a:lstStyle/>
                  <a:p>
                    <a:r>
                      <a:t>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356-4FB8-A30C-97A48D4EC011}"/>
                </c:ext>
              </c:extLst>
            </c:dLbl>
            <c:dLbl>
              <c:idx val="5"/>
              <c:tx>
                <c:rich>
                  <a:bodyPr/>
                  <a:lstStyle/>
                  <a:p>
                    <a:r>
                      <a:t>7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356-4FB8-A30C-97A48D4EC011}"/>
                </c:ext>
              </c:extLst>
            </c:dLbl>
            <c:dLbl>
              <c:idx val="6"/>
              <c:tx>
                <c:rich>
                  <a:bodyPr/>
                  <a:lstStyle/>
                  <a:p>
                    <a:r>
                      <a:t>39.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356-4FB8-A30C-97A48D4EC011}"/>
                </c:ext>
              </c:extLst>
            </c:dLbl>
            <c:dLbl>
              <c:idx val="7"/>
              <c:tx>
                <c:rich>
                  <a:bodyPr/>
                  <a:lstStyle/>
                  <a:p>
                    <a:r>
                      <a:t>2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356-4FB8-A30C-97A48D4EC011}"/>
                </c:ext>
              </c:extLst>
            </c:dLbl>
            <c:dLbl>
              <c:idx val="8"/>
              <c:tx>
                <c:rich>
                  <a:bodyPr/>
                  <a:lstStyle/>
                  <a:p>
                    <a:r>
                      <a:t>8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356-4FB8-A30C-97A48D4EC011}"/>
                </c:ext>
              </c:extLst>
            </c:dLbl>
            <c:dLbl>
              <c:idx val="9"/>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356-4FB8-A30C-97A48D4EC011}"/>
                </c:ext>
              </c:extLst>
            </c:dLbl>
            <c:dLbl>
              <c:idx val="10"/>
              <c:tx>
                <c:rich>
                  <a:bodyPr/>
                  <a:lstStyle/>
                  <a:p>
                    <a:r>
                      <a:t>4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356-4FB8-A30C-97A48D4EC011}"/>
                </c:ext>
              </c:extLst>
            </c:dLbl>
            <c:dLbl>
              <c:idx val="11"/>
              <c:tx>
                <c:rich>
                  <a:bodyPr/>
                  <a:lstStyle/>
                  <a:p>
                    <a:r>
                      <a:t>24.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356-4FB8-A30C-97A48D4EC011}"/>
                </c:ext>
              </c:extLst>
            </c:dLbl>
            <c:dLbl>
              <c:idx val="12"/>
              <c:tx>
                <c:rich>
                  <a:bodyPr/>
                  <a:lstStyle/>
                  <a:p>
                    <a:r>
                      <a:t>3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356-4FB8-A30C-97A48D4EC011}"/>
                </c:ext>
              </c:extLst>
            </c:dLbl>
            <c:dLbl>
              <c:idx val="13"/>
              <c:tx>
                <c:rich>
                  <a:bodyPr/>
                  <a:lstStyle/>
                  <a:p>
                    <a:r>
                      <a:t>3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356-4FB8-A30C-97A48D4EC011}"/>
                </c:ext>
              </c:extLst>
            </c:dLbl>
            <c:dLbl>
              <c:idx val="14"/>
              <c:tx>
                <c:rich>
                  <a:bodyPr/>
                  <a:lstStyle/>
                  <a:p>
                    <a:r>
                      <a:t>38.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356-4FB8-A30C-97A48D4EC01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7</c:v>
                </c:pt>
                <c:pt idx="1">
                  <c:v>37.229999999999997</c:v>
                </c:pt>
                <c:pt idx="2">
                  <c:v>44.67</c:v>
                </c:pt>
                <c:pt idx="3">
                  <c:v>22.49</c:v>
                </c:pt>
                <c:pt idx="4">
                  <c:v>47.8</c:v>
                </c:pt>
                <c:pt idx="5">
                  <c:v>76.92</c:v>
                </c:pt>
                <c:pt idx="6">
                  <c:v>39.07</c:v>
                </c:pt>
                <c:pt idx="7">
                  <c:v>24.19</c:v>
                </c:pt>
                <c:pt idx="8">
                  <c:v>86.05</c:v>
                </c:pt>
                <c:pt idx="9">
                  <c:v>24.99</c:v>
                </c:pt>
                <c:pt idx="10">
                  <c:v>41.02</c:v>
                </c:pt>
                <c:pt idx="11">
                  <c:v>24.72</c:v>
                </c:pt>
                <c:pt idx="12">
                  <c:v>38.659999999999997</c:v>
                </c:pt>
                <c:pt idx="13">
                  <c:v>37.770000000000003</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770-4A8B-A4C8-97046055E7F7}"/>
                </c:ext>
              </c:extLst>
            </c:dLbl>
            <c:dLbl>
              <c:idx val="1"/>
              <c:tx>
                <c:rich>
                  <a:bodyPr/>
                  <a:lstStyle/>
                  <a:p>
                    <a:r>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770-4A8B-A4C8-97046055E7F7}"/>
                </c:ext>
              </c:extLst>
            </c:dLbl>
            <c:dLbl>
              <c:idx val="2"/>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770-4A8B-A4C8-97046055E7F7}"/>
                </c:ext>
              </c:extLst>
            </c:dLbl>
            <c:dLbl>
              <c:idx val="3"/>
              <c:tx>
                <c:rich>
                  <a:bodyPr/>
                  <a:lstStyle/>
                  <a:p>
                    <a:r>
                      <a:t>2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770-4A8B-A4C8-97046055E7F7}"/>
                </c:ext>
              </c:extLst>
            </c:dLbl>
            <c:dLbl>
              <c:idx val="4"/>
              <c:tx>
                <c:rich>
                  <a:bodyPr/>
                  <a:lstStyle/>
                  <a:p>
                    <a:r>
                      <a:t>4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770-4A8B-A4C8-97046055E7F7}"/>
                </c:ext>
              </c:extLst>
            </c:dLbl>
            <c:dLbl>
              <c:idx val="5"/>
              <c:tx>
                <c:rich>
                  <a:bodyPr/>
                  <a:lstStyle/>
                  <a:p>
                    <a:r>
                      <a:t>81.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770-4A8B-A4C8-97046055E7F7}"/>
                </c:ext>
              </c:extLst>
            </c:dLbl>
            <c:dLbl>
              <c:idx val="6"/>
              <c:tx>
                <c:rich>
                  <a:bodyPr/>
                  <a:lstStyle/>
                  <a:p>
                    <a:r>
                      <a:t>2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770-4A8B-A4C8-97046055E7F7}"/>
                </c:ext>
              </c:extLst>
            </c:dLbl>
            <c:dLbl>
              <c:idx val="7"/>
              <c:tx>
                <c:rich>
                  <a:bodyPr/>
                  <a:lstStyle/>
                  <a:p>
                    <a:r>
                      <a:t>40.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770-4A8B-A4C8-97046055E7F7}"/>
                </c:ext>
              </c:extLst>
            </c:dLbl>
            <c:dLbl>
              <c:idx val="8"/>
              <c:tx>
                <c:rich>
                  <a:bodyPr/>
                  <a:lstStyle/>
                  <a:p>
                    <a:r>
                      <a:t>2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770-4A8B-A4C8-97046055E7F7}"/>
                </c:ext>
              </c:extLst>
            </c:dLbl>
            <c:dLbl>
              <c:idx val="9"/>
              <c:tx>
                <c:rich>
                  <a:bodyPr/>
                  <a:lstStyle/>
                  <a:p>
                    <a:r>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770-4A8B-A4C8-97046055E7F7}"/>
                </c:ext>
              </c:extLst>
            </c:dLbl>
            <c:dLbl>
              <c:idx val="10"/>
              <c:tx>
                <c:rich>
                  <a:bodyPr/>
                  <a:lstStyle/>
                  <a:p>
                    <a:r>
                      <a:t>8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770-4A8B-A4C8-97046055E7F7}"/>
                </c:ext>
              </c:extLst>
            </c:dLbl>
            <c:dLbl>
              <c:idx val="11"/>
              <c:tx>
                <c:rich>
                  <a:bodyPr/>
                  <a:lstStyle/>
                  <a:p>
                    <a:r>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770-4A8B-A4C8-97046055E7F7}"/>
                </c:ext>
              </c:extLst>
            </c:dLbl>
            <c:dLbl>
              <c:idx val="12"/>
              <c:tx>
                <c:rich>
                  <a:bodyPr/>
                  <a:lstStyle/>
                  <a:p>
                    <a:r>
                      <a:t>37.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770-4A8B-A4C8-97046055E7F7}"/>
                </c:ext>
              </c:extLst>
            </c:dLbl>
            <c:dLbl>
              <c:idx val="13"/>
              <c:tx>
                <c:rich>
                  <a:bodyPr/>
                  <a:lstStyle/>
                  <a:p>
                    <a:r>
                      <a:t>3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70-4A8B-A4C8-97046055E7F7}"/>
                </c:ext>
              </c:extLst>
            </c:dLbl>
            <c:dLbl>
              <c:idx val="14"/>
              <c:tx>
                <c:rich>
                  <a:bodyPr/>
                  <a:lstStyle/>
                  <a:p>
                    <a:r>
                      <a:t>37.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70-4A8B-A4C8-97046055E7F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2</c:v>
                </c:pt>
                <c:pt idx="1">
                  <c:v>37.020000000000003</c:v>
                </c:pt>
                <c:pt idx="2">
                  <c:v>44.67</c:v>
                </c:pt>
                <c:pt idx="3">
                  <c:v>22.57</c:v>
                </c:pt>
                <c:pt idx="4">
                  <c:v>44.76</c:v>
                </c:pt>
                <c:pt idx="5">
                  <c:v>81.819999999999993</c:v>
                </c:pt>
                <c:pt idx="6">
                  <c:v>25.07</c:v>
                </c:pt>
                <c:pt idx="7">
                  <c:v>40.36</c:v>
                </c:pt>
                <c:pt idx="8">
                  <c:v>24.36</c:v>
                </c:pt>
                <c:pt idx="9">
                  <c:v>39.049999999999997</c:v>
                </c:pt>
                <c:pt idx="10">
                  <c:v>82.76</c:v>
                </c:pt>
                <c:pt idx="11">
                  <c:v>23.9</c:v>
                </c:pt>
                <c:pt idx="12">
                  <c:v>37.880000000000003</c:v>
                </c:pt>
                <c:pt idx="13">
                  <c:v>37.39</c:v>
                </c:pt>
                <c:pt idx="14">
                  <c:v>37.3800000000000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30A-4554-AB45-96C1DE82B2BF}"/>
                </c:ext>
              </c:extLst>
            </c:dLbl>
            <c:dLbl>
              <c:idx val="1"/>
              <c:tx>
                <c:rich>
                  <a:bodyPr/>
                  <a:lstStyle/>
                  <a:p>
                    <a:r>
                      <a:rPr lang="en-CH"/>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30A-4554-AB45-96C1DE82B2BF}"/>
                </c:ext>
              </c:extLst>
            </c:dLbl>
            <c:dLbl>
              <c:idx val="2"/>
              <c:tx>
                <c:rich>
                  <a:bodyPr/>
                  <a:lstStyle/>
                  <a:p>
                    <a:r>
                      <a:rPr lang="en-CH"/>
                      <a:t>36.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30A-4554-AB45-96C1DE82B2BF}"/>
                </c:ext>
              </c:extLst>
            </c:dLbl>
            <c:dLbl>
              <c:idx val="3"/>
              <c:tx>
                <c:rich>
                  <a:bodyPr/>
                  <a:lstStyle/>
                  <a:p>
                    <a:r>
                      <a:rPr lang="en-CH"/>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30A-4554-AB45-96C1DE82B2BF}"/>
                </c:ext>
              </c:extLst>
            </c:dLbl>
            <c:dLbl>
              <c:idx val="4"/>
              <c:tx>
                <c:rich>
                  <a:bodyPr/>
                  <a:lstStyle/>
                  <a:p>
                    <a:r>
                      <a:rPr lang="en-CH"/>
                      <a:t>40.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30A-4554-AB45-96C1DE82B2BF}"/>
                </c:ext>
              </c:extLst>
            </c:dLbl>
            <c:dLbl>
              <c:idx val="5"/>
              <c:tx>
                <c:rich>
                  <a:bodyPr/>
                  <a:lstStyle/>
                  <a:p>
                    <a:r>
                      <a:rPr lang="en-CH"/>
                      <a:t>4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30A-4554-AB45-96C1DE82B2BF}"/>
                </c:ext>
              </c:extLst>
            </c:dLbl>
            <c:dLbl>
              <c:idx val="6"/>
              <c:tx>
                <c:rich>
                  <a:bodyPr/>
                  <a:lstStyle/>
                  <a:p>
                    <a:r>
                      <a:rPr lang="en-CH"/>
                      <a:t>36.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0A-4554-AB45-96C1DE82B2BF}"/>
                </c:ext>
              </c:extLst>
            </c:dLbl>
            <c:dLbl>
              <c:idx val="7"/>
              <c:tx>
                <c:rich>
                  <a:bodyPr/>
                  <a:lstStyle/>
                  <a:p>
                    <a:r>
                      <a:rPr lang="en-CH"/>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30A-4554-AB45-96C1DE82B2BF}"/>
                </c:ext>
              </c:extLst>
            </c:dLbl>
            <c:dLbl>
              <c:idx val="8"/>
              <c:tx>
                <c:rich>
                  <a:bodyPr/>
                  <a:lstStyle/>
                  <a:p>
                    <a:r>
                      <a:rPr lang="en-CH"/>
                      <a:t>2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0A-4554-AB45-96C1DE82B2BF}"/>
                </c:ext>
              </c:extLst>
            </c:dLbl>
            <c:dLbl>
              <c:idx val="9"/>
              <c:tx>
                <c:rich>
                  <a:bodyPr/>
                  <a:lstStyle/>
                  <a:p>
                    <a:r>
                      <a:rPr lang="en-CH"/>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0A-4554-AB45-96C1DE82B2BF}"/>
                </c:ext>
              </c:extLst>
            </c:dLbl>
            <c:dLbl>
              <c:idx val="10"/>
              <c:tx>
                <c:rich>
                  <a:bodyPr/>
                  <a:lstStyle/>
                  <a:p>
                    <a:r>
                      <a:rPr lang="en-CH"/>
                      <a:t>87.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0A-4554-AB45-96C1DE82B2BF}"/>
                </c:ext>
              </c:extLst>
            </c:dLbl>
            <c:dLbl>
              <c:idx val="11"/>
              <c:tx>
                <c:rich>
                  <a:bodyPr/>
                  <a:lstStyle/>
                  <a:p>
                    <a:r>
                      <a:rPr lang="en-CH"/>
                      <a:t>4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0A-4554-AB45-96C1DE82B2BF}"/>
                </c:ext>
              </c:extLst>
            </c:dLbl>
            <c:dLbl>
              <c:idx val="12"/>
              <c:tx>
                <c:rich>
                  <a:bodyPr/>
                  <a:lstStyle/>
                  <a:p>
                    <a:r>
                      <a:rPr lang="en-CH"/>
                      <a:t>4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30A-4554-AB45-96C1DE82B2BF}"/>
                </c:ext>
              </c:extLst>
            </c:dLbl>
            <c:dLbl>
              <c:idx val="13"/>
              <c:tx>
                <c:rich>
                  <a:bodyPr/>
                  <a:lstStyle/>
                  <a:p>
                    <a:r>
                      <a:rPr lang="en-CH"/>
                      <a:t>66.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30A-4554-AB45-96C1DE82B2B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CHAMPAGNE NICOLAS BLC DE NOIRS 1CT X 750ML</c:v>
                </c:pt>
                <c:pt idx="7">
                  <c:v>1/2 CHAMPAGNE NICOLAS 1ERE CUV 1CT X 375ML</c:v>
                </c:pt>
                <c:pt idx="8">
                  <c:v>1/2 CHAMP NICOLAS ROSE 1E C BS 1CT X 375ML</c:v>
                </c:pt>
                <c:pt idx="9">
                  <c:v>1/2 CHAMP NICOLAS BLC/BLC BS 1CT X 375ML</c:v>
                </c:pt>
                <c:pt idx="10">
                  <c:v>MG CHAMPAGNE NICOLAS BLC/BL BS 1CT X 1500ML</c:v>
                </c:pt>
                <c:pt idx="11">
                  <c:v>CHAMPAGNE NICOLAS BIO NAT 2017 1CT X 750ML</c:v>
                </c:pt>
                <c:pt idx="12">
                  <c:v>CHAMPAGNE NICOLAS ROSE 1ERE ET 1CT X 750ML</c:v>
                </c:pt>
                <c:pt idx="13">
                  <c:v>MG CHAMPAGNE NICOLAS 1ERE CUVE 1CT X 1500ML</c:v>
                </c:pt>
              </c:strCache>
            </c:strRef>
          </c:cat>
          <c:val>
            <c:numRef>
              <c:f>Sheet1!$B$2:$B$15</c:f>
              <c:numCache>
                <c:formatCode>General</c:formatCode>
                <c:ptCount val="14"/>
                <c:pt idx="0">
                  <c:v>21.87</c:v>
                </c:pt>
                <c:pt idx="1">
                  <c:v>39.090000000000003</c:v>
                </c:pt>
                <c:pt idx="2">
                  <c:v>36.840000000000003</c:v>
                </c:pt>
                <c:pt idx="3">
                  <c:v>24.94</c:v>
                </c:pt>
                <c:pt idx="4">
                  <c:v>40.71</c:v>
                </c:pt>
                <c:pt idx="5">
                  <c:v>45.39</c:v>
                </c:pt>
                <c:pt idx="6">
                  <c:v>36.86</c:v>
                </c:pt>
                <c:pt idx="7">
                  <c:v>22.31</c:v>
                </c:pt>
                <c:pt idx="8">
                  <c:v>23.91</c:v>
                </c:pt>
                <c:pt idx="9">
                  <c:v>23.86</c:v>
                </c:pt>
                <c:pt idx="10">
                  <c:v>87.71</c:v>
                </c:pt>
                <c:pt idx="11">
                  <c:v>45.04</c:v>
                </c:pt>
                <c:pt idx="12">
                  <c:v>42.54</c:v>
                </c:pt>
                <c:pt idx="13">
                  <c:v>66.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01-43E6-8CFB-B92F77E26C19}"/>
                </c:ext>
              </c:extLst>
            </c:dLbl>
            <c:dLbl>
              <c:idx val="1"/>
              <c:tx>
                <c:rich>
                  <a:bodyPr/>
                  <a:lstStyle/>
                  <a:p>
                    <a:r>
                      <a:t>4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601-43E6-8CFB-B92F77E26C19}"/>
                </c:ext>
              </c:extLst>
            </c:dLbl>
            <c:dLbl>
              <c:idx val="2"/>
              <c:tx>
                <c:rich>
                  <a:bodyPr/>
                  <a:lstStyle/>
                  <a:p>
                    <a:r>
                      <a:t>2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601-43E6-8CFB-B92F77E26C19}"/>
                </c:ext>
              </c:extLst>
            </c:dLbl>
            <c:dLbl>
              <c:idx val="3"/>
              <c:tx>
                <c:rich>
                  <a:bodyPr/>
                  <a:lstStyle/>
                  <a:p>
                    <a:r>
                      <a:t>4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601-43E6-8CFB-B92F77E26C19}"/>
                </c:ext>
              </c:extLst>
            </c:dLbl>
            <c:dLbl>
              <c:idx val="4"/>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601-43E6-8CFB-B92F77E26C19}"/>
                </c:ext>
              </c:extLst>
            </c:dLbl>
            <c:dLbl>
              <c:idx val="5"/>
              <c:tx>
                <c:rich>
                  <a:bodyPr/>
                  <a:lstStyle/>
                  <a:p>
                    <a:r>
                      <a:t>8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601-43E6-8CFB-B92F77E26C19}"/>
                </c:ext>
              </c:extLst>
            </c:dLbl>
            <c:dLbl>
              <c:idx val="6"/>
              <c:tx>
                <c:rich>
                  <a:bodyPr/>
                  <a:lstStyle/>
                  <a:p>
                    <a:r>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601-43E6-8CFB-B92F77E26C19}"/>
                </c:ext>
              </c:extLst>
            </c:dLbl>
            <c:dLbl>
              <c:idx val="7"/>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601-43E6-8CFB-B92F77E26C19}"/>
                </c:ext>
              </c:extLst>
            </c:dLbl>
            <c:dLbl>
              <c:idx val="8"/>
              <c:tx>
                <c:rich>
                  <a:bodyPr/>
                  <a:lstStyle/>
                  <a:p>
                    <a:r>
                      <a:t>2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601-43E6-8CFB-B92F77E26C19}"/>
                </c:ext>
              </c:extLst>
            </c:dLbl>
            <c:dLbl>
              <c:idx val="9"/>
              <c:tx>
                <c:rich>
                  <a:bodyPr/>
                  <a:lstStyle/>
                  <a:p>
                    <a:r>
                      <a:t>38.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601-43E6-8CFB-B92F77E26C19}"/>
                </c:ext>
              </c:extLst>
            </c:dLbl>
            <c:dLbl>
              <c:idx val="10"/>
              <c:tx>
                <c:rich>
                  <a:bodyPr/>
                  <a:lstStyle/>
                  <a:p>
                    <a:r>
                      <a:t>11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601-43E6-8CFB-B92F77E26C19}"/>
                </c:ext>
              </c:extLst>
            </c:dLbl>
            <c:dLbl>
              <c:idx val="11"/>
              <c:tx>
                <c:rich>
                  <a:bodyPr/>
                  <a:lstStyle/>
                  <a:p>
                    <a:r>
                      <a:t>2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601-43E6-8CFB-B92F77E26C19}"/>
                </c:ext>
              </c:extLst>
            </c:dLbl>
            <c:dLbl>
              <c:idx val="12"/>
              <c:tx>
                <c:rich>
                  <a:bodyPr/>
                  <a:lstStyle/>
                  <a:p>
                    <a:r>
                      <a:t>37.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601-43E6-8CFB-B92F77E26C1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strCache>
            </c:strRef>
          </c:cat>
          <c:val>
            <c:numRef>
              <c:f>Sheet1!$B$2:$B$14</c:f>
              <c:numCache>
                <c:formatCode>General</c:formatCode>
                <c:ptCount val="13"/>
                <c:pt idx="0">
                  <c:v>21.9</c:v>
                </c:pt>
                <c:pt idx="1">
                  <c:v>41.42</c:v>
                </c:pt>
                <c:pt idx="2">
                  <c:v>22</c:v>
                </c:pt>
                <c:pt idx="3">
                  <c:v>44.12</c:v>
                </c:pt>
                <c:pt idx="4">
                  <c:v>50</c:v>
                </c:pt>
                <c:pt idx="5">
                  <c:v>85.06</c:v>
                </c:pt>
                <c:pt idx="6">
                  <c:v>25.05</c:v>
                </c:pt>
                <c:pt idx="7">
                  <c:v>39.03</c:v>
                </c:pt>
                <c:pt idx="8">
                  <c:v>22.19</c:v>
                </c:pt>
                <c:pt idx="9">
                  <c:v>38.51</c:v>
                </c:pt>
                <c:pt idx="10">
                  <c:v>113.62</c:v>
                </c:pt>
                <c:pt idx="11">
                  <c:v>24.44</c:v>
                </c:pt>
                <c:pt idx="12">
                  <c:v>3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8A5-448F-AD8C-34DB9EAB25D0}"/>
                </c:ext>
              </c:extLst>
            </c:dLbl>
            <c:dLbl>
              <c:idx val="1"/>
              <c:tx>
                <c:rich>
                  <a:bodyPr/>
                  <a:lstStyle/>
                  <a:p>
                    <a:r>
                      <a:t>3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8A5-448F-AD8C-34DB9EAB25D0}"/>
                </c:ext>
              </c:extLst>
            </c:dLbl>
            <c:dLbl>
              <c:idx val="2"/>
              <c:tx>
                <c:rich>
                  <a:bodyPr/>
                  <a:lstStyle/>
                  <a:p>
                    <a:r>
                      <a:t>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8A5-448F-AD8C-34DB9EAB25D0}"/>
                </c:ext>
              </c:extLst>
            </c:dLbl>
            <c:dLbl>
              <c:idx val="3"/>
              <c:tx>
                <c:rich>
                  <a:bodyPr/>
                  <a:lstStyle/>
                  <a:p>
                    <a:r>
                      <a:t>4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8A5-448F-AD8C-34DB9EAB25D0}"/>
                </c:ext>
              </c:extLst>
            </c:dLbl>
            <c:dLbl>
              <c:idx val="4"/>
              <c:tx>
                <c:rich>
                  <a:bodyPr/>
                  <a:lstStyle/>
                  <a:p>
                    <a:r>
                      <a:t>2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8A5-448F-AD8C-34DB9EAB25D0}"/>
                </c:ext>
              </c:extLst>
            </c:dLbl>
            <c:dLbl>
              <c:idx val="5"/>
              <c:tx>
                <c:rich>
                  <a:bodyPr/>
                  <a:lstStyle/>
                  <a:p>
                    <a:r>
                      <a:t>24.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8A5-448F-AD8C-34DB9EAB25D0}"/>
                </c:ext>
              </c:extLst>
            </c:dLbl>
            <c:dLbl>
              <c:idx val="6"/>
              <c:tx>
                <c:rich>
                  <a:bodyPr/>
                  <a:lstStyle/>
                  <a:p>
                    <a:r>
                      <a:t>2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8A5-448F-AD8C-34DB9EAB25D0}"/>
                </c:ext>
              </c:extLst>
            </c:dLbl>
            <c:dLbl>
              <c:idx val="7"/>
              <c:tx>
                <c:rich>
                  <a:bodyPr/>
                  <a:lstStyle/>
                  <a:p>
                    <a:r>
                      <a:t>4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8A5-448F-AD8C-34DB9EAB25D0}"/>
                </c:ext>
              </c:extLst>
            </c:dLbl>
            <c:dLbl>
              <c:idx val="8"/>
              <c:tx>
                <c:rich>
                  <a:bodyPr/>
                  <a:lstStyle/>
                  <a:p>
                    <a:r>
                      <a:t>38.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8A5-448F-AD8C-34DB9EAB25D0}"/>
                </c:ext>
              </c:extLst>
            </c:dLbl>
            <c:dLbl>
              <c:idx val="9"/>
              <c:tx>
                <c:rich>
                  <a:bodyPr/>
                  <a:lstStyle/>
                  <a:p>
                    <a:r>
                      <a:t>23.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8A5-448F-AD8C-34DB9EAB25D0}"/>
                </c:ext>
              </c:extLst>
            </c:dLbl>
            <c:dLbl>
              <c:idx val="10"/>
              <c:tx>
                <c:rich>
                  <a:bodyPr/>
                  <a:lstStyle/>
                  <a:p>
                    <a:r>
                      <a:t>7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8A5-448F-AD8C-34DB9EAB25D0}"/>
                </c:ext>
              </c:extLst>
            </c:dLbl>
            <c:dLbl>
              <c:idx val="11"/>
              <c:tx>
                <c:rich>
                  <a:bodyPr/>
                  <a:lstStyle/>
                  <a:p>
                    <a:r>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8A5-448F-AD8C-34DB9EAB25D0}"/>
                </c:ext>
              </c:extLst>
            </c:dLbl>
            <c:dLbl>
              <c:idx val="12"/>
              <c:tx>
                <c:rich>
                  <a:bodyPr/>
                  <a:lstStyle/>
                  <a:p>
                    <a:r>
                      <a:t>3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8A5-448F-AD8C-34DB9EAB25D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E.NICOLAS ROSE 1CT X 750ML</c:v>
                </c:pt>
                <c:pt idx="6">
                  <c:v>1/2 CHAMP NICOLAS ROSE 1E C BS 1CT X 375ML</c:v>
                </c:pt>
                <c:pt idx="7">
                  <c:v>CHAMPAGNE NICOLAS ROSE 1ERE CU 1CT X 750ML</c:v>
                </c:pt>
                <c:pt idx="8">
                  <c:v>CHAMPAGNE NICOLAS BLC/BLC BS 1CT X 750ML</c:v>
                </c:pt>
                <c:pt idx="9">
                  <c:v>1/2 CHAMP NICOLAS BLC/BLC BS 1CT X 375ML</c:v>
                </c:pt>
                <c:pt idx="10">
                  <c:v>MG CHAMPAGNE NICOLAS BLC/BL BS 1CT X 1500ML</c:v>
                </c:pt>
                <c:pt idx="11">
                  <c:v>CHAMPAGNE NICOLAS BLC DE NOIRS 1CT X 750ML</c:v>
                </c:pt>
                <c:pt idx="12">
                  <c:v>CHAMPAGNE NICOLAS 1ER CRU BS 1CT X 750ML</c:v>
                </c:pt>
              </c:strCache>
            </c:strRef>
          </c:cat>
          <c:val>
            <c:numRef>
              <c:f>Sheet1!$B$2:$B$14</c:f>
              <c:numCache>
                <c:formatCode>General</c:formatCode>
                <c:ptCount val="13"/>
                <c:pt idx="0">
                  <c:v>21.38</c:v>
                </c:pt>
                <c:pt idx="1">
                  <c:v>38.119999999999997</c:v>
                </c:pt>
                <c:pt idx="2">
                  <c:v>46.7</c:v>
                </c:pt>
                <c:pt idx="3">
                  <c:v>42.08</c:v>
                </c:pt>
                <c:pt idx="4">
                  <c:v>20.52</c:v>
                </c:pt>
                <c:pt idx="5">
                  <c:v>24.74</c:v>
                </c:pt>
                <c:pt idx="6">
                  <c:v>23.64</c:v>
                </c:pt>
                <c:pt idx="7">
                  <c:v>43.31</c:v>
                </c:pt>
                <c:pt idx="8">
                  <c:v>38.79</c:v>
                </c:pt>
                <c:pt idx="9">
                  <c:v>23.55</c:v>
                </c:pt>
                <c:pt idx="10">
                  <c:v>74.78</c:v>
                </c:pt>
                <c:pt idx="11">
                  <c:v>37.1</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FD7-4017-A3AB-25ACCFC014B3}"/>
                </c:ext>
              </c:extLst>
            </c:dLbl>
            <c:dLbl>
              <c:idx val="1"/>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FD7-4017-A3AB-25ACCFC014B3}"/>
                </c:ext>
              </c:extLst>
            </c:dLbl>
            <c:dLbl>
              <c:idx val="2"/>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FD7-4017-A3AB-25ACCFC014B3}"/>
                </c:ext>
              </c:extLst>
            </c:dLbl>
            <c:dLbl>
              <c:idx val="3"/>
              <c:tx>
                <c:rich>
                  <a:bodyPr/>
                  <a:lstStyle/>
                  <a:p>
                    <a:r>
                      <a:t>2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FD7-4017-A3AB-25ACCFC014B3}"/>
                </c:ext>
              </c:extLst>
            </c:dLbl>
            <c:dLbl>
              <c:idx val="4"/>
              <c:tx>
                <c:rich>
                  <a:bodyPr/>
                  <a:lstStyle/>
                  <a:p>
                    <a:r>
                      <a:t>4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FD7-4017-A3AB-25ACCFC014B3}"/>
                </c:ext>
              </c:extLst>
            </c:dLbl>
            <c:dLbl>
              <c:idx val="5"/>
              <c:tx>
                <c:rich>
                  <a:bodyPr/>
                  <a:lstStyle/>
                  <a:p>
                    <a:r>
                      <a:t>7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FD7-4017-A3AB-25ACCFC014B3}"/>
                </c:ext>
              </c:extLst>
            </c:dLbl>
            <c:dLbl>
              <c:idx val="6"/>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FD7-4017-A3AB-25ACCFC014B3}"/>
                </c:ext>
              </c:extLst>
            </c:dLbl>
            <c:dLbl>
              <c:idx val="7"/>
              <c:tx>
                <c:rich>
                  <a:bodyPr/>
                  <a:lstStyle/>
                  <a:p>
                    <a:r>
                      <a:t>8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FD7-4017-A3AB-25ACCFC014B3}"/>
                </c:ext>
              </c:extLst>
            </c:dLbl>
            <c:dLbl>
              <c:idx val="8"/>
              <c:tx>
                <c:rich>
                  <a:bodyPr/>
                  <a:lstStyle/>
                  <a:p>
                    <a:r>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FD7-4017-A3AB-25ACCFC014B3}"/>
                </c:ext>
              </c:extLst>
            </c:dLbl>
            <c:dLbl>
              <c:idx val="9"/>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FD7-4017-A3AB-25ACCFC014B3}"/>
                </c:ext>
              </c:extLst>
            </c:dLbl>
            <c:dLbl>
              <c:idx val="10"/>
              <c:tx>
                <c:rich>
                  <a:bodyPr/>
                  <a:lstStyle/>
                  <a:p>
                    <a:r>
                      <a:t>4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FD7-4017-A3AB-25ACCFC014B3}"/>
                </c:ext>
              </c:extLst>
            </c:dLbl>
            <c:dLbl>
              <c:idx val="11"/>
              <c:tx>
                <c:rich>
                  <a:bodyPr/>
                  <a:lstStyle/>
                  <a:p>
                    <a:r>
                      <a:t>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FD7-4017-A3AB-25ACCFC014B3}"/>
                </c:ext>
              </c:extLst>
            </c:dLbl>
            <c:dLbl>
              <c:idx val="12"/>
              <c:tx>
                <c:rich>
                  <a:bodyPr/>
                  <a:lstStyle/>
                  <a:p>
                    <a:r>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FD7-4017-A3AB-25ACCFC014B3}"/>
                </c:ext>
              </c:extLst>
            </c:dLbl>
            <c:dLbl>
              <c:idx val="13"/>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FD7-4017-A3AB-25ACCFC014B3}"/>
                </c:ext>
              </c:extLst>
            </c:dLbl>
            <c:dLbl>
              <c:idx val="14"/>
              <c:tx>
                <c:rich>
                  <a:bodyPr/>
                  <a:lstStyle/>
                  <a:p>
                    <a:r>
                      <a:t>36.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FD7-4017-A3AB-25ACCFC014B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4</c:v>
                </c:pt>
                <c:pt idx="1">
                  <c:v>37.090000000000003</c:v>
                </c:pt>
                <c:pt idx="2">
                  <c:v>45.17</c:v>
                </c:pt>
                <c:pt idx="3">
                  <c:v>22.38</c:v>
                </c:pt>
                <c:pt idx="4">
                  <c:v>46.29</c:v>
                </c:pt>
                <c:pt idx="5">
                  <c:v>75.95</c:v>
                </c:pt>
                <c:pt idx="6">
                  <c:v>39</c:v>
                </c:pt>
                <c:pt idx="7">
                  <c:v>86.38</c:v>
                </c:pt>
                <c:pt idx="8">
                  <c:v>23.97</c:v>
                </c:pt>
                <c:pt idx="9">
                  <c:v>24.97</c:v>
                </c:pt>
                <c:pt idx="10">
                  <c:v>41.06</c:v>
                </c:pt>
                <c:pt idx="11">
                  <c:v>24</c:v>
                </c:pt>
                <c:pt idx="12">
                  <c:v>39.590000000000003</c:v>
                </c:pt>
                <c:pt idx="13">
                  <c:v>36.99</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62F-43CA-AE4A-178DC5E3E6D9}"/>
                </c:ext>
              </c:extLst>
            </c:dLbl>
            <c:dLbl>
              <c:idx val="1"/>
              <c:tx>
                <c:rich>
                  <a:bodyPr/>
                  <a:lstStyle/>
                  <a:p>
                    <a:r>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62F-43CA-AE4A-178DC5E3E6D9}"/>
                </c:ext>
              </c:extLst>
            </c:dLbl>
            <c:dLbl>
              <c:idx val="2"/>
              <c:tx>
                <c:rich>
                  <a:bodyPr/>
                  <a:lstStyle/>
                  <a:p>
                    <a:r>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62F-43CA-AE4A-178DC5E3E6D9}"/>
                </c:ext>
              </c:extLst>
            </c:dLbl>
            <c:dLbl>
              <c:idx val="3"/>
              <c:tx>
                <c:rich>
                  <a:bodyPr/>
                  <a:lstStyle/>
                  <a:p>
                    <a:r>
                      <a:t>4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62F-43CA-AE4A-178DC5E3E6D9}"/>
                </c:ext>
              </c:extLst>
            </c:dLbl>
            <c:dLbl>
              <c:idx val="4"/>
              <c:tx>
                <c:rich>
                  <a:bodyPr/>
                  <a:lstStyle/>
                  <a:p>
                    <a:r>
                      <a:t>4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62F-43CA-AE4A-178DC5E3E6D9}"/>
                </c:ext>
              </c:extLst>
            </c:dLbl>
            <c:dLbl>
              <c:idx val="5"/>
              <c:tx>
                <c:rich>
                  <a:bodyPr/>
                  <a:lstStyle/>
                  <a:p>
                    <a:r>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62F-43CA-AE4A-178DC5E3E6D9}"/>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62F-43CA-AE4A-178DC5E3E6D9}"/>
                </c:ext>
              </c:extLst>
            </c:dLbl>
            <c:dLbl>
              <c:idx val="7"/>
              <c:tx>
                <c:rich>
                  <a:bodyPr/>
                  <a:lstStyle/>
                  <a:p>
                    <a:r>
                      <a:t>8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62F-43CA-AE4A-178DC5E3E6D9}"/>
                </c:ext>
              </c:extLst>
            </c:dLbl>
            <c:dLbl>
              <c:idx val="8"/>
              <c:tx>
                <c:rich>
                  <a:bodyPr/>
                  <a:lstStyle/>
                  <a:p>
                    <a:r>
                      <a:t>23.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62F-43CA-AE4A-178DC5E3E6D9}"/>
                </c:ext>
              </c:extLst>
            </c:dLbl>
            <c:dLbl>
              <c:idx val="9"/>
              <c:tx>
                <c:rich>
                  <a:bodyPr/>
                  <a:lstStyle/>
                  <a:p>
                    <a:r>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62F-43CA-AE4A-178DC5E3E6D9}"/>
                </c:ext>
              </c:extLst>
            </c:dLbl>
            <c:dLbl>
              <c:idx val="10"/>
              <c:tx>
                <c:rich>
                  <a:bodyPr/>
                  <a:lstStyle/>
                  <a:p>
                    <a:r>
                      <a:t>4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62F-43CA-AE4A-178DC5E3E6D9}"/>
                </c:ext>
              </c:extLst>
            </c:dLbl>
            <c:dLbl>
              <c:idx val="11"/>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62F-43CA-AE4A-178DC5E3E6D9}"/>
                </c:ext>
              </c:extLst>
            </c:dLbl>
            <c:dLbl>
              <c:idx val="12"/>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62F-43CA-AE4A-178DC5E3E6D9}"/>
                </c:ext>
              </c:extLst>
            </c:dLbl>
            <c:dLbl>
              <c:idx val="13"/>
              <c:tx>
                <c:rich>
                  <a:bodyPr/>
                  <a:lstStyle/>
                  <a:p>
                    <a:r>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62F-43CA-AE4A-178DC5E3E6D9}"/>
                </c:ext>
              </c:extLst>
            </c:dLbl>
            <c:dLbl>
              <c:idx val="14"/>
              <c:tx>
                <c:rich>
                  <a:bodyPr/>
                  <a:lstStyle/>
                  <a:p>
                    <a:r>
                      <a:t>3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62F-43CA-AE4A-178DC5E3E6D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89</c:v>
                </c:pt>
                <c:pt idx="1">
                  <c:v>37.32</c:v>
                </c:pt>
                <c:pt idx="2">
                  <c:v>22.41</c:v>
                </c:pt>
                <c:pt idx="3">
                  <c:v>46.95</c:v>
                </c:pt>
                <c:pt idx="4">
                  <c:v>46.14</c:v>
                </c:pt>
                <c:pt idx="5">
                  <c:v>69.91</c:v>
                </c:pt>
                <c:pt idx="6">
                  <c:v>39.090000000000003</c:v>
                </c:pt>
                <c:pt idx="7">
                  <c:v>87.16</c:v>
                </c:pt>
                <c:pt idx="8">
                  <c:v>23.79</c:v>
                </c:pt>
                <c:pt idx="9">
                  <c:v>24.94</c:v>
                </c:pt>
                <c:pt idx="10">
                  <c:v>41.15</c:v>
                </c:pt>
                <c:pt idx="11">
                  <c:v>24.16</c:v>
                </c:pt>
                <c:pt idx="12">
                  <c:v>36.93</c:v>
                </c:pt>
                <c:pt idx="13">
                  <c:v>36.18</c:v>
                </c:pt>
                <c:pt idx="14">
                  <c:v>36.40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0C5-4981-9F8C-044F01AF1709}"/>
                </c:ext>
              </c:extLst>
            </c:dLbl>
            <c:dLbl>
              <c:idx val="1"/>
              <c:tx>
                <c:rich>
                  <a:bodyPr/>
                  <a:lstStyle/>
                  <a:p>
                    <a:r>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0C5-4981-9F8C-044F01AF1709}"/>
                </c:ext>
              </c:extLst>
            </c:dLbl>
            <c:dLbl>
              <c:idx val="2"/>
              <c:tx>
                <c:rich>
                  <a:bodyPr/>
                  <a:lstStyle/>
                  <a:p>
                    <a:r>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0C5-4981-9F8C-044F01AF1709}"/>
                </c:ext>
              </c:extLst>
            </c:dLbl>
            <c:dLbl>
              <c:idx val="3"/>
              <c:tx>
                <c:rich>
                  <a:bodyPr/>
                  <a:lstStyle/>
                  <a:p>
                    <a:r>
                      <a:t>4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0C5-4981-9F8C-044F01AF1709}"/>
                </c:ext>
              </c:extLst>
            </c:dLbl>
            <c:dLbl>
              <c:idx val="4"/>
              <c:tx>
                <c:rich>
                  <a:bodyPr/>
                  <a:lstStyle/>
                  <a:p>
                    <a:r>
                      <a:t>4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0C5-4981-9F8C-044F01AF1709}"/>
                </c:ext>
              </c:extLst>
            </c:dLbl>
            <c:dLbl>
              <c:idx val="5"/>
              <c:tx>
                <c:rich>
                  <a:bodyPr/>
                  <a:lstStyle/>
                  <a:p>
                    <a:r>
                      <a:t>7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0C5-4981-9F8C-044F01AF1709}"/>
                </c:ext>
              </c:extLst>
            </c:dLbl>
            <c:dLbl>
              <c:idx val="6"/>
              <c:tx>
                <c:rich>
                  <a:bodyPr/>
                  <a:lstStyle/>
                  <a:p>
                    <a:r>
                      <a:t>38.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0C5-4981-9F8C-044F01AF1709}"/>
                </c:ext>
              </c:extLst>
            </c:dLbl>
            <c:dLbl>
              <c:idx val="7"/>
              <c:tx>
                <c:rich>
                  <a:bodyPr/>
                  <a:lstStyle/>
                  <a:p>
                    <a:r>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0C5-4981-9F8C-044F01AF1709}"/>
                </c:ext>
              </c:extLst>
            </c:dLbl>
            <c:dLbl>
              <c:idx val="8"/>
              <c:tx>
                <c:rich>
                  <a:bodyPr/>
                  <a:lstStyle/>
                  <a:p>
                    <a:r>
                      <a:t>8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0C5-4981-9F8C-044F01AF1709}"/>
                </c:ext>
              </c:extLst>
            </c:dLbl>
            <c:dLbl>
              <c:idx val="9"/>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0C5-4981-9F8C-044F01AF1709}"/>
                </c:ext>
              </c:extLst>
            </c:dLbl>
            <c:dLbl>
              <c:idx val="10"/>
              <c:tx>
                <c:rich>
                  <a:bodyPr/>
                  <a:lstStyle/>
                  <a:p>
                    <a:r>
                      <a:t>4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0C5-4981-9F8C-044F01AF1709}"/>
                </c:ext>
              </c:extLst>
            </c:dLbl>
            <c:dLbl>
              <c:idx val="11"/>
              <c:tx>
                <c:rich>
                  <a:bodyPr/>
                  <a:lstStyle/>
                  <a:p>
                    <a:r>
                      <a:t>24.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0C5-4981-9F8C-044F01AF1709}"/>
                </c:ext>
              </c:extLst>
            </c:dLbl>
            <c:dLbl>
              <c:idx val="12"/>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0C5-4981-9F8C-044F01AF1709}"/>
                </c:ext>
              </c:extLst>
            </c:dLbl>
            <c:dLbl>
              <c:idx val="13"/>
              <c:tx>
                <c:rich>
                  <a:bodyPr/>
                  <a:lstStyle/>
                  <a:p>
                    <a:r>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0C5-4981-9F8C-044F01AF1709}"/>
                </c:ext>
              </c:extLst>
            </c:dLbl>
            <c:dLbl>
              <c:idx val="14"/>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0C5-4981-9F8C-044F01AF170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6</c:v>
                </c:pt>
                <c:pt idx="1">
                  <c:v>37.07</c:v>
                </c:pt>
                <c:pt idx="2">
                  <c:v>22.24</c:v>
                </c:pt>
                <c:pt idx="3">
                  <c:v>45.29</c:v>
                </c:pt>
                <c:pt idx="4">
                  <c:v>46.77</c:v>
                </c:pt>
                <c:pt idx="5">
                  <c:v>76.790000000000006</c:v>
                </c:pt>
                <c:pt idx="6">
                  <c:v>38.96</c:v>
                </c:pt>
                <c:pt idx="7">
                  <c:v>24.06</c:v>
                </c:pt>
                <c:pt idx="8">
                  <c:v>84.11</c:v>
                </c:pt>
                <c:pt idx="9">
                  <c:v>25</c:v>
                </c:pt>
                <c:pt idx="10">
                  <c:v>41.01</c:v>
                </c:pt>
                <c:pt idx="11">
                  <c:v>24.29</c:v>
                </c:pt>
                <c:pt idx="12">
                  <c:v>36.369999999999997</c:v>
                </c:pt>
                <c:pt idx="13">
                  <c:v>37.869999999999997</c:v>
                </c:pt>
                <c:pt idx="14">
                  <c:v>36.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978-437F-99EB-385001D22457}"/>
                </c:ext>
              </c:extLst>
            </c:dLbl>
            <c:dLbl>
              <c:idx val="1"/>
              <c:tx>
                <c:rich>
                  <a:bodyPr/>
                  <a:lstStyle/>
                  <a:p>
                    <a:r>
                      <a:t>3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978-437F-99EB-385001D22457}"/>
                </c:ext>
              </c:extLst>
            </c:dLbl>
            <c:dLbl>
              <c:idx val="2"/>
              <c:tx>
                <c:rich>
                  <a:bodyPr/>
                  <a:lstStyle/>
                  <a:p>
                    <a:r>
                      <a:t>2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978-437F-99EB-385001D22457}"/>
                </c:ext>
              </c:extLst>
            </c:dLbl>
            <c:dLbl>
              <c:idx val="3"/>
              <c:tx>
                <c:rich>
                  <a:bodyPr/>
                  <a:lstStyle/>
                  <a:p>
                    <a:r>
                      <a:t>45.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978-437F-99EB-385001D22457}"/>
                </c:ext>
              </c:extLst>
            </c:dLbl>
            <c:dLbl>
              <c:idx val="4"/>
              <c:tx>
                <c:rich>
                  <a:bodyPr/>
                  <a:lstStyle/>
                  <a:p>
                    <a:r>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978-437F-99EB-385001D22457}"/>
                </c:ext>
              </c:extLst>
            </c:dLbl>
            <c:dLbl>
              <c:idx val="5"/>
              <c:tx>
                <c:rich>
                  <a:bodyPr/>
                  <a:lstStyle/>
                  <a:p>
                    <a:r>
                      <a:t>7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978-437F-99EB-385001D22457}"/>
                </c:ext>
              </c:extLst>
            </c:dLbl>
            <c:dLbl>
              <c:idx val="6"/>
              <c:tx>
                <c:rich>
                  <a:bodyPr/>
                  <a:lstStyle/>
                  <a:p>
                    <a:r>
                      <a:t>3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978-437F-99EB-385001D22457}"/>
                </c:ext>
              </c:extLst>
            </c:dLbl>
            <c:dLbl>
              <c:idx val="7"/>
              <c:tx>
                <c:rich>
                  <a:bodyPr/>
                  <a:lstStyle/>
                  <a:p>
                    <a:r>
                      <a:t>2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978-437F-99EB-385001D22457}"/>
                </c:ext>
              </c:extLst>
            </c:dLbl>
            <c:dLbl>
              <c:idx val="8"/>
              <c:tx>
                <c:rich>
                  <a:bodyPr/>
                  <a:lstStyle/>
                  <a:p>
                    <a:r>
                      <a:t>87.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978-437F-99EB-385001D22457}"/>
                </c:ext>
              </c:extLst>
            </c:dLbl>
            <c:dLbl>
              <c:idx val="9"/>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978-437F-99EB-385001D22457}"/>
                </c:ext>
              </c:extLst>
            </c:dLbl>
            <c:dLbl>
              <c:idx val="10"/>
              <c:tx>
                <c:rich>
                  <a:bodyPr/>
                  <a:lstStyle/>
                  <a:p>
                    <a:r>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978-437F-99EB-385001D22457}"/>
                </c:ext>
              </c:extLst>
            </c:dLbl>
            <c:dLbl>
              <c:idx val="11"/>
              <c:tx>
                <c:rich>
                  <a:bodyPr/>
                  <a:lstStyle/>
                  <a:p>
                    <a:r>
                      <a:t>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978-437F-99EB-385001D22457}"/>
                </c:ext>
              </c:extLst>
            </c:dLbl>
            <c:dLbl>
              <c:idx val="12"/>
              <c:tx>
                <c:rich>
                  <a:bodyPr/>
                  <a:lstStyle/>
                  <a:p>
                    <a:r>
                      <a:t>37.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978-437F-99EB-385001D22457}"/>
                </c:ext>
              </c:extLst>
            </c:dLbl>
            <c:dLbl>
              <c:idx val="13"/>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978-437F-99EB-385001D22457}"/>
                </c:ext>
              </c:extLst>
            </c:dLbl>
            <c:dLbl>
              <c:idx val="14"/>
              <c:tx>
                <c:rich>
                  <a:bodyPr/>
                  <a:lstStyle/>
                  <a:p>
                    <a:r>
                      <a:t>3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978-437F-99EB-385001D2245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1</c:v>
                </c:pt>
                <c:pt idx="1">
                  <c:v>37.130000000000003</c:v>
                </c:pt>
                <c:pt idx="2">
                  <c:v>22.35</c:v>
                </c:pt>
                <c:pt idx="3">
                  <c:v>45.44</c:v>
                </c:pt>
                <c:pt idx="4">
                  <c:v>46.56</c:v>
                </c:pt>
                <c:pt idx="5">
                  <c:v>74.13</c:v>
                </c:pt>
                <c:pt idx="6">
                  <c:v>38.93</c:v>
                </c:pt>
                <c:pt idx="7">
                  <c:v>24.15</c:v>
                </c:pt>
                <c:pt idx="8">
                  <c:v>87.57</c:v>
                </c:pt>
                <c:pt idx="9">
                  <c:v>25.02</c:v>
                </c:pt>
                <c:pt idx="10">
                  <c:v>41.36</c:v>
                </c:pt>
                <c:pt idx="11">
                  <c:v>23.8</c:v>
                </c:pt>
                <c:pt idx="12">
                  <c:v>37.11</c:v>
                </c:pt>
                <c:pt idx="13">
                  <c:v>36.369999999999997</c:v>
                </c:pt>
                <c:pt idx="14">
                  <c:v>36.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70B-4274-8471-0722B6826737}"/>
                </c:ext>
              </c:extLst>
            </c:dLbl>
            <c:dLbl>
              <c:idx val="1"/>
              <c:tx>
                <c:rich>
                  <a:bodyPr/>
                  <a:lstStyle/>
                  <a:p>
                    <a:r>
                      <a:t>38.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70B-4274-8471-0722B6826737}"/>
                </c:ext>
              </c:extLst>
            </c:dLbl>
            <c:dLbl>
              <c:idx val="2"/>
              <c:tx>
                <c:rich>
                  <a:bodyPr/>
                  <a:lstStyle/>
                  <a:p>
                    <a:r>
                      <a:t>4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70B-4274-8471-0722B6826737}"/>
                </c:ext>
              </c:extLst>
            </c:dLbl>
            <c:dLbl>
              <c:idx val="3"/>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70B-4274-8471-0722B6826737}"/>
                </c:ext>
              </c:extLst>
            </c:dLbl>
            <c:dLbl>
              <c:idx val="4"/>
              <c:tx>
                <c:rich>
                  <a:bodyPr/>
                  <a:lstStyle/>
                  <a:p>
                    <a:r>
                      <a:t>4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70B-4274-8471-0722B6826737}"/>
                </c:ext>
              </c:extLst>
            </c:dLbl>
            <c:dLbl>
              <c:idx val="5"/>
              <c:tx>
                <c:rich>
                  <a:bodyPr/>
                  <a:lstStyle/>
                  <a:p>
                    <a:r>
                      <a:t>7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70B-4274-8471-0722B6826737}"/>
                </c:ext>
              </c:extLst>
            </c:dLbl>
            <c:dLbl>
              <c:idx val="6"/>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70B-4274-8471-0722B6826737}"/>
                </c:ext>
              </c:extLst>
            </c:dLbl>
            <c:dLbl>
              <c:idx val="7"/>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70B-4274-8471-0722B6826737}"/>
                </c:ext>
              </c:extLst>
            </c:dLbl>
            <c:dLbl>
              <c:idx val="8"/>
              <c:tx>
                <c:rich>
                  <a:bodyPr/>
                  <a:lstStyle/>
                  <a:p>
                    <a:r>
                      <a:t>8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70B-4274-8471-0722B6826737}"/>
                </c:ext>
              </c:extLst>
            </c:dLbl>
            <c:dLbl>
              <c:idx val="9"/>
              <c:tx>
                <c:rich>
                  <a:bodyPr/>
                  <a:lstStyle/>
                  <a:p>
                    <a:r>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70B-4274-8471-0722B6826737}"/>
                </c:ext>
              </c:extLst>
            </c:dLbl>
            <c:dLbl>
              <c:idx val="10"/>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70B-4274-8471-0722B6826737}"/>
                </c:ext>
              </c:extLst>
            </c:dLbl>
            <c:dLbl>
              <c:idx val="11"/>
              <c:tx>
                <c:rich>
                  <a:bodyPr/>
                  <a:lstStyle/>
                  <a:p>
                    <a:r>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70B-4274-8471-0722B6826737}"/>
                </c:ext>
              </c:extLst>
            </c:dLbl>
            <c:dLbl>
              <c:idx val="12"/>
              <c:tx>
                <c:rich>
                  <a:bodyPr/>
                  <a:lstStyle/>
                  <a:p>
                    <a:r>
                      <a:t>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70B-4274-8471-0722B6826737}"/>
                </c:ext>
              </c:extLst>
            </c:dLbl>
            <c:dLbl>
              <c:idx val="13"/>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70B-4274-8471-0722B6826737}"/>
                </c:ext>
              </c:extLst>
            </c:dLbl>
            <c:dLbl>
              <c:idx val="14"/>
              <c:tx>
                <c:rich>
                  <a:bodyPr/>
                  <a:lstStyle/>
                  <a:p>
                    <a:r>
                      <a:t>36.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70B-4274-8471-0722B682673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LC/BLC BS 1CT X 750ML</c:v>
                </c:pt>
                <c:pt idx="8">
                  <c:v>MG CHAMPAGNE NICOLAS BLC/BL BS 1CT X 1500ML</c:v>
                </c:pt>
                <c:pt idx="9">
                  <c:v>1/2 CHAMP NICOLAS BLC/BLC BS 1CT X 375ML</c:v>
                </c:pt>
                <c:pt idx="10">
                  <c:v>CHAMPAGNE E.NICOLAS ROSE 1CT X 750ML</c:v>
                </c:pt>
                <c:pt idx="11">
                  <c:v>1/2 CHAMP NICOLAS ROSE 1E C BS 1CT X 375ML</c:v>
                </c:pt>
                <c:pt idx="12">
                  <c:v>CHAMPAGNE NICOLAS ROSE 1ERE CU 1CT X 750ML</c:v>
                </c:pt>
                <c:pt idx="13">
                  <c:v>CHAMPAGNE NICOLAS 1ER CRU BS 1CT X 750ML</c:v>
                </c:pt>
                <c:pt idx="14">
                  <c:v>CHAMPAGNE NICOLAS BLC DE NOIRS 1CT X 750ML</c:v>
                </c:pt>
              </c:strCache>
            </c:strRef>
          </c:cat>
          <c:val>
            <c:numRef>
              <c:f>Sheet1!$B$2:$B$16</c:f>
              <c:numCache>
                <c:formatCode>General</c:formatCode>
                <c:ptCount val="15"/>
                <c:pt idx="0">
                  <c:v>21.91</c:v>
                </c:pt>
                <c:pt idx="1">
                  <c:v>38.58</c:v>
                </c:pt>
                <c:pt idx="2">
                  <c:v>45.07</c:v>
                </c:pt>
                <c:pt idx="3">
                  <c:v>22.28</c:v>
                </c:pt>
                <c:pt idx="4">
                  <c:v>46.23</c:v>
                </c:pt>
                <c:pt idx="5">
                  <c:v>78</c:v>
                </c:pt>
                <c:pt idx="6">
                  <c:v>37.56</c:v>
                </c:pt>
                <c:pt idx="7">
                  <c:v>39.020000000000003</c:v>
                </c:pt>
                <c:pt idx="8">
                  <c:v>84.55</c:v>
                </c:pt>
                <c:pt idx="9">
                  <c:v>24.08</c:v>
                </c:pt>
                <c:pt idx="10">
                  <c:v>24.97</c:v>
                </c:pt>
                <c:pt idx="11">
                  <c:v>23.92</c:v>
                </c:pt>
                <c:pt idx="12">
                  <c:v>42.36</c:v>
                </c:pt>
                <c:pt idx="13">
                  <c:v>36.89</c:v>
                </c:pt>
                <c:pt idx="14">
                  <c:v>36.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6EE-4ED9-A759-E6F9DF312345}"/>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6EE-4ED9-A759-E6F9DF312345}"/>
                </c:ext>
              </c:extLst>
            </c:dLbl>
            <c:dLbl>
              <c:idx val="2"/>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6EE-4ED9-A759-E6F9DF312345}"/>
                </c:ext>
              </c:extLst>
            </c:dLbl>
            <c:dLbl>
              <c:idx val="3"/>
              <c:tx>
                <c:rich>
                  <a:bodyPr/>
                  <a:lstStyle/>
                  <a:p>
                    <a:r>
                      <a:t>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6EE-4ED9-A759-E6F9DF312345}"/>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6EE-4ED9-A759-E6F9DF312345}"/>
                </c:ext>
              </c:extLst>
            </c:dLbl>
            <c:dLbl>
              <c:idx val="5"/>
              <c:tx>
                <c:rich>
                  <a:bodyPr/>
                  <a:lstStyle/>
                  <a:p>
                    <a:r>
                      <a:t>57.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6EE-4ED9-A759-E6F9DF312345}"/>
                </c:ext>
              </c:extLst>
            </c:dLbl>
            <c:dLbl>
              <c:idx val="6"/>
              <c:tx>
                <c:rich>
                  <a:bodyPr/>
                  <a:lstStyle/>
                  <a:p>
                    <a:r>
                      <a:t>93.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6EE-4ED9-A759-E6F9DF312345}"/>
                </c:ext>
              </c:extLst>
            </c:dLbl>
            <c:dLbl>
              <c:idx val="7"/>
              <c:tx>
                <c:rich>
                  <a:bodyPr/>
                  <a:lstStyle/>
                  <a:p>
                    <a:r>
                      <a:t>96.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6EE-4ED9-A759-E6F9DF312345}"/>
                </c:ext>
              </c:extLst>
            </c:dLbl>
            <c:dLbl>
              <c:idx val="8"/>
              <c:tx>
                <c:rich>
                  <a:bodyPr/>
                  <a:lstStyle/>
                  <a:p>
                    <a:r>
                      <a:t>51.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6EE-4ED9-A759-E6F9DF312345}"/>
                </c:ext>
              </c:extLst>
            </c:dLbl>
            <c:dLbl>
              <c:idx val="9"/>
              <c:tx>
                <c:rich>
                  <a:bodyPr/>
                  <a:lstStyle/>
                  <a:p>
                    <a:r>
                      <a:t>253.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6EE-4ED9-A759-E6F9DF312345}"/>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6EE-4ED9-A759-E6F9DF312345}"/>
                </c:ext>
              </c:extLst>
            </c:dLbl>
            <c:dLbl>
              <c:idx val="11"/>
              <c:tx>
                <c:rich>
                  <a:bodyPr/>
                  <a:lstStyle/>
                  <a:p>
                    <a:r>
                      <a:t>5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6EE-4ED9-A759-E6F9DF312345}"/>
                </c:ext>
              </c:extLst>
            </c:dLbl>
            <c:dLbl>
              <c:idx val="12"/>
              <c:tx>
                <c:rich>
                  <a:bodyPr/>
                  <a:lstStyle/>
                  <a:p>
                    <a:r>
                      <a:t>100.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6EE-4ED9-A759-E6F9DF312345}"/>
                </c:ext>
              </c:extLst>
            </c:dLbl>
            <c:dLbl>
              <c:idx val="13"/>
              <c:tx>
                <c:rich>
                  <a:bodyPr/>
                  <a:lstStyle/>
                  <a:p>
                    <a:r>
                      <a:t>6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6EE-4ED9-A759-E6F9DF312345}"/>
                </c:ext>
              </c:extLst>
            </c:dLbl>
            <c:dLbl>
              <c:idx val="14"/>
              <c:tx>
                <c:rich>
                  <a:bodyPr/>
                  <a:lstStyle/>
                  <a:p>
                    <a:r>
                      <a:t>28.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6EE-4ED9-A759-E6F9DF31234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c:v>
                </c:pt>
                <c:pt idx="1">
                  <c:v>39.090000000000003</c:v>
                </c:pt>
                <c:pt idx="2">
                  <c:v>24.99</c:v>
                </c:pt>
                <c:pt idx="3">
                  <c:v>37.1</c:v>
                </c:pt>
                <c:pt idx="4">
                  <c:v>41.37</c:v>
                </c:pt>
                <c:pt idx="5">
                  <c:v>57.88</c:v>
                </c:pt>
                <c:pt idx="6">
                  <c:v>93.81</c:v>
                </c:pt>
                <c:pt idx="7">
                  <c:v>96.96</c:v>
                </c:pt>
                <c:pt idx="8">
                  <c:v>51.54</c:v>
                </c:pt>
                <c:pt idx="9">
                  <c:v>253.58</c:v>
                </c:pt>
                <c:pt idx="10">
                  <c:v>49.96</c:v>
                </c:pt>
                <c:pt idx="11">
                  <c:v>58.98</c:v>
                </c:pt>
                <c:pt idx="12">
                  <c:v>100.24</c:v>
                </c:pt>
                <c:pt idx="13">
                  <c:v>62.42</c:v>
                </c:pt>
                <c:pt idx="14">
                  <c:v>28.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C75-4AD8-BF2A-F7F8CB72E020}"/>
                </c:ext>
              </c:extLst>
            </c:dLbl>
            <c:dLbl>
              <c:idx val="1"/>
              <c:tx>
                <c:rich>
                  <a:bodyPr/>
                  <a:lstStyle/>
                  <a:p>
                    <a:r>
                      <a:t>3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C75-4AD8-BF2A-F7F8CB72E020}"/>
                </c:ext>
              </c:extLst>
            </c:dLbl>
            <c:dLbl>
              <c:idx val="2"/>
              <c:tx>
                <c:rich>
                  <a:bodyPr/>
                  <a:lstStyle/>
                  <a:p>
                    <a:r>
                      <a:t>37.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C75-4AD8-BF2A-F7F8CB72E020}"/>
                </c:ext>
              </c:extLst>
            </c:dLbl>
            <c:dLbl>
              <c:idx val="3"/>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C75-4AD8-BF2A-F7F8CB72E020}"/>
                </c:ext>
              </c:extLst>
            </c:dLbl>
            <c:dLbl>
              <c:idx val="4"/>
              <c:tx>
                <c:rich>
                  <a:bodyPr/>
                  <a:lstStyle/>
                  <a:p>
                    <a:r>
                      <a:t>41.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C75-4AD8-BF2A-F7F8CB72E020}"/>
                </c:ext>
              </c:extLst>
            </c:dLbl>
            <c:dLbl>
              <c:idx val="5"/>
              <c:tx>
                <c:rich>
                  <a:bodyPr/>
                  <a:lstStyle/>
                  <a:p>
                    <a:r>
                      <a:t>57.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C75-4AD8-BF2A-F7F8CB72E020}"/>
                </c:ext>
              </c:extLst>
            </c:dLbl>
            <c:dLbl>
              <c:idx val="6"/>
              <c:tx>
                <c:rich>
                  <a:bodyPr/>
                  <a:lstStyle/>
                  <a:p>
                    <a:r>
                      <a:t>9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C75-4AD8-BF2A-F7F8CB72E020}"/>
                </c:ext>
              </c:extLst>
            </c:dLbl>
            <c:dLbl>
              <c:idx val="7"/>
              <c:tx>
                <c:rich>
                  <a:bodyPr/>
                  <a:lstStyle/>
                  <a:p>
                    <a:r>
                      <a:t>5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C75-4AD8-BF2A-F7F8CB72E020}"/>
                </c:ext>
              </c:extLst>
            </c:dLbl>
            <c:dLbl>
              <c:idx val="8"/>
              <c:tx>
                <c:rich>
                  <a:bodyPr/>
                  <a:lstStyle/>
                  <a:p>
                    <a:r>
                      <a:t>9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C75-4AD8-BF2A-F7F8CB72E020}"/>
                </c:ext>
              </c:extLst>
            </c:dLbl>
            <c:dLbl>
              <c:idx val="9"/>
              <c:tx>
                <c:rich>
                  <a:bodyPr/>
                  <a:lstStyle/>
                  <a:p>
                    <a:r>
                      <a:t>44.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C75-4AD8-BF2A-F7F8CB72E020}"/>
                </c:ext>
              </c:extLst>
            </c:dLbl>
            <c:dLbl>
              <c:idx val="10"/>
              <c:tx>
                <c:rich>
                  <a:bodyPr/>
                  <a:lstStyle/>
                  <a:p>
                    <a:r>
                      <a:t>49.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C75-4AD8-BF2A-F7F8CB72E020}"/>
                </c:ext>
              </c:extLst>
            </c:dLbl>
            <c:dLbl>
              <c:idx val="11"/>
              <c:tx>
                <c:rich>
                  <a:bodyPr/>
                  <a:lstStyle/>
                  <a:p>
                    <a:r>
                      <a:t>59.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C75-4AD8-BF2A-F7F8CB72E020}"/>
                </c:ext>
              </c:extLst>
            </c:dLbl>
            <c:dLbl>
              <c:idx val="12"/>
              <c:tx>
                <c:rich>
                  <a:bodyPr/>
                  <a:lstStyle/>
                  <a:p>
                    <a:r>
                      <a:t>100.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C75-4AD8-BF2A-F7F8CB72E020}"/>
                </c:ext>
              </c:extLst>
            </c:dLbl>
            <c:dLbl>
              <c:idx val="13"/>
              <c:tx>
                <c:rich>
                  <a:bodyPr/>
                  <a:lstStyle/>
                  <a:p>
                    <a:r>
                      <a:t>62.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C75-4AD8-BF2A-F7F8CB72E020}"/>
                </c:ext>
              </c:extLst>
            </c:dLbl>
            <c:dLbl>
              <c:idx val="14"/>
              <c:tx>
                <c:rich>
                  <a:bodyPr/>
                  <a:lstStyle/>
                  <a:p>
                    <a:r>
                      <a:t>28.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C75-4AD8-BF2A-F7F8CB72E02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1</c:v>
                </c:pt>
                <c:pt idx="1">
                  <c:v>39.049999999999997</c:v>
                </c:pt>
                <c:pt idx="2">
                  <c:v>37.08</c:v>
                </c:pt>
                <c:pt idx="3">
                  <c:v>25.02</c:v>
                </c:pt>
                <c:pt idx="4">
                  <c:v>41.04</c:v>
                </c:pt>
                <c:pt idx="5">
                  <c:v>57.93</c:v>
                </c:pt>
                <c:pt idx="6">
                  <c:v>93</c:v>
                </c:pt>
                <c:pt idx="7">
                  <c:v>51.53</c:v>
                </c:pt>
                <c:pt idx="8">
                  <c:v>96.83</c:v>
                </c:pt>
                <c:pt idx="9">
                  <c:v>44.78</c:v>
                </c:pt>
                <c:pt idx="10">
                  <c:v>49.97</c:v>
                </c:pt>
                <c:pt idx="11">
                  <c:v>59.04</c:v>
                </c:pt>
                <c:pt idx="12">
                  <c:v>100.36</c:v>
                </c:pt>
                <c:pt idx="13">
                  <c:v>62.64</c:v>
                </c:pt>
                <c:pt idx="14">
                  <c:v>28.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F9F-43EC-96A4-30A1450E862F}"/>
                </c:ext>
              </c:extLst>
            </c:dLbl>
            <c:dLbl>
              <c:idx val="1"/>
              <c:tx>
                <c:rich>
                  <a:bodyPr/>
                  <a:lstStyle/>
                  <a:p>
                    <a:r>
                      <a:t>39.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F9F-43EC-96A4-30A1450E862F}"/>
                </c:ext>
              </c:extLst>
            </c:dLbl>
            <c:dLbl>
              <c:idx val="2"/>
              <c:tx>
                <c:rich>
                  <a:bodyPr/>
                  <a:lstStyle/>
                  <a:p>
                    <a:r>
                      <a:t>24.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F9F-43EC-96A4-30A1450E862F}"/>
                </c:ext>
              </c:extLst>
            </c:dLbl>
            <c:dLbl>
              <c:idx val="3"/>
              <c:tx>
                <c:rich>
                  <a:bodyPr/>
                  <a:lstStyle/>
                  <a:p>
                    <a:r>
                      <a:t>37.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F9F-43EC-96A4-30A1450E862F}"/>
                </c:ext>
              </c:extLst>
            </c:dLbl>
            <c:dLbl>
              <c:idx val="4"/>
              <c:tx>
                <c:rich>
                  <a:bodyPr/>
                  <a:lstStyle/>
                  <a:p>
                    <a:r>
                      <a:t>42.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F9F-43EC-96A4-30A1450E862F}"/>
                </c:ext>
              </c:extLst>
            </c:dLbl>
            <c:dLbl>
              <c:idx val="5"/>
              <c:tx>
                <c:rich>
                  <a:bodyPr/>
                  <a:lstStyle/>
                  <a:p>
                    <a:r>
                      <a:t>5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F9F-43EC-96A4-30A1450E862F}"/>
                </c:ext>
              </c:extLst>
            </c:dLbl>
            <c:dLbl>
              <c:idx val="6"/>
              <c:tx>
                <c:rich>
                  <a:bodyPr/>
                  <a:lstStyle/>
                  <a:p>
                    <a:r>
                      <a:t>92.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F9F-43EC-96A4-30A1450E862F}"/>
                </c:ext>
              </c:extLst>
            </c:dLbl>
            <c:dLbl>
              <c:idx val="7"/>
              <c:tx>
                <c:rich>
                  <a:bodyPr/>
                  <a:lstStyle/>
                  <a:p>
                    <a:r>
                      <a:t>97.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F9F-43EC-96A4-30A1450E862F}"/>
                </c:ext>
              </c:extLst>
            </c:dLbl>
            <c:dLbl>
              <c:idx val="8"/>
              <c:tx>
                <c:rich>
                  <a:bodyPr/>
                  <a:lstStyle/>
                  <a:p>
                    <a:r>
                      <a:t>6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F9F-43EC-96A4-30A1450E862F}"/>
                </c:ext>
              </c:extLst>
            </c:dLbl>
            <c:dLbl>
              <c:idx val="9"/>
              <c:tx>
                <c:rich>
                  <a:bodyPr/>
                  <a:lstStyle/>
                  <a:p>
                    <a:r>
                      <a:t>138.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F9F-43EC-96A4-30A1450E862F}"/>
                </c:ext>
              </c:extLst>
            </c:dLbl>
            <c:dLbl>
              <c:idx val="10"/>
              <c:tx>
                <c:rich>
                  <a:bodyPr/>
                  <a:lstStyle/>
                  <a:p>
                    <a:r>
                      <a:t>49.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F9F-43EC-96A4-30A1450E862F}"/>
                </c:ext>
              </c:extLst>
            </c:dLbl>
            <c:dLbl>
              <c:idx val="11"/>
              <c:tx>
                <c:rich>
                  <a:bodyPr/>
                  <a:lstStyle/>
                  <a:p>
                    <a:r>
                      <a:t>58.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F9F-43EC-96A4-30A1450E862F}"/>
                </c:ext>
              </c:extLst>
            </c:dLbl>
            <c:dLbl>
              <c:idx val="12"/>
              <c:tx>
                <c:rich>
                  <a:bodyPr/>
                  <a:lstStyle/>
                  <a:p>
                    <a:r>
                      <a:t>6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F9F-43EC-96A4-30A1450E862F}"/>
                </c:ext>
              </c:extLst>
            </c:dLbl>
            <c:dLbl>
              <c:idx val="13"/>
              <c:tx>
                <c:rich>
                  <a:bodyPr/>
                  <a:lstStyle/>
                  <a:p>
                    <a:r>
                      <a:t>100.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F9F-43EC-96A4-30A1450E862F}"/>
                </c:ext>
              </c:extLst>
            </c:dLbl>
            <c:dLbl>
              <c:idx val="14"/>
              <c:tx>
                <c:rich>
                  <a:bodyPr/>
                  <a:lstStyle/>
                  <a:p>
                    <a:r>
                      <a:t>345.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F9F-43EC-96A4-30A1450E862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MG RUINART BRUT SECOND SKIN 1CT X 1500ML</c:v>
                </c:pt>
                <c:pt idx="10">
                  <c:v>DEUTZ CLASSIC BRUT 1CT X 750ML</c:v>
                </c:pt>
                <c:pt idx="11">
                  <c:v>ROEDERER BRUT COLLECTION 245 1CT X 750ML</c:v>
                </c:pt>
                <c:pt idx="12">
                  <c:v>DEUTZ ROSE 1CT X 750ML</c:v>
                </c:pt>
                <c:pt idx="13">
                  <c:v>MG DEUTZ CLASSIC 1CT X 1500ML</c:v>
                </c:pt>
                <c:pt idx="14">
                  <c:v>ROEDERER CRISTAL BRUT 2016 1CT X 750ML</c:v>
                </c:pt>
              </c:strCache>
            </c:strRef>
          </c:cat>
          <c:val>
            <c:numRef>
              <c:f>Sheet1!$B$2:$B$16</c:f>
              <c:numCache>
                <c:formatCode>General</c:formatCode>
                <c:ptCount val="15"/>
                <c:pt idx="0">
                  <c:v>21.81</c:v>
                </c:pt>
                <c:pt idx="1">
                  <c:v>39.020000000000003</c:v>
                </c:pt>
                <c:pt idx="2">
                  <c:v>24.91</c:v>
                </c:pt>
                <c:pt idx="3">
                  <c:v>37.07</c:v>
                </c:pt>
                <c:pt idx="4">
                  <c:v>42.78</c:v>
                </c:pt>
                <c:pt idx="5">
                  <c:v>57.7</c:v>
                </c:pt>
                <c:pt idx="6">
                  <c:v>92.85</c:v>
                </c:pt>
                <c:pt idx="7">
                  <c:v>97.19</c:v>
                </c:pt>
                <c:pt idx="8">
                  <c:v>61.53</c:v>
                </c:pt>
                <c:pt idx="9">
                  <c:v>138.58000000000001</c:v>
                </c:pt>
                <c:pt idx="10">
                  <c:v>49.85</c:v>
                </c:pt>
                <c:pt idx="11">
                  <c:v>58.67</c:v>
                </c:pt>
                <c:pt idx="12">
                  <c:v>62.41</c:v>
                </c:pt>
                <c:pt idx="13">
                  <c:v>100.25</c:v>
                </c:pt>
                <c:pt idx="14">
                  <c:v>345.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2C3-434D-B35A-ADD17EBE198B}"/>
                </c:ext>
              </c:extLst>
            </c:dLbl>
            <c:dLbl>
              <c:idx val="1"/>
              <c:tx>
                <c:rich>
                  <a:bodyPr/>
                  <a:lstStyle/>
                  <a:p>
                    <a:r>
                      <a:rPr lang="en-CH"/>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2C3-434D-B35A-ADD17EBE198B}"/>
                </c:ext>
              </c:extLst>
            </c:dLbl>
            <c:dLbl>
              <c:idx val="2"/>
              <c:tx>
                <c:rich>
                  <a:bodyPr/>
                  <a:lstStyle/>
                  <a:p>
                    <a:r>
                      <a:rPr lang="en-CH"/>
                      <a:t>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2C3-434D-B35A-ADD17EBE198B}"/>
                </c:ext>
              </c:extLst>
            </c:dLbl>
            <c:dLbl>
              <c:idx val="3"/>
              <c:tx>
                <c:rich>
                  <a:bodyPr/>
                  <a:lstStyle/>
                  <a:p>
                    <a:r>
                      <a:rPr lang="en-CH"/>
                      <a:t>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2C3-434D-B35A-ADD17EBE198B}"/>
                </c:ext>
              </c:extLst>
            </c:dLbl>
            <c:dLbl>
              <c:idx val="4"/>
              <c:tx>
                <c:rich>
                  <a:bodyPr/>
                  <a:lstStyle/>
                  <a:p>
                    <a:r>
                      <a:rPr lang="en-CH"/>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2C3-434D-B35A-ADD17EBE198B}"/>
                </c:ext>
              </c:extLst>
            </c:dLbl>
            <c:dLbl>
              <c:idx val="5"/>
              <c:tx>
                <c:rich>
                  <a:bodyPr/>
                  <a:lstStyle/>
                  <a:p>
                    <a:r>
                      <a:rPr lang="en-CH"/>
                      <a:t>41.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2C3-434D-B35A-ADD17EBE198B}"/>
                </c:ext>
              </c:extLst>
            </c:dLbl>
            <c:dLbl>
              <c:idx val="6"/>
              <c:tx>
                <c:rich>
                  <a:bodyPr/>
                  <a:lstStyle/>
                  <a:p>
                    <a:r>
                      <a:rPr lang="en-CH"/>
                      <a:t>3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2C3-434D-B35A-ADD17EBE198B}"/>
                </c:ext>
              </c:extLst>
            </c:dLbl>
            <c:dLbl>
              <c:idx val="7"/>
              <c:tx>
                <c:rich>
                  <a:bodyPr/>
                  <a:lstStyle/>
                  <a:p>
                    <a:r>
                      <a:rPr lang="en-CH"/>
                      <a:t>4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2C3-434D-B35A-ADD17EBE198B}"/>
                </c:ext>
              </c:extLst>
            </c:dLbl>
            <c:dLbl>
              <c:idx val="8"/>
              <c:tx>
                <c:rich>
                  <a:bodyPr/>
                  <a:lstStyle/>
                  <a:p>
                    <a:r>
                      <a:rPr lang="en-CH"/>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2C3-434D-B35A-ADD17EBE198B}"/>
                </c:ext>
              </c:extLst>
            </c:dLbl>
            <c:dLbl>
              <c:idx val="9"/>
              <c:tx>
                <c:rich>
                  <a:bodyPr/>
                  <a:lstStyle/>
                  <a:p>
                    <a:r>
                      <a:rPr lang="en-CH"/>
                      <a:t>24.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2C3-434D-B35A-ADD17EBE198B}"/>
                </c:ext>
              </c:extLst>
            </c:dLbl>
            <c:dLbl>
              <c:idx val="10"/>
              <c:tx>
                <c:rich>
                  <a:bodyPr/>
                  <a:lstStyle/>
                  <a:p>
                    <a:r>
                      <a:rPr lang="en-CH"/>
                      <a:t>2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2C3-434D-B35A-ADD17EBE198B}"/>
                </c:ext>
              </c:extLst>
            </c:dLbl>
            <c:dLbl>
              <c:idx val="11"/>
              <c:tx>
                <c:rich>
                  <a:bodyPr/>
                  <a:lstStyle/>
                  <a:p>
                    <a:r>
                      <a:rPr lang="en-CH"/>
                      <a:t>103.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2C3-434D-B35A-ADD17EBE198B}"/>
                </c:ext>
              </c:extLst>
            </c:dLbl>
            <c:dLbl>
              <c:idx val="12"/>
              <c:tx>
                <c:rich>
                  <a:bodyPr/>
                  <a:lstStyle/>
                  <a:p>
                    <a:r>
                      <a:rPr lang="en-CH"/>
                      <a:t>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2C3-434D-B35A-ADD17EBE198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ROSE 1ERE CU 1CT X 750ML</c:v>
                </c:pt>
                <c:pt idx="6">
                  <c:v>CHAMPAGNE NICOLAS BLC DE NOIRS 1CT X 750ML</c:v>
                </c:pt>
                <c:pt idx="7">
                  <c:v>MG CHAMPAGNE E.NICOLAS BRUT 1CT X 150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strCache>
            </c:strRef>
          </c:cat>
          <c:val>
            <c:numRef>
              <c:f>Sheet1!$B$2:$B$14</c:f>
              <c:numCache>
                <c:formatCode>General</c:formatCode>
                <c:ptCount val="13"/>
                <c:pt idx="0">
                  <c:v>21.91</c:v>
                </c:pt>
                <c:pt idx="1">
                  <c:v>39.03</c:v>
                </c:pt>
                <c:pt idx="2">
                  <c:v>24.9</c:v>
                </c:pt>
                <c:pt idx="3">
                  <c:v>37.6</c:v>
                </c:pt>
                <c:pt idx="4">
                  <c:v>22.41</c:v>
                </c:pt>
                <c:pt idx="5">
                  <c:v>41.16</c:v>
                </c:pt>
                <c:pt idx="6">
                  <c:v>35.799999999999997</c:v>
                </c:pt>
                <c:pt idx="7">
                  <c:v>48.77</c:v>
                </c:pt>
                <c:pt idx="8">
                  <c:v>46.69</c:v>
                </c:pt>
                <c:pt idx="9">
                  <c:v>24.73</c:v>
                </c:pt>
                <c:pt idx="10">
                  <c:v>24.26</c:v>
                </c:pt>
                <c:pt idx="11">
                  <c:v>103.82</c:v>
                </c:pt>
                <c:pt idx="12">
                  <c:v>64.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ED9-4374-8D20-2904F62D8D4B}"/>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ED9-4374-8D20-2904F62D8D4B}"/>
                </c:ext>
              </c:extLst>
            </c:dLbl>
            <c:dLbl>
              <c:idx val="2"/>
              <c:tx>
                <c:rich>
                  <a:bodyPr/>
                  <a:lstStyle/>
                  <a:p>
                    <a:r>
                      <a:t>37.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ED9-4374-8D20-2904F62D8D4B}"/>
                </c:ext>
              </c:extLst>
            </c:dLbl>
            <c:dLbl>
              <c:idx val="3"/>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ED9-4374-8D20-2904F62D8D4B}"/>
                </c:ext>
              </c:extLst>
            </c:dLbl>
            <c:dLbl>
              <c:idx val="4"/>
              <c:tx>
                <c:rich>
                  <a:bodyPr/>
                  <a:lstStyle/>
                  <a:p>
                    <a:r>
                      <a:t>2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ED9-4374-8D20-2904F62D8D4B}"/>
                </c:ext>
              </c:extLst>
            </c:dLbl>
            <c:dLbl>
              <c:idx val="5"/>
              <c:tx>
                <c:rich>
                  <a:bodyPr/>
                  <a:lstStyle/>
                  <a:p>
                    <a:r>
                      <a:t>5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ED9-4374-8D20-2904F62D8D4B}"/>
                </c:ext>
              </c:extLst>
            </c:dLbl>
            <c:dLbl>
              <c:idx val="6"/>
              <c:tx>
                <c:rich>
                  <a:bodyPr/>
                  <a:lstStyle/>
                  <a:p>
                    <a:r>
                      <a:t>9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ED9-4374-8D20-2904F62D8D4B}"/>
                </c:ext>
              </c:extLst>
            </c:dLbl>
            <c:dLbl>
              <c:idx val="7"/>
              <c:tx>
                <c:rich>
                  <a:bodyPr/>
                  <a:lstStyle/>
                  <a:p>
                    <a:r>
                      <a:t>252.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ED9-4374-8D20-2904F62D8D4B}"/>
                </c:ext>
              </c:extLst>
            </c:dLbl>
            <c:dLbl>
              <c:idx val="8"/>
              <c:tx>
                <c:rich>
                  <a:bodyPr/>
                  <a:lstStyle/>
                  <a:p>
                    <a:r>
                      <a:t>9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ED9-4374-8D20-2904F62D8D4B}"/>
                </c:ext>
              </c:extLst>
            </c:dLbl>
            <c:dLbl>
              <c:idx val="9"/>
              <c:tx>
                <c:rich>
                  <a:bodyPr/>
                  <a:lstStyle/>
                  <a:p>
                    <a:r>
                      <a:t>5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ED9-4374-8D20-2904F62D8D4B}"/>
                </c:ext>
              </c:extLst>
            </c:dLbl>
            <c:dLbl>
              <c:idx val="10"/>
              <c:tx>
                <c:rich>
                  <a:bodyPr/>
                  <a:lstStyle/>
                  <a:p>
                    <a:r>
                      <a:t>4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ED9-4374-8D20-2904F62D8D4B}"/>
                </c:ext>
              </c:extLst>
            </c:dLbl>
            <c:dLbl>
              <c:idx val="11"/>
              <c:tx>
                <c:rich>
                  <a:bodyPr/>
                  <a:lstStyle/>
                  <a:p>
                    <a:r>
                      <a:t>58.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ED9-4374-8D20-2904F62D8D4B}"/>
                </c:ext>
              </c:extLst>
            </c:dLbl>
            <c:dLbl>
              <c:idx val="12"/>
              <c:tx>
                <c:rich>
                  <a:bodyPr/>
                  <a:lstStyle/>
                  <a:p>
                    <a:r>
                      <a:t>324.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ED9-4374-8D20-2904F62D8D4B}"/>
                </c:ext>
              </c:extLst>
            </c:dLbl>
            <c:dLbl>
              <c:idx val="13"/>
              <c:tx>
                <c:rich>
                  <a:bodyPr/>
                  <a:lstStyle/>
                  <a:p>
                    <a:r>
                      <a:t>62.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ED9-4374-8D20-2904F62D8D4B}"/>
                </c:ext>
              </c:extLst>
            </c:dLbl>
            <c:dLbl>
              <c:idx val="14"/>
              <c:tx>
                <c:rich>
                  <a:bodyPr/>
                  <a:lstStyle/>
                  <a:p>
                    <a:r>
                      <a:t>98.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ED9-4374-8D20-2904F62D8D4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RUINART BRUT (NUE) 1CT X 750ML</c:v>
                </c:pt>
                <c:pt idx="6">
                  <c:v>RUINART BLANC DE BLANCS (NUE) 1CT X 750ML</c:v>
                </c:pt>
                <c:pt idx="7">
                  <c:v>DOM PERIGNON 2015 1CT X 750ML</c:v>
                </c:pt>
                <c:pt idx="8">
                  <c:v>RUINART BLANC DE BLANCS SECOND 1CT X 750ML</c:v>
                </c:pt>
                <c:pt idx="9">
                  <c:v>VEUVE CLICQUOT RESERV CUVEE NB 1CT X 750ML</c:v>
                </c:pt>
                <c:pt idx="10">
                  <c:v>DEUTZ CLASSIC BRUT 1CT X 750ML</c:v>
                </c:pt>
                <c:pt idx="11">
                  <c:v>ROEDERER BRUT COLLECTION 245 1CT X 750ML</c:v>
                </c:pt>
                <c:pt idx="12">
                  <c:v>ROEDERER CRISTAL BRUT 2016 1CT X 750ML</c:v>
                </c:pt>
                <c:pt idx="13">
                  <c:v>DEUTZ ROSE 1CT X 750ML</c:v>
                </c:pt>
                <c:pt idx="14">
                  <c:v>MG DEUTZ CLASSIC 1CT X 1500ML</c:v>
                </c:pt>
              </c:strCache>
            </c:strRef>
          </c:cat>
          <c:val>
            <c:numRef>
              <c:f>Sheet1!$B$2:$B$16</c:f>
              <c:numCache>
                <c:formatCode>General</c:formatCode>
                <c:ptCount val="15"/>
                <c:pt idx="0">
                  <c:v>21.92</c:v>
                </c:pt>
                <c:pt idx="1">
                  <c:v>38.979999999999997</c:v>
                </c:pt>
                <c:pt idx="2">
                  <c:v>37.26</c:v>
                </c:pt>
                <c:pt idx="3">
                  <c:v>25.01</c:v>
                </c:pt>
                <c:pt idx="4">
                  <c:v>22.3</c:v>
                </c:pt>
                <c:pt idx="5">
                  <c:v>57.9</c:v>
                </c:pt>
                <c:pt idx="6">
                  <c:v>93.15</c:v>
                </c:pt>
                <c:pt idx="7">
                  <c:v>252.15</c:v>
                </c:pt>
                <c:pt idx="8">
                  <c:v>96.97</c:v>
                </c:pt>
                <c:pt idx="9">
                  <c:v>51.97</c:v>
                </c:pt>
                <c:pt idx="10">
                  <c:v>49.98</c:v>
                </c:pt>
                <c:pt idx="11">
                  <c:v>58.95</c:v>
                </c:pt>
                <c:pt idx="12">
                  <c:v>324.39</c:v>
                </c:pt>
                <c:pt idx="13">
                  <c:v>62.13</c:v>
                </c:pt>
                <c:pt idx="14">
                  <c:v>98.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06F-426F-8C28-7B71FDF9E45A}"/>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06F-426F-8C28-7B71FDF9E45A}"/>
                </c:ext>
              </c:extLst>
            </c:dLbl>
            <c:dLbl>
              <c:idx val="2"/>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06F-426F-8C28-7B71FDF9E45A}"/>
                </c:ext>
              </c:extLst>
            </c:dLbl>
            <c:dLbl>
              <c:idx val="3"/>
              <c:tx>
                <c:rich>
                  <a:bodyPr/>
                  <a:lstStyle/>
                  <a:p>
                    <a:r>
                      <a:t>36.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06F-426F-8C28-7B71FDF9E45A}"/>
                </c:ext>
              </c:extLst>
            </c:dLbl>
            <c:dLbl>
              <c:idx val="4"/>
              <c:tx>
                <c:rich>
                  <a:bodyPr/>
                  <a:lstStyle/>
                  <a:p>
                    <a:r>
                      <a:t>4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06F-426F-8C28-7B71FDF9E45A}"/>
                </c:ext>
              </c:extLst>
            </c:dLbl>
            <c:dLbl>
              <c:idx val="5"/>
              <c:tx>
                <c:rich>
                  <a:bodyPr/>
                  <a:lstStyle/>
                  <a:p>
                    <a:r>
                      <a:t>44.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06F-426F-8C28-7B71FDF9E45A}"/>
                </c:ext>
              </c:extLst>
            </c:dLbl>
            <c:dLbl>
              <c:idx val="6"/>
              <c:tx>
                <c:rich>
                  <a:bodyPr/>
                  <a:lstStyle/>
                  <a:p>
                    <a:r>
                      <a:t>8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06F-426F-8C28-7B71FDF9E45A}"/>
                </c:ext>
              </c:extLst>
            </c:dLbl>
            <c:dLbl>
              <c:idx val="7"/>
              <c:tx>
                <c:rich>
                  <a:bodyPr/>
                  <a:lstStyle/>
                  <a:p>
                    <a:r>
                      <a:t>79.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06F-426F-8C28-7B71FDF9E45A}"/>
                </c:ext>
              </c:extLst>
            </c:dLbl>
            <c:dLbl>
              <c:idx val="8"/>
              <c:tx>
                <c:rich>
                  <a:bodyPr/>
                  <a:lstStyle/>
                  <a:p>
                    <a:r>
                      <a:t>57.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06F-426F-8C28-7B71FDF9E45A}"/>
                </c:ext>
              </c:extLst>
            </c:dLbl>
            <c:dLbl>
              <c:idx val="9"/>
              <c:tx>
                <c:rich>
                  <a:bodyPr/>
                  <a:lstStyle/>
                  <a:p>
                    <a:r>
                      <a:t>64.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06F-426F-8C28-7B71FDF9E45A}"/>
                </c:ext>
              </c:extLst>
            </c:dLbl>
            <c:dLbl>
              <c:idx val="10"/>
              <c:tx>
                <c:rich>
                  <a:bodyPr/>
                  <a:lstStyle/>
                  <a:p>
                    <a:r>
                      <a:t>9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06F-426F-8C28-7B71FDF9E45A}"/>
                </c:ext>
              </c:extLst>
            </c:dLbl>
            <c:dLbl>
              <c:idx val="11"/>
              <c:tx>
                <c:rich>
                  <a:bodyPr/>
                  <a:lstStyle/>
                  <a:p>
                    <a:r>
                      <a:t>58.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06F-426F-8C28-7B71FDF9E45A}"/>
                </c:ext>
              </c:extLst>
            </c:dLbl>
            <c:dLbl>
              <c:idx val="12"/>
              <c:tx>
                <c:rich>
                  <a:bodyPr/>
                  <a:lstStyle/>
                  <a:p>
                    <a:r>
                      <a:t>44.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06F-426F-8C28-7B71FDF9E45A}"/>
                </c:ext>
              </c:extLst>
            </c:dLbl>
            <c:dLbl>
              <c:idx val="13"/>
              <c:tx>
                <c:rich>
                  <a:bodyPr/>
                  <a:lstStyle/>
                  <a:p>
                    <a:r>
                      <a:t>9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06F-426F-8C28-7B71FDF9E45A}"/>
                </c:ext>
              </c:extLst>
            </c:dLbl>
            <c:dLbl>
              <c:idx val="14"/>
              <c:tx>
                <c:rich>
                  <a:bodyPr/>
                  <a:lstStyle/>
                  <a:p>
                    <a:r>
                      <a:t>5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06F-426F-8C28-7B71FDF9E45A}"/>
                </c:ext>
              </c:extLst>
            </c:dLbl>
            <c:dLbl>
              <c:idx val="15"/>
              <c:tx>
                <c:rich>
                  <a:bodyPr/>
                  <a:lstStyle/>
                  <a:p>
                    <a:r>
                      <a:t>50.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06F-426F-8C28-7B71FDF9E45A}"/>
                </c:ext>
              </c:extLst>
            </c:dLbl>
            <c:dLbl>
              <c:idx val="16"/>
              <c:tx>
                <c:rich>
                  <a:bodyPr/>
                  <a:lstStyle/>
                  <a:p>
                    <a:r>
                      <a:t>62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06F-426F-8C28-7B71FDF9E45A}"/>
                </c:ext>
              </c:extLst>
            </c:dLbl>
            <c:dLbl>
              <c:idx val="17"/>
              <c:tx>
                <c:rich>
                  <a:bodyPr/>
                  <a:lstStyle/>
                  <a:p>
                    <a:r>
                      <a:t>58.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06F-426F-8C28-7B71FDF9E45A}"/>
                </c:ext>
              </c:extLst>
            </c:dLbl>
            <c:dLbl>
              <c:idx val="18"/>
              <c:tx>
                <c:rich>
                  <a:bodyPr/>
                  <a:lstStyle/>
                  <a:p>
                    <a:r>
                      <a:t>62.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06F-426F-8C28-7B71FDF9E45A}"/>
                </c:ext>
              </c:extLst>
            </c:dLbl>
            <c:dLbl>
              <c:idx val="19"/>
              <c:tx>
                <c:rich>
                  <a:bodyPr/>
                  <a:lstStyle/>
                  <a:p>
                    <a:r>
                      <a:t>101.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06F-426F-8C28-7B71FDF9E45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RUINART BLANC DE BLANCS (NUE) 1CT X 750ML</c:v>
                </c:pt>
                <c:pt idx="11">
                  <c:v>RUINART BRUT (NUE) 1CT X 750ML</c:v>
                </c:pt>
                <c:pt idx="12">
                  <c:v>MOET &amp; CHANDON RES IMP EX BRUT 1CT X 750ML</c:v>
                </c:pt>
                <c:pt idx="13">
                  <c:v>RUINART BLANC DE BLANCS SECOND 1CT X 750ML</c:v>
                </c:pt>
                <c:pt idx="14">
                  <c:v>VEUVE CLICQUOT RESERV CUVEE NB 1CT X 750ML</c:v>
                </c:pt>
                <c:pt idx="15">
                  <c:v>DEUTZ CLASSIC BRUT 1CT X 750ML</c:v>
                </c:pt>
                <c:pt idx="16">
                  <c:v>ROEDERER CRISTAL ROSE 2014 1CT X 750ML</c:v>
                </c:pt>
                <c:pt idx="17">
                  <c:v>ROEDERER BRUT COLLECTION 245 1CT X 750ML</c:v>
                </c:pt>
                <c:pt idx="18">
                  <c:v>DEUTZ ROSE 1CT X 750ML</c:v>
                </c:pt>
                <c:pt idx="19">
                  <c:v>MG DEUTZ CLASSIC 1CT X 1500ML</c:v>
                </c:pt>
              </c:strCache>
            </c:strRef>
          </c:cat>
          <c:val>
            <c:numRef>
              <c:f>Sheet1!$B$2:$B$21</c:f>
              <c:numCache>
                <c:formatCode>General</c:formatCode>
                <c:ptCount val="20"/>
                <c:pt idx="0">
                  <c:v>21.93</c:v>
                </c:pt>
                <c:pt idx="1">
                  <c:v>39.08</c:v>
                </c:pt>
                <c:pt idx="2">
                  <c:v>25.02</c:v>
                </c:pt>
                <c:pt idx="3">
                  <c:v>36.89</c:v>
                </c:pt>
                <c:pt idx="4">
                  <c:v>46.93</c:v>
                </c:pt>
                <c:pt idx="5">
                  <c:v>44.64</c:v>
                </c:pt>
                <c:pt idx="6">
                  <c:v>85.28</c:v>
                </c:pt>
                <c:pt idx="7">
                  <c:v>79.84</c:v>
                </c:pt>
                <c:pt idx="8">
                  <c:v>57.69</c:v>
                </c:pt>
                <c:pt idx="9">
                  <c:v>64.09</c:v>
                </c:pt>
                <c:pt idx="10">
                  <c:v>92.88</c:v>
                </c:pt>
                <c:pt idx="11">
                  <c:v>58.24</c:v>
                </c:pt>
                <c:pt idx="12">
                  <c:v>44.93</c:v>
                </c:pt>
                <c:pt idx="13">
                  <c:v>97.84</c:v>
                </c:pt>
                <c:pt idx="14">
                  <c:v>51.44</c:v>
                </c:pt>
                <c:pt idx="15">
                  <c:v>50.01</c:v>
                </c:pt>
                <c:pt idx="16">
                  <c:v>620</c:v>
                </c:pt>
                <c:pt idx="17">
                  <c:v>58.87</c:v>
                </c:pt>
                <c:pt idx="18">
                  <c:v>62.17</c:v>
                </c:pt>
                <c:pt idx="19">
                  <c:v>101.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2C1-432E-8949-1E02B7F1FED8}"/>
                </c:ext>
              </c:extLst>
            </c:dLbl>
            <c:dLbl>
              <c:idx val="1"/>
              <c:tx>
                <c:rich>
                  <a:bodyPr/>
                  <a:lstStyle/>
                  <a:p>
                    <a:r>
                      <a:t>39.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2C1-432E-8949-1E02B7F1FED8}"/>
                </c:ext>
              </c:extLst>
            </c:dLbl>
            <c:dLbl>
              <c:idx val="2"/>
              <c:tx>
                <c:rich>
                  <a:bodyPr/>
                  <a:lstStyle/>
                  <a:p>
                    <a:r>
                      <a:t>2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2C1-432E-8949-1E02B7F1FED8}"/>
                </c:ext>
              </c:extLst>
            </c:dLbl>
            <c:dLbl>
              <c:idx val="3"/>
              <c:tx>
                <c:rich>
                  <a:bodyPr/>
                  <a:lstStyle/>
                  <a:p>
                    <a:r>
                      <a:t>36.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2C1-432E-8949-1E02B7F1FED8}"/>
                </c:ext>
              </c:extLst>
            </c:dLbl>
            <c:dLbl>
              <c:idx val="4"/>
              <c:tx>
                <c:rich>
                  <a:bodyPr/>
                  <a:lstStyle/>
                  <a:p>
                    <a:r>
                      <a:t>4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2C1-432E-8949-1E02B7F1FED8}"/>
                </c:ext>
              </c:extLst>
            </c:dLbl>
            <c:dLbl>
              <c:idx val="5"/>
              <c:tx>
                <c:rich>
                  <a:bodyPr/>
                  <a:lstStyle/>
                  <a:p>
                    <a:r>
                      <a:t>100.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2C1-432E-8949-1E02B7F1FED8}"/>
                </c:ext>
              </c:extLst>
            </c:dLbl>
            <c:dLbl>
              <c:idx val="6"/>
              <c:tx>
                <c:rich>
                  <a:bodyPr/>
                  <a:lstStyle/>
                  <a:p>
                    <a:r>
                      <a:t>57.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2C1-432E-8949-1E02B7F1FED8}"/>
                </c:ext>
              </c:extLst>
            </c:dLbl>
            <c:dLbl>
              <c:idx val="7"/>
              <c:tx>
                <c:rich>
                  <a:bodyPr/>
                  <a:lstStyle/>
                  <a:p>
                    <a:r>
                      <a:t>96.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2C1-432E-8949-1E02B7F1FED8}"/>
                </c:ext>
              </c:extLst>
            </c:dLbl>
            <c:dLbl>
              <c:idx val="8"/>
              <c:tx>
                <c:rich>
                  <a:bodyPr/>
                  <a:lstStyle/>
                  <a:p>
                    <a:r>
                      <a:t>61.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2C1-432E-8949-1E02B7F1FED8}"/>
                </c:ext>
              </c:extLst>
            </c:dLbl>
            <c:dLbl>
              <c:idx val="9"/>
              <c:tx>
                <c:rich>
                  <a:bodyPr/>
                  <a:lstStyle/>
                  <a:p>
                    <a:r>
                      <a:t>25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2C1-432E-8949-1E02B7F1FED8}"/>
                </c:ext>
              </c:extLst>
            </c:dLbl>
            <c:dLbl>
              <c:idx val="10"/>
              <c:tx>
                <c:rich>
                  <a:bodyPr/>
                  <a:lstStyle/>
                  <a:p>
                    <a:r>
                      <a:t>50.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2C1-432E-8949-1E02B7F1FED8}"/>
                </c:ext>
              </c:extLst>
            </c:dLbl>
            <c:dLbl>
              <c:idx val="11"/>
              <c:tx>
                <c:rich>
                  <a:bodyPr/>
                  <a:lstStyle/>
                  <a:p>
                    <a:r>
                      <a:t>59.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2C1-432E-8949-1E02B7F1FED8}"/>
                </c:ext>
              </c:extLst>
            </c:dLbl>
            <c:dLbl>
              <c:idx val="12"/>
              <c:tx>
                <c:rich>
                  <a:bodyPr/>
                  <a:lstStyle/>
                  <a:p>
                    <a:r>
                      <a:t>101.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2C1-432E-8949-1E02B7F1FED8}"/>
                </c:ext>
              </c:extLst>
            </c:dLbl>
            <c:dLbl>
              <c:idx val="13"/>
              <c:tx>
                <c:rich>
                  <a:bodyPr/>
                  <a:lstStyle/>
                  <a:p>
                    <a:r>
                      <a:t>62.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2C1-432E-8949-1E02B7F1FED8}"/>
                </c:ext>
              </c:extLst>
            </c:dLbl>
            <c:dLbl>
              <c:idx val="14"/>
              <c:tx>
                <c:rich>
                  <a:bodyPr/>
                  <a:lstStyle/>
                  <a:p>
                    <a:r>
                      <a:t>123.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2C1-432E-8949-1E02B7F1FED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LANC DE BLANCS (NUE) 1CT X 750ML</c:v>
                </c:pt>
                <c:pt idx="6">
                  <c:v>RUINART BRUT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9.590000000000003</c:v>
                </c:pt>
                <c:pt idx="2">
                  <c:v>25.1</c:v>
                </c:pt>
                <c:pt idx="3">
                  <c:v>36.22</c:v>
                </c:pt>
                <c:pt idx="4">
                  <c:v>41.44</c:v>
                </c:pt>
                <c:pt idx="5">
                  <c:v>100.91</c:v>
                </c:pt>
                <c:pt idx="6">
                  <c:v>57.67</c:v>
                </c:pt>
                <c:pt idx="7">
                  <c:v>96.87</c:v>
                </c:pt>
                <c:pt idx="8">
                  <c:v>61.84</c:v>
                </c:pt>
                <c:pt idx="9">
                  <c:v>259.39999999999998</c:v>
                </c:pt>
                <c:pt idx="10">
                  <c:v>50.02</c:v>
                </c:pt>
                <c:pt idx="11">
                  <c:v>59.31</c:v>
                </c:pt>
                <c:pt idx="12">
                  <c:v>101.27</c:v>
                </c:pt>
                <c:pt idx="13">
                  <c:v>62.47</c:v>
                </c:pt>
                <c:pt idx="14">
                  <c:v>123.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116-4D23-8FD4-CCF36D2BB53F}"/>
                </c:ext>
              </c:extLst>
            </c:dLbl>
            <c:dLbl>
              <c:idx val="1"/>
              <c:tx>
                <c:rich>
                  <a:bodyPr/>
                  <a:lstStyle/>
                  <a:p>
                    <a:r>
                      <a:t>3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116-4D23-8FD4-CCF36D2BB53F}"/>
                </c:ext>
              </c:extLst>
            </c:dLbl>
            <c:dLbl>
              <c:idx val="2"/>
              <c:tx>
                <c:rich>
                  <a:bodyPr/>
                  <a:lstStyle/>
                  <a:p>
                    <a:r>
                      <a:t>2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116-4D23-8FD4-CCF36D2BB53F}"/>
                </c:ext>
              </c:extLst>
            </c:dLbl>
            <c:dLbl>
              <c:idx val="3"/>
              <c:tx>
                <c:rich>
                  <a:bodyPr/>
                  <a:lstStyle/>
                  <a:p>
                    <a:r>
                      <a:t>36.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116-4D23-8FD4-CCF36D2BB53F}"/>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116-4D23-8FD4-CCF36D2BB53F}"/>
                </c:ext>
              </c:extLst>
            </c:dLbl>
            <c:dLbl>
              <c:idx val="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116-4D23-8FD4-CCF36D2BB53F}"/>
                </c:ext>
              </c:extLst>
            </c:dLbl>
            <c:dLbl>
              <c:idx val="6"/>
              <c:tx>
                <c:rich>
                  <a:bodyPr/>
                  <a:lstStyle/>
                  <a:p>
                    <a:r>
                      <a:t>9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116-4D23-8FD4-CCF36D2BB53F}"/>
                </c:ext>
              </c:extLst>
            </c:dLbl>
            <c:dLbl>
              <c:idx val="7"/>
              <c:tx>
                <c:rich>
                  <a:bodyPr/>
                  <a:lstStyle/>
                  <a:p>
                    <a:r>
                      <a:t>51.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116-4D23-8FD4-CCF36D2BB53F}"/>
                </c:ext>
              </c:extLst>
            </c:dLbl>
            <c:dLbl>
              <c:idx val="8"/>
              <c:tx>
                <c:rich>
                  <a:bodyPr/>
                  <a:lstStyle/>
                  <a:p>
                    <a:r>
                      <a:t>97.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116-4D23-8FD4-CCF36D2BB53F}"/>
                </c:ext>
              </c:extLst>
            </c:dLbl>
            <c:dLbl>
              <c:idx val="9"/>
              <c:tx>
                <c:rich>
                  <a:bodyPr/>
                  <a:lstStyle/>
                  <a:p>
                    <a:r>
                      <a:t>44.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116-4D23-8FD4-CCF36D2BB53F}"/>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116-4D23-8FD4-CCF36D2BB53F}"/>
                </c:ext>
              </c:extLst>
            </c:dLbl>
            <c:dLbl>
              <c:idx val="11"/>
              <c:tx>
                <c:rich>
                  <a:bodyPr/>
                  <a:lstStyle/>
                  <a:p>
                    <a:r>
                      <a:t>58.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116-4D23-8FD4-CCF36D2BB53F}"/>
                </c:ext>
              </c:extLst>
            </c:dLbl>
            <c:dLbl>
              <c:idx val="12"/>
              <c:tx>
                <c:rich>
                  <a:bodyPr/>
                  <a:lstStyle/>
                  <a:p>
                    <a:r>
                      <a:t>62.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116-4D23-8FD4-CCF36D2BB53F}"/>
                </c:ext>
              </c:extLst>
            </c:dLbl>
            <c:dLbl>
              <c:idx val="13"/>
              <c:tx>
                <c:rich>
                  <a:bodyPr/>
                  <a:lstStyle/>
                  <a:p>
                    <a:r>
                      <a:t>100.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116-4D23-8FD4-CCF36D2BB53F}"/>
                </c:ext>
              </c:extLst>
            </c:dLbl>
            <c:dLbl>
              <c:idx val="14"/>
              <c:tx>
                <c:rich>
                  <a:bodyPr/>
                  <a:lstStyle/>
                  <a:p>
                    <a:r>
                      <a:t>28.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116-4D23-8FD4-CCF36D2BB53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92</c:v>
                </c:pt>
                <c:pt idx="1">
                  <c:v>39</c:v>
                </c:pt>
                <c:pt idx="2">
                  <c:v>25</c:v>
                </c:pt>
                <c:pt idx="3">
                  <c:v>36.99</c:v>
                </c:pt>
                <c:pt idx="4">
                  <c:v>41.37</c:v>
                </c:pt>
                <c:pt idx="5">
                  <c:v>57.87</c:v>
                </c:pt>
                <c:pt idx="6">
                  <c:v>92.9</c:v>
                </c:pt>
                <c:pt idx="7">
                  <c:v>51.62</c:v>
                </c:pt>
                <c:pt idx="8">
                  <c:v>97.18</c:v>
                </c:pt>
                <c:pt idx="9">
                  <c:v>44.76</c:v>
                </c:pt>
                <c:pt idx="10">
                  <c:v>49.96</c:v>
                </c:pt>
                <c:pt idx="11">
                  <c:v>58.97</c:v>
                </c:pt>
                <c:pt idx="12">
                  <c:v>62.66</c:v>
                </c:pt>
                <c:pt idx="13">
                  <c:v>100.08</c:v>
                </c:pt>
                <c:pt idx="14">
                  <c:v>28.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EFA-445F-97AA-404F2E8DF92C}"/>
                </c:ext>
              </c:extLst>
            </c:dLbl>
            <c:dLbl>
              <c:idx val="1"/>
              <c:tx>
                <c:rich>
                  <a:bodyPr/>
                  <a:lstStyle/>
                  <a:p>
                    <a:r>
                      <a:t>3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EFA-445F-97AA-404F2E8DF92C}"/>
                </c:ext>
              </c:extLst>
            </c:dLbl>
            <c:dLbl>
              <c:idx val="2"/>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EFA-445F-97AA-404F2E8DF92C}"/>
                </c:ext>
              </c:extLst>
            </c:dLbl>
            <c:dLbl>
              <c:idx val="3"/>
              <c:tx>
                <c:rich>
                  <a:bodyPr/>
                  <a:lstStyle/>
                  <a:p>
                    <a:r>
                      <a:t>25.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EFA-445F-97AA-404F2E8DF92C}"/>
                </c:ext>
              </c:extLst>
            </c:dLbl>
            <c:dLbl>
              <c:idx val="4"/>
              <c:tx>
                <c:rich>
                  <a:bodyPr/>
                  <a:lstStyle/>
                  <a:p>
                    <a:r>
                      <a:t>4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EFA-445F-97AA-404F2E8DF92C}"/>
                </c:ext>
              </c:extLst>
            </c:dLbl>
            <c:dLbl>
              <c:idx val="5"/>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EFA-445F-97AA-404F2E8DF92C}"/>
                </c:ext>
              </c:extLst>
            </c:dLbl>
            <c:dLbl>
              <c:idx val="6"/>
              <c:tx>
                <c:rich>
                  <a:bodyPr/>
                  <a:lstStyle/>
                  <a:p>
                    <a:r>
                      <a:t>57.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EFA-445F-97AA-404F2E8DF92C}"/>
                </c:ext>
              </c:extLst>
            </c:dLbl>
            <c:dLbl>
              <c:idx val="7"/>
              <c:tx>
                <c:rich>
                  <a:bodyPr/>
                  <a:lstStyle/>
                  <a:p>
                    <a:r>
                      <a:t>96.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EFA-445F-97AA-404F2E8DF92C}"/>
                </c:ext>
              </c:extLst>
            </c:dLbl>
            <c:dLbl>
              <c:idx val="8"/>
              <c:tx>
                <c:rich>
                  <a:bodyPr/>
                  <a:lstStyle/>
                  <a:p>
                    <a:r>
                      <a:t>251.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EFA-445F-97AA-404F2E8DF92C}"/>
                </c:ext>
              </c:extLst>
            </c:dLbl>
            <c:dLbl>
              <c:idx val="9"/>
              <c:tx>
                <c:rich>
                  <a:bodyPr/>
                  <a:lstStyle/>
                  <a:p>
                    <a:r>
                      <a:t>6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EFA-445F-97AA-404F2E8DF92C}"/>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EFA-445F-97AA-404F2E8DF92C}"/>
                </c:ext>
              </c:extLst>
            </c:dLbl>
            <c:dLbl>
              <c:idx val="11"/>
              <c:tx>
                <c:rich>
                  <a:bodyPr/>
                  <a:lstStyle/>
                  <a:p>
                    <a:r>
                      <a:t>5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EFA-445F-97AA-404F2E8DF92C}"/>
                </c:ext>
              </c:extLst>
            </c:dLbl>
            <c:dLbl>
              <c:idx val="12"/>
              <c:tx>
                <c:rich>
                  <a:bodyPr/>
                  <a:lstStyle/>
                  <a:p>
                    <a:r>
                      <a:t>10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EFA-445F-97AA-404F2E8DF92C}"/>
                </c:ext>
              </c:extLst>
            </c:dLbl>
            <c:dLbl>
              <c:idx val="13"/>
              <c:tx>
                <c:rich>
                  <a:bodyPr/>
                  <a:lstStyle/>
                  <a:p>
                    <a:r>
                      <a:t>6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EFA-445F-97AA-404F2E8DF92C}"/>
                </c:ext>
              </c:extLst>
            </c:dLbl>
            <c:dLbl>
              <c:idx val="14"/>
              <c:tx>
                <c:rich>
                  <a:bodyPr/>
                  <a:lstStyle/>
                  <a:p>
                    <a:r>
                      <a:t>35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EFA-445F-97AA-404F2E8DF92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LANC DE BLANCS (NUE) 1CT X 750ML</c:v>
                </c:pt>
                <c:pt idx="6">
                  <c:v>RUINART BRUT (NUE) 1CT X 750ML</c:v>
                </c:pt>
                <c:pt idx="7">
                  <c:v>RUINART BLANC DE BLANCS SECOND 1CT X 750ML</c:v>
                </c:pt>
                <c:pt idx="8">
                  <c:v>DOM PERIGNON 2015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2</c:v>
                </c:pt>
                <c:pt idx="1">
                  <c:v>39.200000000000003</c:v>
                </c:pt>
                <c:pt idx="2">
                  <c:v>37.29</c:v>
                </c:pt>
                <c:pt idx="3">
                  <c:v>25.16</c:v>
                </c:pt>
                <c:pt idx="4">
                  <c:v>40.729999999999997</c:v>
                </c:pt>
                <c:pt idx="5">
                  <c:v>95.19</c:v>
                </c:pt>
                <c:pt idx="6">
                  <c:v>57.77</c:v>
                </c:pt>
                <c:pt idx="7">
                  <c:v>96.67</c:v>
                </c:pt>
                <c:pt idx="8">
                  <c:v>251.98</c:v>
                </c:pt>
                <c:pt idx="9">
                  <c:v>62.43</c:v>
                </c:pt>
                <c:pt idx="10">
                  <c:v>49.96</c:v>
                </c:pt>
                <c:pt idx="11">
                  <c:v>59.03</c:v>
                </c:pt>
                <c:pt idx="12">
                  <c:v>100.73</c:v>
                </c:pt>
                <c:pt idx="13">
                  <c:v>61.37</c:v>
                </c:pt>
                <c:pt idx="14">
                  <c:v>35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A8B-4676-8C0B-B2B6F8FEB74C}"/>
                </c:ext>
              </c:extLst>
            </c:dLbl>
            <c:dLbl>
              <c:idx val="1"/>
              <c:tx>
                <c:rich>
                  <a:bodyPr/>
                  <a:lstStyle/>
                  <a:p>
                    <a:r>
                      <a:t>37.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A8B-4676-8C0B-B2B6F8FEB74C}"/>
                </c:ext>
              </c:extLst>
            </c:dLbl>
            <c:dLbl>
              <c:idx val="2"/>
              <c:tx>
                <c:rich>
                  <a:bodyPr/>
                  <a:lstStyle/>
                  <a:p>
                    <a:r>
                      <a:t>39.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A8B-4676-8C0B-B2B6F8FEB74C}"/>
                </c:ext>
              </c:extLst>
            </c:dLbl>
            <c:dLbl>
              <c:idx val="3"/>
              <c:tx>
                <c:rich>
                  <a:bodyPr/>
                  <a:lstStyle/>
                  <a:p>
                    <a:r>
                      <a:t>2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A8B-4676-8C0B-B2B6F8FEB74C}"/>
                </c:ext>
              </c:extLst>
            </c:dLbl>
            <c:dLbl>
              <c:idx val="4"/>
              <c:tx>
                <c:rich>
                  <a:bodyPr/>
                  <a:lstStyle/>
                  <a:p>
                    <a:r>
                      <a:t>42.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A8B-4676-8C0B-B2B6F8FEB74C}"/>
                </c:ext>
              </c:extLst>
            </c:dLbl>
            <c:dLbl>
              <c:idx val="5"/>
              <c:tx>
                <c:rich>
                  <a:bodyPr/>
                  <a:lstStyle/>
                  <a:p>
                    <a:r>
                      <a:t>58.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A8B-4676-8C0B-B2B6F8FEB74C}"/>
                </c:ext>
              </c:extLst>
            </c:dLbl>
            <c:dLbl>
              <c:idx val="6"/>
              <c:tx>
                <c:rich>
                  <a:bodyPr/>
                  <a:lstStyle/>
                  <a:p>
                    <a:r>
                      <a:t>9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A8B-4676-8C0B-B2B6F8FEB74C}"/>
                </c:ext>
              </c:extLst>
            </c:dLbl>
            <c:dLbl>
              <c:idx val="7"/>
              <c:tx>
                <c:rich>
                  <a:bodyPr/>
                  <a:lstStyle/>
                  <a:p>
                    <a:r>
                      <a:t>95.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A8B-4676-8C0B-B2B6F8FEB74C}"/>
                </c:ext>
              </c:extLst>
            </c:dLbl>
            <c:dLbl>
              <c:idx val="8"/>
              <c:tx>
                <c:rich>
                  <a:bodyPr/>
                  <a:lstStyle/>
                  <a:p>
                    <a:r>
                      <a:t>6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A8B-4676-8C0B-B2B6F8FEB74C}"/>
                </c:ext>
              </c:extLst>
            </c:dLbl>
            <c:dLbl>
              <c:idx val="9"/>
              <c:tx>
                <c:rich>
                  <a:bodyPr/>
                  <a:lstStyle/>
                  <a:p>
                    <a:r>
                      <a:t>266.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A8B-4676-8C0B-B2B6F8FEB74C}"/>
                </c:ext>
              </c:extLst>
            </c:dLbl>
            <c:dLbl>
              <c:idx val="10"/>
              <c:tx>
                <c:rich>
                  <a:bodyPr/>
                  <a:lstStyle/>
                  <a:p>
                    <a:r>
                      <a:t>4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A8B-4676-8C0B-B2B6F8FEB74C}"/>
                </c:ext>
              </c:extLst>
            </c:dLbl>
            <c:dLbl>
              <c:idx val="11"/>
              <c:tx>
                <c:rich>
                  <a:bodyPr/>
                  <a:lstStyle/>
                  <a:p>
                    <a:r>
                      <a:t>58.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A8B-4676-8C0B-B2B6F8FEB74C}"/>
                </c:ext>
              </c:extLst>
            </c:dLbl>
            <c:dLbl>
              <c:idx val="12"/>
              <c:tx>
                <c:rich>
                  <a:bodyPr/>
                  <a:lstStyle/>
                  <a:p>
                    <a:r>
                      <a:t>10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A8B-4676-8C0B-B2B6F8FEB74C}"/>
                </c:ext>
              </c:extLst>
            </c:dLbl>
            <c:dLbl>
              <c:idx val="13"/>
              <c:tx>
                <c:rich>
                  <a:bodyPr/>
                  <a:lstStyle/>
                  <a:p>
                    <a:r>
                      <a:t>64.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A8B-4676-8C0B-B2B6F8FEB74C}"/>
                </c:ext>
              </c:extLst>
            </c:dLbl>
            <c:dLbl>
              <c:idx val="14"/>
              <c:tx>
                <c:rich>
                  <a:bodyPr/>
                  <a:lstStyle/>
                  <a:p>
                    <a:r>
                      <a:t>116.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A8B-4676-8C0B-B2B6F8FEB74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7.090000000000003</c:v>
                </c:pt>
                <c:pt idx="2">
                  <c:v>39.229999999999997</c:v>
                </c:pt>
                <c:pt idx="3">
                  <c:v>25.28</c:v>
                </c:pt>
                <c:pt idx="4">
                  <c:v>42.73</c:v>
                </c:pt>
                <c:pt idx="5">
                  <c:v>58.22</c:v>
                </c:pt>
                <c:pt idx="6">
                  <c:v>93.33</c:v>
                </c:pt>
                <c:pt idx="7">
                  <c:v>95.56</c:v>
                </c:pt>
                <c:pt idx="8">
                  <c:v>61.44</c:v>
                </c:pt>
                <c:pt idx="9">
                  <c:v>266.04000000000002</c:v>
                </c:pt>
                <c:pt idx="10">
                  <c:v>49.79</c:v>
                </c:pt>
                <c:pt idx="11">
                  <c:v>58.62</c:v>
                </c:pt>
                <c:pt idx="12">
                  <c:v>101.52</c:v>
                </c:pt>
                <c:pt idx="13">
                  <c:v>64.53</c:v>
                </c:pt>
                <c:pt idx="14">
                  <c:v>116.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E9-4AC1-A118-B32DB8323EB9}"/>
                </c:ext>
              </c:extLst>
            </c:dLbl>
            <c:dLbl>
              <c:idx val="1"/>
              <c:tx>
                <c:rich>
                  <a:bodyPr/>
                  <a:lstStyle/>
                  <a:p>
                    <a:r>
                      <a:t>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E9-4AC1-A118-B32DB8323EB9}"/>
                </c:ext>
              </c:extLst>
            </c:dLbl>
            <c:dLbl>
              <c:idx val="2"/>
              <c:tx>
                <c:rich>
                  <a:bodyPr/>
                  <a:lstStyle/>
                  <a:p>
                    <a:r>
                      <a:t>38.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7E9-4AC1-A118-B32DB8323EB9}"/>
                </c:ext>
              </c:extLst>
            </c:dLbl>
            <c:dLbl>
              <c:idx val="3"/>
              <c:tx>
                <c:rich>
                  <a:bodyPr/>
                  <a:lstStyle/>
                  <a:p>
                    <a:r>
                      <a:t>36.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7E9-4AC1-A118-B32DB8323EB9}"/>
                </c:ext>
              </c:extLst>
            </c:dLbl>
            <c:dLbl>
              <c:idx val="4"/>
              <c:tx>
                <c:rich>
                  <a:bodyPr/>
                  <a:lstStyle/>
                  <a:p>
                    <a:r>
                      <a:t>3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7E9-4AC1-A118-B32DB8323EB9}"/>
                </c:ext>
              </c:extLst>
            </c:dLbl>
            <c:dLbl>
              <c:idx val="5"/>
              <c:tx>
                <c:rich>
                  <a:bodyPr/>
                  <a:lstStyle/>
                  <a:p>
                    <a:r>
                      <a:t>57.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7E9-4AC1-A118-B32DB8323EB9}"/>
                </c:ext>
              </c:extLst>
            </c:dLbl>
            <c:dLbl>
              <c:idx val="6"/>
              <c:tx>
                <c:rich>
                  <a:bodyPr/>
                  <a:lstStyle/>
                  <a:p>
                    <a:r>
                      <a:t>94.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7E9-4AC1-A118-B32DB8323EB9}"/>
                </c:ext>
              </c:extLst>
            </c:dLbl>
            <c:dLbl>
              <c:idx val="7"/>
              <c:tx>
                <c:rich>
                  <a:bodyPr/>
                  <a:lstStyle/>
                  <a:p>
                    <a:r>
                      <a:t>26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7E9-4AC1-A118-B32DB8323EB9}"/>
                </c:ext>
              </c:extLst>
            </c:dLbl>
            <c:dLbl>
              <c:idx val="8"/>
              <c:tx>
                <c:rich>
                  <a:bodyPr/>
                  <a:lstStyle/>
                  <a:p>
                    <a:r>
                      <a:t>13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7E9-4AC1-A118-B32DB8323EB9}"/>
                </c:ext>
              </c:extLst>
            </c:dLbl>
            <c:dLbl>
              <c:idx val="9"/>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7E9-4AC1-A118-B32DB8323EB9}"/>
                </c:ext>
              </c:extLst>
            </c:dLbl>
            <c:dLbl>
              <c:idx val="10"/>
              <c:tx>
                <c:rich>
                  <a:bodyPr/>
                  <a:lstStyle/>
                  <a:p>
                    <a:r>
                      <a:t>50.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7E9-4AC1-A118-B32DB8323EB9}"/>
                </c:ext>
              </c:extLst>
            </c:dLbl>
            <c:dLbl>
              <c:idx val="11"/>
              <c:tx>
                <c:rich>
                  <a:bodyPr/>
                  <a:lstStyle/>
                  <a:p>
                    <a:r>
                      <a:t>102.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7E9-4AC1-A118-B32DB8323EB9}"/>
                </c:ext>
              </c:extLst>
            </c:dLbl>
            <c:dLbl>
              <c:idx val="12"/>
              <c:tx>
                <c:rich>
                  <a:bodyPr/>
                  <a:lstStyle/>
                  <a:p>
                    <a:r>
                      <a:t>58.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7E9-4AC1-A118-B32DB8323EB9}"/>
                </c:ext>
              </c:extLst>
            </c:dLbl>
            <c:dLbl>
              <c:idx val="13"/>
              <c:tx>
                <c:rich>
                  <a:bodyPr/>
                  <a:lstStyle/>
                  <a:p>
                    <a:r>
                      <a:t>6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7E9-4AC1-A118-B32DB8323EB9}"/>
                </c:ext>
              </c:extLst>
            </c:dLbl>
            <c:dLbl>
              <c:idx val="14"/>
              <c:tx>
                <c:rich>
                  <a:bodyPr/>
                  <a:lstStyle/>
                  <a:p>
                    <a:r>
                      <a:t>27.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7E9-4AC1-A118-B32DB8323EB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RUINART BRUT (NUE) 1CT X 750ML</c:v>
                </c:pt>
                <c:pt idx="6">
                  <c:v>RUINART BLANC DE BLANCS (NUE) 1CT X 750ML</c:v>
                </c:pt>
                <c:pt idx="7">
                  <c:v>DOM PERIGNON 2015 1CT X 750ML</c:v>
                </c:pt>
                <c:pt idx="8">
                  <c:v>MG RUINART BRUT SECOND SKIN 1CT X 1500ML</c:v>
                </c:pt>
                <c:pt idx="9">
                  <c:v>RUINART BLANC DE BLANCS SECOND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1</c:v>
                </c:pt>
                <c:pt idx="1">
                  <c:v>25.19</c:v>
                </c:pt>
                <c:pt idx="2">
                  <c:v>38.74</c:v>
                </c:pt>
                <c:pt idx="3">
                  <c:v>36.64</c:v>
                </c:pt>
                <c:pt idx="4">
                  <c:v>36</c:v>
                </c:pt>
                <c:pt idx="5">
                  <c:v>57.91</c:v>
                </c:pt>
                <c:pt idx="6">
                  <c:v>94.19</c:v>
                </c:pt>
                <c:pt idx="7">
                  <c:v>268</c:v>
                </c:pt>
                <c:pt idx="8">
                  <c:v>133.91</c:v>
                </c:pt>
                <c:pt idx="9">
                  <c:v>99.39</c:v>
                </c:pt>
                <c:pt idx="10">
                  <c:v>50.19</c:v>
                </c:pt>
                <c:pt idx="11">
                  <c:v>102.32</c:v>
                </c:pt>
                <c:pt idx="12">
                  <c:v>58.14</c:v>
                </c:pt>
                <c:pt idx="13">
                  <c:v>61.97</c:v>
                </c:pt>
                <c:pt idx="14">
                  <c:v>27.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BD-4D64-B9C2-1BF192F26FCF}"/>
                </c:ext>
              </c:extLst>
            </c:dLbl>
            <c:dLbl>
              <c:idx val="1"/>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CBD-4D64-B9C2-1BF192F26FCF}"/>
                </c:ext>
              </c:extLst>
            </c:dLbl>
            <c:dLbl>
              <c:idx val="2"/>
              <c:tx>
                <c:rich>
                  <a:bodyPr/>
                  <a:lstStyle/>
                  <a:p>
                    <a:r>
                      <a:t>38.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CBD-4D64-B9C2-1BF192F26FCF}"/>
                </c:ext>
              </c:extLst>
            </c:dLbl>
            <c:dLbl>
              <c:idx val="3"/>
              <c:tx>
                <c:rich>
                  <a:bodyPr/>
                  <a:lstStyle/>
                  <a:p>
                    <a:r>
                      <a:t>5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CBD-4D64-B9C2-1BF192F26FCF}"/>
                </c:ext>
              </c:extLst>
            </c:dLbl>
            <c:dLbl>
              <c:idx val="4"/>
              <c:tx>
                <c:rich>
                  <a:bodyPr/>
                  <a:lstStyle/>
                  <a:p>
                    <a:r>
                      <a:t>9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CBD-4D64-B9C2-1BF192F26FCF}"/>
                </c:ext>
              </c:extLst>
            </c:dLbl>
            <c:dLbl>
              <c:idx val="5"/>
              <c:tx>
                <c:rich>
                  <a:bodyPr/>
                  <a:lstStyle/>
                  <a:p>
                    <a:r>
                      <a:t>52.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CBD-4D64-B9C2-1BF192F26FCF}"/>
                </c:ext>
              </c:extLst>
            </c:dLbl>
            <c:dLbl>
              <c:idx val="6"/>
              <c:tx>
                <c:rich>
                  <a:bodyPr/>
                  <a:lstStyle/>
                  <a:p>
                    <a:r>
                      <a:t>14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CBD-4D64-B9C2-1BF192F26FCF}"/>
                </c:ext>
              </c:extLst>
            </c:dLbl>
            <c:dLbl>
              <c:idx val="7"/>
              <c:tx>
                <c:rich>
                  <a:bodyPr/>
                  <a:lstStyle/>
                  <a:p>
                    <a:r>
                      <a:t>6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CBD-4D64-B9C2-1BF192F26FCF}"/>
                </c:ext>
              </c:extLst>
            </c:dLbl>
            <c:dLbl>
              <c:idx val="8"/>
              <c:tx>
                <c:rich>
                  <a:bodyPr/>
                  <a:lstStyle/>
                  <a:p>
                    <a:r>
                      <a:t>49.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CBD-4D64-B9C2-1BF192F26FCF}"/>
                </c:ext>
              </c:extLst>
            </c:dLbl>
            <c:dLbl>
              <c:idx val="9"/>
              <c:tx>
                <c:rich>
                  <a:bodyPr/>
                  <a:lstStyle/>
                  <a:p>
                    <a:r>
                      <a:t>97.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CBD-4D64-B9C2-1BF192F26FCF}"/>
                </c:ext>
              </c:extLst>
            </c:dLbl>
            <c:dLbl>
              <c:idx val="10"/>
              <c:tx>
                <c:rich>
                  <a:bodyPr/>
                  <a:lstStyle/>
                  <a:p>
                    <a:r>
                      <a:t>60.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CBD-4D64-B9C2-1BF192F26FCF}"/>
                </c:ext>
              </c:extLst>
            </c:dLbl>
            <c:dLbl>
              <c:idx val="11"/>
              <c:tx>
                <c:rich>
                  <a:bodyPr/>
                  <a:lstStyle/>
                  <a:p>
                    <a:r>
                      <a:t>5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CBD-4D64-B9C2-1BF192F26FCF}"/>
                </c:ext>
              </c:extLst>
            </c:dLbl>
            <c:dLbl>
              <c:idx val="12"/>
              <c:tx>
                <c:rich>
                  <a:bodyPr/>
                  <a:lstStyle/>
                  <a:p>
                    <a:r>
                      <a:t>20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CBD-4D64-B9C2-1BF192F26FC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RUINART BRUT (NUE) 1CT X 750ML</c:v>
                </c:pt>
                <c:pt idx="4">
                  <c:v>RUINART BLANC DE BLANCS (NUE) 1CT X 750ML</c:v>
                </c:pt>
                <c:pt idx="5">
                  <c:v>VEUVE CLICQUOT RESERV CUVEE NB 1CT X 750ML</c:v>
                </c:pt>
                <c:pt idx="6">
                  <c:v>MG RUINART BRUT SECOND SKIN 1CT X 1500ML</c:v>
                </c:pt>
                <c:pt idx="7">
                  <c:v>RUINART BRUT SECOND SKIN 1CT X 750ML</c:v>
                </c:pt>
                <c:pt idx="8">
                  <c:v>DEUTZ CLASSIC BRUT 1CT X 750ML</c:v>
                </c:pt>
                <c:pt idx="9">
                  <c:v>MG DEUTZ CLASSIC 1CT X 1500ML</c:v>
                </c:pt>
                <c:pt idx="10">
                  <c:v>DEUTZ ROSE 1CT X 750ML</c:v>
                </c:pt>
                <c:pt idx="11">
                  <c:v>ROEDERER BRUT COLLECTION 245 1CT X 750ML</c:v>
                </c:pt>
                <c:pt idx="12">
                  <c:v>DEUTZ "AMOUR DE DEUTZ" 2013 1CT X 750ML</c:v>
                </c:pt>
              </c:strCache>
            </c:strRef>
          </c:cat>
          <c:val>
            <c:numRef>
              <c:f>Sheet1!$B$2:$B$14</c:f>
              <c:numCache>
                <c:formatCode>General</c:formatCode>
                <c:ptCount val="13"/>
                <c:pt idx="0">
                  <c:v>21.4</c:v>
                </c:pt>
                <c:pt idx="1">
                  <c:v>24.99</c:v>
                </c:pt>
                <c:pt idx="2">
                  <c:v>38.72</c:v>
                </c:pt>
                <c:pt idx="3">
                  <c:v>57.71</c:v>
                </c:pt>
                <c:pt idx="4">
                  <c:v>95.01</c:v>
                </c:pt>
                <c:pt idx="5">
                  <c:v>52.21</c:v>
                </c:pt>
                <c:pt idx="6">
                  <c:v>141.91</c:v>
                </c:pt>
                <c:pt idx="7">
                  <c:v>61.02</c:v>
                </c:pt>
                <c:pt idx="8">
                  <c:v>49.81</c:v>
                </c:pt>
                <c:pt idx="9">
                  <c:v>97.59</c:v>
                </c:pt>
                <c:pt idx="10">
                  <c:v>60.64</c:v>
                </c:pt>
                <c:pt idx="11">
                  <c:v>59.98</c:v>
                </c:pt>
                <c:pt idx="12">
                  <c:v>20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24A-470B-8B30-7D60F18E7E94}"/>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24A-470B-8B30-7D60F18E7E94}"/>
                </c:ext>
              </c:extLst>
            </c:dLbl>
            <c:dLbl>
              <c:idx val="2"/>
              <c:tx>
                <c:rich>
                  <a:bodyPr/>
                  <a:lstStyle/>
                  <a:p>
                    <a:r>
                      <a:t>36.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24A-470B-8B30-7D60F18E7E94}"/>
                </c:ext>
              </c:extLst>
            </c:dLbl>
            <c:dLbl>
              <c:idx val="3"/>
              <c:tx>
                <c:rich>
                  <a:bodyPr/>
                  <a:lstStyle/>
                  <a:p>
                    <a:r>
                      <a:t>24.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24A-470B-8B30-7D60F18E7E94}"/>
                </c:ext>
              </c:extLst>
            </c:dLbl>
            <c:dLbl>
              <c:idx val="4"/>
              <c:tx>
                <c:rich>
                  <a:bodyPr/>
                  <a:lstStyle/>
                  <a:p>
                    <a:r>
                      <a:t>40.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24A-470B-8B30-7D60F18E7E94}"/>
                </c:ext>
              </c:extLst>
            </c:dLbl>
            <c:dLbl>
              <c:idx val="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24A-470B-8B30-7D60F18E7E94}"/>
                </c:ext>
              </c:extLst>
            </c:dLbl>
            <c:dLbl>
              <c:idx val="6"/>
              <c:tx>
                <c:rich>
                  <a:bodyPr/>
                  <a:lstStyle/>
                  <a:p>
                    <a:r>
                      <a:t>9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24A-470B-8B30-7D60F18E7E94}"/>
                </c:ext>
              </c:extLst>
            </c:dLbl>
            <c:dLbl>
              <c:idx val="7"/>
              <c:tx>
                <c:rich>
                  <a:bodyPr/>
                  <a:lstStyle/>
                  <a:p>
                    <a:r>
                      <a:t>97.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24A-470B-8B30-7D60F18E7E94}"/>
                </c:ext>
              </c:extLst>
            </c:dLbl>
            <c:dLbl>
              <c:idx val="8"/>
              <c:tx>
                <c:rich>
                  <a:bodyPr/>
                  <a:lstStyle/>
                  <a:p>
                    <a:r>
                      <a:t>51.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24A-470B-8B30-7D60F18E7E94}"/>
                </c:ext>
              </c:extLst>
            </c:dLbl>
            <c:dLbl>
              <c:idx val="9"/>
              <c:tx>
                <c:rich>
                  <a:bodyPr/>
                  <a:lstStyle/>
                  <a:p>
                    <a:r>
                      <a:t>251.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24A-470B-8B30-7D60F18E7E94}"/>
                </c:ext>
              </c:extLst>
            </c:dLbl>
            <c:dLbl>
              <c:idx val="10"/>
              <c:tx>
                <c:rich>
                  <a:bodyPr/>
                  <a:lstStyle/>
                  <a:p>
                    <a:r>
                      <a:t>49.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24A-470B-8B30-7D60F18E7E94}"/>
                </c:ext>
              </c:extLst>
            </c:dLbl>
            <c:dLbl>
              <c:idx val="11"/>
              <c:tx>
                <c:rich>
                  <a:bodyPr/>
                  <a:lstStyle/>
                  <a:p>
                    <a:r>
                      <a:t>58.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24A-470B-8B30-7D60F18E7E94}"/>
                </c:ext>
              </c:extLst>
            </c:dLbl>
            <c:dLbl>
              <c:idx val="12"/>
              <c:tx>
                <c:rich>
                  <a:bodyPr/>
                  <a:lstStyle/>
                  <a:p>
                    <a:r>
                      <a:t>6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24A-470B-8B30-7D60F18E7E94}"/>
                </c:ext>
              </c:extLst>
            </c:dLbl>
            <c:dLbl>
              <c:idx val="13"/>
              <c:tx>
                <c:rich>
                  <a:bodyPr/>
                  <a:lstStyle/>
                  <a:p>
                    <a:r>
                      <a:t>625.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24A-470B-8B30-7D60F18E7E94}"/>
                </c:ext>
              </c:extLst>
            </c:dLbl>
            <c:dLbl>
              <c:idx val="14"/>
              <c:tx>
                <c:rich>
                  <a:bodyPr/>
                  <a:lstStyle/>
                  <a:p>
                    <a:r>
                      <a:t>99.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24A-470B-8B30-7D60F18E7E9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DEUTZ ROSE 1CT X 750ML</c:v>
                </c:pt>
                <c:pt idx="13">
                  <c:v>ROEDERER CRISTAL ROSE 2014 1CT X 750ML</c:v>
                </c:pt>
                <c:pt idx="14">
                  <c:v>MG DEUTZ CLASSIC 1CT X 1500ML</c:v>
                </c:pt>
              </c:strCache>
            </c:strRef>
          </c:cat>
          <c:val>
            <c:numRef>
              <c:f>Sheet1!$B$2:$B$16</c:f>
              <c:numCache>
                <c:formatCode>General</c:formatCode>
                <c:ptCount val="15"/>
                <c:pt idx="0">
                  <c:v>21.87</c:v>
                </c:pt>
                <c:pt idx="1">
                  <c:v>39.090000000000003</c:v>
                </c:pt>
                <c:pt idx="2">
                  <c:v>36.840000000000003</c:v>
                </c:pt>
                <c:pt idx="3">
                  <c:v>24.94</c:v>
                </c:pt>
                <c:pt idx="4">
                  <c:v>40.71</c:v>
                </c:pt>
                <c:pt idx="5">
                  <c:v>57.87</c:v>
                </c:pt>
                <c:pt idx="6">
                  <c:v>94.21</c:v>
                </c:pt>
                <c:pt idx="7">
                  <c:v>97.21</c:v>
                </c:pt>
                <c:pt idx="8">
                  <c:v>51.38</c:v>
                </c:pt>
                <c:pt idx="9">
                  <c:v>251.56</c:v>
                </c:pt>
                <c:pt idx="10">
                  <c:v>49.92</c:v>
                </c:pt>
                <c:pt idx="11">
                  <c:v>58.79</c:v>
                </c:pt>
                <c:pt idx="12">
                  <c:v>62.69</c:v>
                </c:pt>
                <c:pt idx="13">
                  <c:v>625.27</c:v>
                </c:pt>
                <c:pt idx="14">
                  <c:v>99.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3A-4885-89B1-742816FF5550}"/>
                </c:ext>
              </c:extLst>
            </c:dLbl>
            <c:dLbl>
              <c:idx val="1"/>
              <c:tx>
                <c:rich>
                  <a:bodyPr/>
                  <a:lstStyle/>
                  <a:p>
                    <a:r>
                      <a:t>3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3A-4885-89B1-742816FF5550}"/>
                </c:ext>
              </c:extLst>
            </c:dLbl>
            <c:dLbl>
              <c:idx val="2"/>
              <c:tx>
                <c:rich>
                  <a:bodyPr/>
                  <a:lstStyle/>
                  <a:p>
                    <a:r>
                      <a:t>2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43A-4885-89B1-742816FF5550}"/>
                </c:ext>
              </c:extLst>
            </c:dLbl>
            <c:dLbl>
              <c:idx val="3"/>
              <c:tx>
                <c:rich>
                  <a:bodyPr/>
                  <a:lstStyle/>
                  <a:p>
                    <a:r>
                      <a:t>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43A-4885-89B1-742816FF5550}"/>
                </c:ext>
              </c:extLst>
            </c:dLbl>
            <c:dLbl>
              <c:idx val="4"/>
              <c:tx>
                <c:rich>
                  <a:bodyPr/>
                  <a:lstStyle/>
                  <a:p>
                    <a:r>
                      <a:t>2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43A-4885-89B1-742816FF5550}"/>
                </c:ext>
              </c:extLst>
            </c:dLbl>
            <c:dLbl>
              <c:idx val="5"/>
              <c:tx>
                <c:rich>
                  <a:bodyPr/>
                  <a:lstStyle/>
                  <a:p>
                    <a:r>
                      <a:t>58.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43A-4885-89B1-742816FF5550}"/>
                </c:ext>
              </c:extLst>
            </c:dLbl>
            <c:dLbl>
              <c:idx val="6"/>
              <c:tx>
                <c:rich>
                  <a:bodyPr/>
                  <a:lstStyle/>
                  <a:p>
                    <a:r>
                      <a:t>92.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43A-4885-89B1-742816FF5550}"/>
                </c:ext>
              </c:extLst>
            </c:dLbl>
            <c:dLbl>
              <c:idx val="7"/>
              <c:tx>
                <c:rich>
                  <a:bodyPr/>
                  <a:lstStyle/>
                  <a:p>
                    <a:r>
                      <a:t>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43A-4885-89B1-742816FF5550}"/>
                </c:ext>
              </c:extLst>
            </c:dLbl>
            <c:dLbl>
              <c:idx val="8"/>
              <c:tx>
                <c:rich>
                  <a:bodyPr/>
                  <a:lstStyle/>
                  <a:p>
                    <a:r>
                      <a:t>5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43A-4885-89B1-742816FF5550}"/>
                </c:ext>
              </c:extLst>
            </c:dLbl>
            <c:dLbl>
              <c:idx val="9"/>
              <c:tx>
                <c:rich>
                  <a:bodyPr/>
                  <a:lstStyle/>
                  <a:p>
                    <a:r>
                      <a:t>61.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43A-4885-89B1-742816FF5550}"/>
                </c:ext>
              </c:extLst>
            </c:dLbl>
            <c:dLbl>
              <c:idx val="10"/>
              <c:tx>
                <c:rich>
                  <a:bodyPr/>
                  <a:lstStyle/>
                  <a:p>
                    <a:r>
                      <a:t>49.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43A-4885-89B1-742816FF5550}"/>
                </c:ext>
              </c:extLst>
            </c:dLbl>
            <c:dLbl>
              <c:idx val="11"/>
              <c:tx>
                <c:rich>
                  <a:bodyPr/>
                  <a:lstStyle/>
                  <a:p>
                    <a:r>
                      <a:t>5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43A-4885-89B1-742816FF5550}"/>
                </c:ext>
              </c:extLst>
            </c:dLbl>
            <c:dLbl>
              <c:idx val="12"/>
              <c:tx>
                <c:rich>
                  <a:bodyPr/>
                  <a:lstStyle/>
                  <a:p>
                    <a:r>
                      <a:t>100.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43A-4885-89B1-742816FF5550}"/>
                </c:ext>
              </c:extLst>
            </c:dLbl>
            <c:dLbl>
              <c:idx val="13"/>
              <c:tx>
                <c:rich>
                  <a:bodyPr/>
                  <a:lstStyle/>
                  <a:p>
                    <a:r>
                      <a:t>6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43A-4885-89B1-742816FF5550}"/>
                </c:ext>
              </c:extLst>
            </c:dLbl>
            <c:dLbl>
              <c:idx val="14"/>
              <c:tx>
                <c:rich>
                  <a:bodyPr/>
                  <a:lstStyle/>
                  <a:p>
                    <a:r>
                      <a:t>35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43A-4885-89B1-742816FF555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1</c:v>
                </c:pt>
                <c:pt idx="1">
                  <c:v>39.03</c:v>
                </c:pt>
                <c:pt idx="2">
                  <c:v>24.9</c:v>
                </c:pt>
                <c:pt idx="3">
                  <c:v>37.6</c:v>
                </c:pt>
                <c:pt idx="4">
                  <c:v>22.41</c:v>
                </c:pt>
                <c:pt idx="5">
                  <c:v>58.06</c:v>
                </c:pt>
                <c:pt idx="6">
                  <c:v>92.94</c:v>
                </c:pt>
                <c:pt idx="7">
                  <c:v>96.7</c:v>
                </c:pt>
                <c:pt idx="8">
                  <c:v>51.5</c:v>
                </c:pt>
                <c:pt idx="9">
                  <c:v>61.67</c:v>
                </c:pt>
                <c:pt idx="10">
                  <c:v>49.97</c:v>
                </c:pt>
                <c:pt idx="11">
                  <c:v>59.09</c:v>
                </c:pt>
                <c:pt idx="12">
                  <c:v>100.32</c:v>
                </c:pt>
                <c:pt idx="13">
                  <c:v>62</c:v>
                </c:pt>
                <c:pt idx="14">
                  <c:v>359.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561-4ABC-B392-2AEDD0B835C6}"/>
                </c:ext>
              </c:extLst>
            </c:dLbl>
            <c:dLbl>
              <c:idx val="1"/>
              <c:tx>
                <c:rich>
                  <a:bodyPr/>
                  <a:lstStyle/>
                  <a:p>
                    <a:r>
                      <a:rPr lang="en-US"/>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561-4ABC-B392-2AEDD0B835C6}"/>
                </c:ext>
              </c:extLst>
            </c:dLbl>
            <c:dLbl>
              <c:idx val="2"/>
              <c:tx>
                <c:rich>
                  <a:bodyPr/>
                  <a:lstStyle/>
                  <a:p>
                    <a:r>
                      <a:rPr lang="en-US"/>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561-4ABC-B392-2AEDD0B835C6}"/>
                </c:ext>
              </c:extLst>
            </c:dLbl>
            <c:dLbl>
              <c:idx val="3"/>
              <c:tx>
                <c:rich>
                  <a:bodyPr/>
                  <a:lstStyle/>
                  <a:p>
                    <a:r>
                      <a:rPr lang="en-US"/>
                      <a:t>3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561-4ABC-B392-2AEDD0B835C6}"/>
                </c:ext>
              </c:extLst>
            </c:dLbl>
            <c:dLbl>
              <c:idx val="4"/>
              <c:tx>
                <c:rich>
                  <a:bodyPr/>
                  <a:lstStyle/>
                  <a:p>
                    <a:r>
                      <a:rPr lang="en-US"/>
                      <a:t>4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561-4ABC-B392-2AEDD0B835C6}"/>
                </c:ext>
              </c:extLst>
            </c:dLbl>
            <c:dLbl>
              <c:idx val="5"/>
              <c:tx>
                <c:rich>
                  <a:bodyPr/>
                  <a:lstStyle/>
                  <a:p>
                    <a:r>
                      <a:rPr lang="en-US"/>
                      <a:t>4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561-4ABC-B392-2AEDD0B835C6}"/>
                </c:ext>
              </c:extLst>
            </c:dLbl>
            <c:dLbl>
              <c:idx val="6"/>
              <c:tx>
                <c:rich>
                  <a:bodyPr/>
                  <a:lstStyle/>
                  <a:p>
                    <a:r>
                      <a:rPr lang="en-US"/>
                      <a:t>2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561-4ABC-B392-2AEDD0B835C6}"/>
                </c:ext>
              </c:extLst>
            </c:dLbl>
            <c:dLbl>
              <c:idx val="7"/>
              <c:tx>
                <c:rich>
                  <a:bodyPr/>
                  <a:lstStyle/>
                  <a:p>
                    <a:r>
                      <a:rPr lang="en-US"/>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561-4ABC-B392-2AEDD0B835C6}"/>
                </c:ext>
              </c:extLst>
            </c:dLbl>
            <c:dLbl>
              <c:idx val="8"/>
              <c:tx>
                <c:rich>
                  <a:bodyPr/>
                  <a:lstStyle/>
                  <a:p>
                    <a:r>
                      <a:rPr lang="en-US"/>
                      <a:t>46.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561-4ABC-B392-2AEDD0B835C6}"/>
                </c:ext>
              </c:extLst>
            </c:dLbl>
            <c:dLbl>
              <c:idx val="9"/>
              <c:tx>
                <c:rich>
                  <a:bodyPr/>
                  <a:lstStyle/>
                  <a:p>
                    <a:r>
                      <a:rPr lang="en-US"/>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561-4ABC-B392-2AEDD0B835C6}"/>
                </c:ext>
              </c:extLst>
            </c:dLbl>
            <c:dLbl>
              <c:idx val="10"/>
              <c:tx>
                <c:rich>
                  <a:bodyPr/>
                  <a:lstStyle/>
                  <a:p>
                    <a:r>
                      <a:rPr lang="en-US"/>
                      <a:t>2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561-4ABC-B392-2AEDD0B835C6}"/>
                </c:ext>
              </c:extLst>
            </c:dLbl>
            <c:dLbl>
              <c:idx val="11"/>
              <c:tx>
                <c:rich>
                  <a:bodyPr/>
                  <a:lstStyle/>
                  <a:p>
                    <a:r>
                      <a:rPr lang="en-US"/>
                      <a:t>8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561-4ABC-B392-2AEDD0B835C6}"/>
                </c:ext>
              </c:extLst>
            </c:dLbl>
            <c:dLbl>
              <c:idx val="12"/>
              <c:tx>
                <c:rich>
                  <a:bodyPr/>
                  <a:lstStyle/>
                  <a:p>
                    <a:r>
                      <a:rPr lang="en-US"/>
                      <a:t>77.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561-4ABC-B392-2AEDD0B835C6}"/>
                </c:ext>
              </c:extLst>
            </c:dLbl>
            <c:dLbl>
              <c:idx val="13"/>
              <c:tx>
                <c:rich>
                  <a:bodyPr/>
                  <a:lstStyle/>
                  <a:p>
                    <a:r>
                      <a:rPr lang="en-US"/>
                      <a:t>3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561-4ABC-B392-2AEDD0B835C6}"/>
                </c:ext>
              </c:extLst>
            </c:dLbl>
            <c:dLbl>
              <c:idx val="14"/>
              <c:tx>
                <c:rich>
                  <a:bodyPr/>
                  <a:lstStyle/>
                  <a:p>
                    <a:r>
                      <a:rPr lang="en-US"/>
                      <a:t>3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561-4ABC-B392-2AEDD0B835C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9</c:v>
                </c:pt>
                <c:pt idx="1">
                  <c:v>38.979999999999997</c:v>
                </c:pt>
                <c:pt idx="2">
                  <c:v>25.01</c:v>
                </c:pt>
                <c:pt idx="3">
                  <c:v>36.950000000000003</c:v>
                </c:pt>
                <c:pt idx="4">
                  <c:v>41.25</c:v>
                </c:pt>
                <c:pt idx="5">
                  <c:v>45</c:v>
                </c:pt>
                <c:pt idx="6">
                  <c:v>22.25</c:v>
                </c:pt>
                <c:pt idx="7">
                  <c:v>37.18</c:v>
                </c:pt>
                <c:pt idx="8">
                  <c:v>46.31</c:v>
                </c:pt>
                <c:pt idx="9">
                  <c:v>23.9</c:v>
                </c:pt>
                <c:pt idx="10">
                  <c:v>24.55</c:v>
                </c:pt>
                <c:pt idx="11">
                  <c:v>88.12</c:v>
                </c:pt>
                <c:pt idx="12">
                  <c:v>77.349999999999994</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A64-49B9-985D-1AF04BD8D2D0}"/>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A64-49B9-985D-1AF04BD8D2D0}"/>
                </c:ext>
              </c:extLst>
            </c:dLbl>
            <c:dLbl>
              <c:idx val="2"/>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A64-49B9-985D-1AF04BD8D2D0}"/>
                </c:ext>
              </c:extLst>
            </c:dLbl>
            <c:dLbl>
              <c:idx val="3"/>
              <c:tx>
                <c:rich>
                  <a:bodyPr/>
                  <a:lstStyle/>
                  <a:p>
                    <a:r>
                      <a:t>36.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A64-49B9-985D-1AF04BD8D2D0}"/>
                </c:ext>
              </c:extLst>
            </c:dLbl>
            <c:dLbl>
              <c:idx val="4"/>
              <c:tx>
                <c:rich>
                  <a:bodyPr/>
                  <a:lstStyle/>
                  <a:p>
                    <a:r>
                      <a:t>41.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A64-49B9-985D-1AF04BD8D2D0}"/>
                </c:ext>
              </c:extLst>
            </c:dLbl>
            <c:dLbl>
              <c:idx val="5"/>
              <c:tx>
                <c:rich>
                  <a:bodyPr/>
                  <a:lstStyle/>
                  <a:p>
                    <a:r>
                      <a:t>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A64-49B9-985D-1AF04BD8D2D0}"/>
                </c:ext>
              </c:extLst>
            </c:dLbl>
            <c:dLbl>
              <c:idx val="6"/>
              <c:tx>
                <c:rich>
                  <a:bodyPr/>
                  <a:lstStyle/>
                  <a:p>
                    <a:r>
                      <a:t>92.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A64-49B9-985D-1AF04BD8D2D0}"/>
                </c:ext>
              </c:extLst>
            </c:dLbl>
            <c:dLbl>
              <c:idx val="7"/>
              <c:tx>
                <c:rich>
                  <a:bodyPr/>
                  <a:lstStyle/>
                  <a:p>
                    <a:r>
                      <a:t>9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A64-49B9-985D-1AF04BD8D2D0}"/>
                </c:ext>
              </c:extLst>
            </c:dLbl>
            <c:dLbl>
              <c:idx val="8"/>
              <c:tx>
                <c:rich>
                  <a:bodyPr/>
                  <a:lstStyle/>
                  <a:p>
                    <a:r>
                      <a:t>51.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A64-49B9-985D-1AF04BD8D2D0}"/>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A64-49B9-985D-1AF04BD8D2D0}"/>
                </c:ext>
              </c:extLst>
            </c:dLbl>
            <c:dLbl>
              <c:idx val="10"/>
              <c:tx>
                <c:rich>
                  <a:bodyPr/>
                  <a:lstStyle/>
                  <a:p>
                    <a:r>
                      <a:t>49.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A64-49B9-985D-1AF04BD8D2D0}"/>
                </c:ext>
              </c:extLst>
            </c:dLbl>
            <c:dLbl>
              <c:idx val="11"/>
              <c:tx>
                <c:rich>
                  <a:bodyPr/>
                  <a:lstStyle/>
                  <a:p>
                    <a:r>
                      <a:t>5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A64-49B9-985D-1AF04BD8D2D0}"/>
                </c:ext>
              </c:extLst>
            </c:dLbl>
            <c:dLbl>
              <c:idx val="12"/>
              <c:tx>
                <c:rich>
                  <a:bodyPr/>
                  <a:lstStyle/>
                  <a:p>
                    <a:r>
                      <a:t>62.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A64-49B9-985D-1AF04BD8D2D0}"/>
                </c:ext>
              </c:extLst>
            </c:dLbl>
            <c:dLbl>
              <c:idx val="13"/>
              <c:tx>
                <c:rich>
                  <a:bodyPr/>
                  <a:lstStyle/>
                  <a:p>
                    <a:r>
                      <a:t>100.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A64-49B9-985D-1AF04BD8D2D0}"/>
                </c:ext>
              </c:extLst>
            </c:dLbl>
            <c:dLbl>
              <c:idx val="14"/>
              <c:tx>
                <c:rich>
                  <a:bodyPr/>
                  <a:lstStyle/>
                  <a:p>
                    <a:r>
                      <a:t>28.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A64-49B9-985D-1AF04BD8D2D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89</c:v>
                </c:pt>
                <c:pt idx="1">
                  <c:v>38.979999999999997</c:v>
                </c:pt>
                <c:pt idx="2">
                  <c:v>25.01</c:v>
                </c:pt>
                <c:pt idx="3">
                  <c:v>36.950000000000003</c:v>
                </c:pt>
                <c:pt idx="4">
                  <c:v>41.25</c:v>
                </c:pt>
                <c:pt idx="5">
                  <c:v>57.8</c:v>
                </c:pt>
                <c:pt idx="6">
                  <c:v>92.87</c:v>
                </c:pt>
                <c:pt idx="7">
                  <c:v>96.98</c:v>
                </c:pt>
                <c:pt idx="8">
                  <c:v>51.88</c:v>
                </c:pt>
                <c:pt idx="9">
                  <c:v>62.03</c:v>
                </c:pt>
                <c:pt idx="10">
                  <c:v>49.95</c:v>
                </c:pt>
                <c:pt idx="11">
                  <c:v>58.7</c:v>
                </c:pt>
                <c:pt idx="12">
                  <c:v>62.72</c:v>
                </c:pt>
                <c:pt idx="13">
                  <c:v>100.41</c:v>
                </c:pt>
                <c:pt idx="14">
                  <c:v>28.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EEC-4890-8D50-03EC0E298B0B}"/>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EEC-4890-8D50-03EC0E298B0B}"/>
                </c:ext>
              </c:extLst>
            </c:dLbl>
            <c:dLbl>
              <c:idx val="2"/>
              <c:tx>
                <c:rich>
                  <a:bodyPr/>
                  <a:lstStyle/>
                  <a:p>
                    <a:r>
                      <a:t>36.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EEC-4890-8D50-03EC0E298B0B}"/>
                </c:ext>
              </c:extLst>
            </c:dLbl>
            <c:dLbl>
              <c:idx val="3"/>
              <c:tx>
                <c:rich>
                  <a:bodyPr/>
                  <a:lstStyle/>
                  <a:p>
                    <a:r>
                      <a:t>25.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EEC-4890-8D50-03EC0E298B0B}"/>
                </c:ext>
              </c:extLst>
            </c:dLbl>
            <c:dLbl>
              <c:idx val="4"/>
              <c:tx>
                <c:rich>
                  <a:bodyPr/>
                  <a:lstStyle/>
                  <a:p>
                    <a:r>
                      <a:t>41.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EEC-4890-8D50-03EC0E298B0B}"/>
                </c:ext>
              </c:extLst>
            </c:dLbl>
            <c:dLbl>
              <c:idx val="5"/>
              <c:tx>
                <c:rich>
                  <a:bodyPr/>
                  <a:lstStyle/>
                  <a:p>
                    <a:r>
                      <a:t>5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EEC-4890-8D50-03EC0E298B0B}"/>
                </c:ext>
              </c:extLst>
            </c:dLbl>
            <c:dLbl>
              <c:idx val="6"/>
              <c:tx>
                <c:rich>
                  <a:bodyPr/>
                  <a:lstStyle/>
                  <a:p>
                    <a:r>
                      <a:t>93.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EEC-4890-8D50-03EC0E298B0B}"/>
                </c:ext>
              </c:extLst>
            </c:dLbl>
            <c:dLbl>
              <c:idx val="7"/>
              <c:tx>
                <c:rich>
                  <a:bodyPr/>
                  <a:lstStyle/>
                  <a:p>
                    <a:r>
                      <a:t>9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EEC-4890-8D50-03EC0E298B0B}"/>
                </c:ext>
              </c:extLst>
            </c:dLbl>
            <c:dLbl>
              <c:idx val="8"/>
              <c:tx>
                <c:rich>
                  <a:bodyPr/>
                  <a:lstStyle/>
                  <a:p>
                    <a:r>
                      <a:t>51.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EEC-4890-8D50-03EC0E298B0B}"/>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EEC-4890-8D50-03EC0E298B0B}"/>
                </c:ext>
              </c:extLst>
            </c:dLbl>
            <c:dLbl>
              <c:idx val="10"/>
              <c:tx>
                <c:rich>
                  <a:bodyPr/>
                  <a:lstStyle/>
                  <a:p>
                    <a:r>
                      <a:t>4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EEC-4890-8D50-03EC0E298B0B}"/>
                </c:ext>
              </c:extLst>
            </c:dLbl>
            <c:dLbl>
              <c:idx val="11"/>
              <c:tx>
                <c:rich>
                  <a:bodyPr/>
                  <a:lstStyle/>
                  <a:p>
                    <a:r>
                      <a:t>58.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EEC-4890-8D50-03EC0E298B0B}"/>
                </c:ext>
              </c:extLst>
            </c:dLbl>
            <c:dLbl>
              <c:idx val="12"/>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EEC-4890-8D50-03EC0E298B0B}"/>
                </c:ext>
              </c:extLst>
            </c:dLbl>
            <c:dLbl>
              <c:idx val="13"/>
              <c:tx>
                <c:rich>
                  <a:bodyPr/>
                  <a:lstStyle/>
                  <a:p>
                    <a:r>
                      <a:t>62.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EEC-4890-8D50-03EC0E298B0B}"/>
                </c:ext>
              </c:extLst>
            </c:dLbl>
            <c:dLbl>
              <c:idx val="14"/>
              <c:tx>
                <c:rich>
                  <a:bodyPr/>
                  <a:lstStyle/>
                  <a:p>
                    <a:r>
                      <a:t>27.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EEC-4890-8D50-03EC0E298B0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2</c:v>
                </c:pt>
                <c:pt idx="1">
                  <c:v>39.090000000000003</c:v>
                </c:pt>
                <c:pt idx="2">
                  <c:v>36.92</c:v>
                </c:pt>
                <c:pt idx="3">
                  <c:v>25.12</c:v>
                </c:pt>
                <c:pt idx="4">
                  <c:v>41.31</c:v>
                </c:pt>
                <c:pt idx="5">
                  <c:v>57.75</c:v>
                </c:pt>
                <c:pt idx="6">
                  <c:v>93.04</c:v>
                </c:pt>
                <c:pt idx="7">
                  <c:v>96.31</c:v>
                </c:pt>
                <c:pt idx="8">
                  <c:v>51.83</c:v>
                </c:pt>
                <c:pt idx="9">
                  <c:v>62.03</c:v>
                </c:pt>
                <c:pt idx="10">
                  <c:v>49.98</c:v>
                </c:pt>
                <c:pt idx="11">
                  <c:v>58.99</c:v>
                </c:pt>
                <c:pt idx="12">
                  <c:v>99.39</c:v>
                </c:pt>
                <c:pt idx="13">
                  <c:v>62.57</c:v>
                </c:pt>
                <c:pt idx="14">
                  <c:v>27.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135-4659-BA4F-0E431A9D0FD5}"/>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135-4659-BA4F-0E431A9D0FD5}"/>
                </c:ext>
              </c:extLst>
            </c:dLbl>
            <c:dLbl>
              <c:idx val="2"/>
              <c:tx>
                <c:rich>
                  <a:bodyPr/>
                  <a:lstStyle/>
                  <a:p>
                    <a:r>
                      <a:t>2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135-4659-BA4F-0E431A9D0FD5}"/>
                </c:ext>
              </c:extLst>
            </c:dLbl>
            <c:dLbl>
              <c:idx val="3"/>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135-4659-BA4F-0E431A9D0FD5}"/>
                </c:ext>
              </c:extLst>
            </c:dLbl>
            <c:dLbl>
              <c:idx val="4"/>
              <c:tx>
                <c:rich>
                  <a:bodyPr/>
                  <a:lstStyle/>
                  <a:p>
                    <a:r>
                      <a:t>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135-4659-BA4F-0E431A9D0FD5}"/>
                </c:ext>
              </c:extLst>
            </c:dLbl>
            <c:dLbl>
              <c:idx val="5"/>
              <c:tx>
                <c:rich>
                  <a:bodyPr/>
                  <a:lstStyle/>
                  <a:p>
                    <a:r>
                      <a:t>5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135-4659-BA4F-0E431A9D0FD5}"/>
                </c:ext>
              </c:extLst>
            </c:dLbl>
            <c:dLbl>
              <c:idx val="6"/>
              <c:tx>
                <c:rich>
                  <a:bodyPr/>
                  <a:lstStyle/>
                  <a:p>
                    <a:r>
                      <a:t>9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135-4659-BA4F-0E431A9D0FD5}"/>
                </c:ext>
              </c:extLst>
            </c:dLbl>
            <c:dLbl>
              <c:idx val="7"/>
              <c:tx>
                <c:rich>
                  <a:bodyPr/>
                  <a:lstStyle/>
                  <a:p>
                    <a:r>
                      <a:t>9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135-4659-BA4F-0E431A9D0FD5}"/>
                </c:ext>
              </c:extLst>
            </c:dLbl>
            <c:dLbl>
              <c:idx val="8"/>
              <c:tx>
                <c:rich>
                  <a:bodyPr/>
                  <a:lstStyle/>
                  <a:p>
                    <a:r>
                      <a:t>250.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135-4659-BA4F-0E431A9D0FD5}"/>
                </c:ext>
              </c:extLst>
            </c:dLbl>
            <c:dLbl>
              <c:idx val="9"/>
              <c:tx>
                <c:rich>
                  <a:bodyPr/>
                  <a:lstStyle/>
                  <a:p>
                    <a:r>
                      <a:t>61.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135-4659-BA4F-0E431A9D0FD5}"/>
                </c:ext>
              </c:extLst>
            </c:dLbl>
            <c:dLbl>
              <c:idx val="10"/>
              <c:tx>
                <c:rich>
                  <a:bodyPr/>
                  <a:lstStyle/>
                  <a:p>
                    <a:r>
                      <a:t>49.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135-4659-BA4F-0E431A9D0FD5}"/>
                </c:ext>
              </c:extLst>
            </c:dLbl>
            <c:dLbl>
              <c:idx val="11"/>
              <c:tx>
                <c:rich>
                  <a:bodyPr/>
                  <a:lstStyle/>
                  <a:p>
                    <a:r>
                      <a:t>100.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135-4659-BA4F-0E431A9D0FD5}"/>
                </c:ext>
              </c:extLst>
            </c:dLbl>
            <c:dLbl>
              <c:idx val="12"/>
              <c:tx>
                <c:rich>
                  <a:bodyPr/>
                  <a:lstStyle/>
                  <a:p>
                    <a:r>
                      <a:t>5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135-4659-BA4F-0E431A9D0FD5}"/>
                </c:ext>
              </c:extLst>
            </c:dLbl>
            <c:dLbl>
              <c:idx val="13"/>
              <c:tx>
                <c:rich>
                  <a:bodyPr/>
                  <a:lstStyle/>
                  <a:p>
                    <a:r>
                      <a:t>62.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135-4659-BA4F-0E431A9D0FD5}"/>
                </c:ext>
              </c:extLst>
            </c:dLbl>
            <c:dLbl>
              <c:idx val="14"/>
              <c:tx>
                <c:rich>
                  <a:bodyPr/>
                  <a:lstStyle/>
                  <a:p>
                    <a:r>
                      <a:t>28.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135-4659-BA4F-0E431A9D0FD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RUINART BRUT (NUE) 1CT X 750ML</c:v>
                </c:pt>
                <c:pt idx="6">
                  <c:v>RUINART BLANC DE BLANCS (NUE) 1CT X 750ML</c:v>
                </c:pt>
                <c:pt idx="7">
                  <c:v>RUINART BLANC DE BLANCS SECOND 1CT X 750ML</c:v>
                </c:pt>
                <c:pt idx="8">
                  <c:v>DOM PERIGNON 2015 1CT X 750ML</c:v>
                </c:pt>
                <c:pt idx="9">
                  <c:v>RUINART BRUT SECOND SKIN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3</c:v>
                </c:pt>
                <c:pt idx="1">
                  <c:v>39.08</c:v>
                </c:pt>
                <c:pt idx="2">
                  <c:v>25.05</c:v>
                </c:pt>
                <c:pt idx="3">
                  <c:v>36.979999999999997</c:v>
                </c:pt>
                <c:pt idx="4">
                  <c:v>45.8</c:v>
                </c:pt>
                <c:pt idx="5">
                  <c:v>57.84</c:v>
                </c:pt>
                <c:pt idx="6">
                  <c:v>92.93</c:v>
                </c:pt>
                <c:pt idx="7">
                  <c:v>96.93</c:v>
                </c:pt>
                <c:pt idx="8">
                  <c:v>250.32</c:v>
                </c:pt>
                <c:pt idx="9">
                  <c:v>61.47</c:v>
                </c:pt>
                <c:pt idx="10">
                  <c:v>49.94</c:v>
                </c:pt>
                <c:pt idx="11">
                  <c:v>100.39</c:v>
                </c:pt>
                <c:pt idx="12">
                  <c:v>59.1</c:v>
                </c:pt>
                <c:pt idx="13">
                  <c:v>62.05</c:v>
                </c:pt>
                <c:pt idx="14">
                  <c:v>28.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3CC-4606-A0A2-A72324D75655}"/>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3CC-4606-A0A2-A72324D75655}"/>
                </c:ext>
              </c:extLst>
            </c:dLbl>
            <c:dLbl>
              <c:idx val="2"/>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3CC-4606-A0A2-A72324D75655}"/>
                </c:ext>
              </c:extLst>
            </c:dLbl>
            <c:dLbl>
              <c:idx val="3"/>
              <c:tx>
                <c:rich>
                  <a:bodyPr/>
                  <a:lstStyle/>
                  <a:p>
                    <a:r>
                      <a:t>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3CC-4606-A0A2-A72324D75655}"/>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3CC-4606-A0A2-A72324D75655}"/>
                </c:ext>
              </c:extLst>
            </c:dLbl>
            <c:dLbl>
              <c:idx val="5"/>
              <c:tx>
                <c:rich>
                  <a:bodyPr/>
                  <a:lstStyle/>
                  <a:p>
                    <a:r>
                      <a:t>57.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3CC-4606-A0A2-A72324D75655}"/>
                </c:ext>
              </c:extLst>
            </c:dLbl>
            <c:dLbl>
              <c:idx val="6"/>
              <c:tx>
                <c:rich>
                  <a:bodyPr/>
                  <a:lstStyle/>
                  <a:p>
                    <a:r>
                      <a:t>93.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3CC-4606-A0A2-A72324D75655}"/>
                </c:ext>
              </c:extLst>
            </c:dLbl>
            <c:dLbl>
              <c:idx val="7"/>
              <c:tx>
                <c:rich>
                  <a:bodyPr/>
                  <a:lstStyle/>
                  <a:p>
                    <a:r>
                      <a:t>96.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3CC-4606-A0A2-A72324D75655}"/>
                </c:ext>
              </c:extLst>
            </c:dLbl>
            <c:dLbl>
              <c:idx val="8"/>
              <c:tx>
                <c:rich>
                  <a:bodyPr/>
                  <a:lstStyle/>
                  <a:p>
                    <a:r>
                      <a:t>51.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3CC-4606-A0A2-A72324D75655}"/>
                </c:ext>
              </c:extLst>
            </c:dLbl>
            <c:dLbl>
              <c:idx val="9"/>
              <c:tx>
                <c:rich>
                  <a:bodyPr/>
                  <a:lstStyle/>
                  <a:p>
                    <a:r>
                      <a:t>253.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3CC-4606-A0A2-A72324D75655}"/>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3CC-4606-A0A2-A72324D75655}"/>
                </c:ext>
              </c:extLst>
            </c:dLbl>
            <c:dLbl>
              <c:idx val="11"/>
              <c:tx>
                <c:rich>
                  <a:bodyPr/>
                  <a:lstStyle/>
                  <a:p>
                    <a:r>
                      <a:t>5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3CC-4606-A0A2-A72324D75655}"/>
                </c:ext>
              </c:extLst>
            </c:dLbl>
            <c:dLbl>
              <c:idx val="12"/>
              <c:tx>
                <c:rich>
                  <a:bodyPr/>
                  <a:lstStyle/>
                  <a:p>
                    <a:r>
                      <a:t>100.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3CC-4606-A0A2-A72324D75655}"/>
                </c:ext>
              </c:extLst>
            </c:dLbl>
            <c:dLbl>
              <c:idx val="13"/>
              <c:tx>
                <c:rich>
                  <a:bodyPr/>
                  <a:lstStyle/>
                  <a:p>
                    <a:r>
                      <a:t>6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3CC-4606-A0A2-A72324D75655}"/>
                </c:ext>
              </c:extLst>
            </c:dLbl>
            <c:dLbl>
              <c:idx val="14"/>
              <c:tx>
                <c:rich>
                  <a:bodyPr/>
                  <a:lstStyle/>
                  <a:p>
                    <a:r>
                      <a:t>28.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3CC-4606-A0A2-A72324D7565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c:v>
                </c:pt>
                <c:pt idx="1">
                  <c:v>39.090000000000003</c:v>
                </c:pt>
                <c:pt idx="2">
                  <c:v>24.99</c:v>
                </c:pt>
                <c:pt idx="3">
                  <c:v>37.1</c:v>
                </c:pt>
                <c:pt idx="4">
                  <c:v>41.37</c:v>
                </c:pt>
                <c:pt idx="5">
                  <c:v>57.88</c:v>
                </c:pt>
                <c:pt idx="6">
                  <c:v>93.81</c:v>
                </c:pt>
                <c:pt idx="7">
                  <c:v>96.96</c:v>
                </c:pt>
                <c:pt idx="8">
                  <c:v>51.54</c:v>
                </c:pt>
                <c:pt idx="9">
                  <c:v>253.58</c:v>
                </c:pt>
                <c:pt idx="10">
                  <c:v>49.96</c:v>
                </c:pt>
                <c:pt idx="11">
                  <c:v>58.98</c:v>
                </c:pt>
                <c:pt idx="12">
                  <c:v>100.24</c:v>
                </c:pt>
                <c:pt idx="13">
                  <c:v>62.42</c:v>
                </c:pt>
                <c:pt idx="14">
                  <c:v>28.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9B0-4033-9BF4-61F78B2819B3}"/>
                </c:ext>
              </c:extLst>
            </c:dLbl>
            <c:dLbl>
              <c:idx val="1"/>
              <c:tx>
                <c:rich>
                  <a:bodyPr/>
                  <a:lstStyle/>
                  <a:p>
                    <a:r>
                      <a:t>3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9B0-4033-9BF4-61F78B2819B3}"/>
                </c:ext>
              </c:extLst>
            </c:dLbl>
            <c:dLbl>
              <c:idx val="2"/>
              <c:tx>
                <c:rich>
                  <a:bodyPr/>
                  <a:lstStyle/>
                  <a:p>
                    <a:r>
                      <a:t>37.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9B0-4033-9BF4-61F78B2819B3}"/>
                </c:ext>
              </c:extLst>
            </c:dLbl>
            <c:dLbl>
              <c:idx val="3"/>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9B0-4033-9BF4-61F78B2819B3}"/>
                </c:ext>
              </c:extLst>
            </c:dLbl>
            <c:dLbl>
              <c:idx val="4"/>
              <c:tx>
                <c:rich>
                  <a:bodyPr/>
                  <a:lstStyle/>
                  <a:p>
                    <a:r>
                      <a:t>41.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9B0-4033-9BF4-61F78B2819B3}"/>
                </c:ext>
              </c:extLst>
            </c:dLbl>
            <c:dLbl>
              <c:idx val="5"/>
              <c:tx>
                <c:rich>
                  <a:bodyPr/>
                  <a:lstStyle/>
                  <a:p>
                    <a:r>
                      <a:t>57.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9B0-4033-9BF4-61F78B2819B3}"/>
                </c:ext>
              </c:extLst>
            </c:dLbl>
            <c:dLbl>
              <c:idx val="6"/>
              <c:tx>
                <c:rich>
                  <a:bodyPr/>
                  <a:lstStyle/>
                  <a:p>
                    <a:r>
                      <a:t>9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9B0-4033-9BF4-61F78B2819B3}"/>
                </c:ext>
              </c:extLst>
            </c:dLbl>
            <c:dLbl>
              <c:idx val="7"/>
              <c:tx>
                <c:rich>
                  <a:bodyPr/>
                  <a:lstStyle/>
                  <a:p>
                    <a:r>
                      <a:t>5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9B0-4033-9BF4-61F78B2819B3}"/>
                </c:ext>
              </c:extLst>
            </c:dLbl>
            <c:dLbl>
              <c:idx val="8"/>
              <c:tx>
                <c:rich>
                  <a:bodyPr/>
                  <a:lstStyle/>
                  <a:p>
                    <a:r>
                      <a:t>9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9B0-4033-9BF4-61F78B2819B3}"/>
                </c:ext>
              </c:extLst>
            </c:dLbl>
            <c:dLbl>
              <c:idx val="9"/>
              <c:tx>
                <c:rich>
                  <a:bodyPr/>
                  <a:lstStyle/>
                  <a:p>
                    <a:r>
                      <a:t>44.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9B0-4033-9BF4-61F78B2819B3}"/>
                </c:ext>
              </c:extLst>
            </c:dLbl>
            <c:dLbl>
              <c:idx val="10"/>
              <c:tx>
                <c:rich>
                  <a:bodyPr/>
                  <a:lstStyle/>
                  <a:p>
                    <a:r>
                      <a:t>49.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9B0-4033-9BF4-61F78B2819B3}"/>
                </c:ext>
              </c:extLst>
            </c:dLbl>
            <c:dLbl>
              <c:idx val="11"/>
              <c:tx>
                <c:rich>
                  <a:bodyPr/>
                  <a:lstStyle/>
                  <a:p>
                    <a:r>
                      <a:t>59.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9B0-4033-9BF4-61F78B2819B3}"/>
                </c:ext>
              </c:extLst>
            </c:dLbl>
            <c:dLbl>
              <c:idx val="12"/>
              <c:tx>
                <c:rich>
                  <a:bodyPr/>
                  <a:lstStyle/>
                  <a:p>
                    <a:r>
                      <a:t>100.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9B0-4033-9BF4-61F78B2819B3}"/>
                </c:ext>
              </c:extLst>
            </c:dLbl>
            <c:dLbl>
              <c:idx val="13"/>
              <c:tx>
                <c:rich>
                  <a:bodyPr/>
                  <a:lstStyle/>
                  <a:p>
                    <a:r>
                      <a:t>62.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9B0-4033-9BF4-61F78B2819B3}"/>
                </c:ext>
              </c:extLst>
            </c:dLbl>
            <c:dLbl>
              <c:idx val="14"/>
              <c:tx>
                <c:rich>
                  <a:bodyPr/>
                  <a:lstStyle/>
                  <a:p>
                    <a:r>
                      <a:t>28.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9B0-4033-9BF4-61F78B2819B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1</c:v>
                </c:pt>
                <c:pt idx="1">
                  <c:v>39.049999999999997</c:v>
                </c:pt>
                <c:pt idx="2">
                  <c:v>37.08</c:v>
                </c:pt>
                <c:pt idx="3">
                  <c:v>25.02</c:v>
                </c:pt>
                <c:pt idx="4">
                  <c:v>41.04</c:v>
                </c:pt>
                <c:pt idx="5">
                  <c:v>57.93</c:v>
                </c:pt>
                <c:pt idx="6">
                  <c:v>93</c:v>
                </c:pt>
                <c:pt idx="7">
                  <c:v>51.53</c:v>
                </c:pt>
                <c:pt idx="8">
                  <c:v>96.83</c:v>
                </c:pt>
                <c:pt idx="9">
                  <c:v>44.78</c:v>
                </c:pt>
                <c:pt idx="10">
                  <c:v>49.97</c:v>
                </c:pt>
                <c:pt idx="11">
                  <c:v>59.04</c:v>
                </c:pt>
                <c:pt idx="12">
                  <c:v>100.36</c:v>
                </c:pt>
                <c:pt idx="13">
                  <c:v>62.64</c:v>
                </c:pt>
                <c:pt idx="14">
                  <c:v>28.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39D-40F9-B2C1-C404F672C8EB}"/>
                </c:ext>
              </c:extLst>
            </c:dLbl>
            <c:dLbl>
              <c:idx val="1"/>
              <c:tx>
                <c:rich>
                  <a:bodyPr/>
                  <a:lstStyle/>
                  <a:p>
                    <a:r>
                      <a:t>39.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39D-40F9-B2C1-C404F672C8EB}"/>
                </c:ext>
              </c:extLst>
            </c:dLbl>
            <c:dLbl>
              <c:idx val="2"/>
              <c:tx>
                <c:rich>
                  <a:bodyPr/>
                  <a:lstStyle/>
                  <a:p>
                    <a:r>
                      <a:t>24.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39D-40F9-B2C1-C404F672C8EB}"/>
                </c:ext>
              </c:extLst>
            </c:dLbl>
            <c:dLbl>
              <c:idx val="3"/>
              <c:tx>
                <c:rich>
                  <a:bodyPr/>
                  <a:lstStyle/>
                  <a:p>
                    <a:r>
                      <a:t>37.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39D-40F9-B2C1-C404F672C8EB}"/>
                </c:ext>
              </c:extLst>
            </c:dLbl>
            <c:dLbl>
              <c:idx val="4"/>
              <c:tx>
                <c:rich>
                  <a:bodyPr/>
                  <a:lstStyle/>
                  <a:p>
                    <a:r>
                      <a:t>42.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39D-40F9-B2C1-C404F672C8EB}"/>
                </c:ext>
              </c:extLst>
            </c:dLbl>
            <c:dLbl>
              <c:idx val="5"/>
              <c:tx>
                <c:rich>
                  <a:bodyPr/>
                  <a:lstStyle/>
                  <a:p>
                    <a:r>
                      <a:t>5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39D-40F9-B2C1-C404F672C8EB}"/>
                </c:ext>
              </c:extLst>
            </c:dLbl>
            <c:dLbl>
              <c:idx val="6"/>
              <c:tx>
                <c:rich>
                  <a:bodyPr/>
                  <a:lstStyle/>
                  <a:p>
                    <a:r>
                      <a:t>92.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9D-40F9-B2C1-C404F672C8EB}"/>
                </c:ext>
              </c:extLst>
            </c:dLbl>
            <c:dLbl>
              <c:idx val="7"/>
              <c:tx>
                <c:rich>
                  <a:bodyPr/>
                  <a:lstStyle/>
                  <a:p>
                    <a:r>
                      <a:t>97.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39D-40F9-B2C1-C404F672C8EB}"/>
                </c:ext>
              </c:extLst>
            </c:dLbl>
            <c:dLbl>
              <c:idx val="8"/>
              <c:tx>
                <c:rich>
                  <a:bodyPr/>
                  <a:lstStyle/>
                  <a:p>
                    <a:r>
                      <a:t>6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9D-40F9-B2C1-C404F672C8EB}"/>
                </c:ext>
              </c:extLst>
            </c:dLbl>
            <c:dLbl>
              <c:idx val="9"/>
              <c:tx>
                <c:rich>
                  <a:bodyPr/>
                  <a:lstStyle/>
                  <a:p>
                    <a:r>
                      <a:t>138.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9D-40F9-B2C1-C404F672C8EB}"/>
                </c:ext>
              </c:extLst>
            </c:dLbl>
            <c:dLbl>
              <c:idx val="10"/>
              <c:tx>
                <c:rich>
                  <a:bodyPr/>
                  <a:lstStyle/>
                  <a:p>
                    <a:r>
                      <a:t>49.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9D-40F9-B2C1-C404F672C8EB}"/>
                </c:ext>
              </c:extLst>
            </c:dLbl>
            <c:dLbl>
              <c:idx val="11"/>
              <c:tx>
                <c:rich>
                  <a:bodyPr/>
                  <a:lstStyle/>
                  <a:p>
                    <a:r>
                      <a:t>58.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9D-40F9-B2C1-C404F672C8EB}"/>
                </c:ext>
              </c:extLst>
            </c:dLbl>
            <c:dLbl>
              <c:idx val="12"/>
              <c:tx>
                <c:rich>
                  <a:bodyPr/>
                  <a:lstStyle/>
                  <a:p>
                    <a:r>
                      <a:t>6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39D-40F9-B2C1-C404F672C8EB}"/>
                </c:ext>
              </c:extLst>
            </c:dLbl>
            <c:dLbl>
              <c:idx val="13"/>
              <c:tx>
                <c:rich>
                  <a:bodyPr/>
                  <a:lstStyle/>
                  <a:p>
                    <a:r>
                      <a:t>100.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39D-40F9-B2C1-C404F672C8EB}"/>
                </c:ext>
              </c:extLst>
            </c:dLbl>
            <c:dLbl>
              <c:idx val="14"/>
              <c:tx>
                <c:rich>
                  <a:bodyPr/>
                  <a:lstStyle/>
                  <a:p>
                    <a:r>
                      <a:t>345.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39D-40F9-B2C1-C404F672C8E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MG RUINART BRUT SECOND SKIN 1CT X 1500ML</c:v>
                </c:pt>
                <c:pt idx="10">
                  <c:v>DEUTZ CLASSIC BRUT 1CT X 750ML</c:v>
                </c:pt>
                <c:pt idx="11">
                  <c:v>ROEDERER BRUT COLLECTION 245 1CT X 750ML</c:v>
                </c:pt>
                <c:pt idx="12">
                  <c:v>DEUTZ ROSE 1CT X 750ML</c:v>
                </c:pt>
                <c:pt idx="13">
                  <c:v>MG DEUTZ CLASSIC 1CT X 1500ML</c:v>
                </c:pt>
                <c:pt idx="14">
                  <c:v>ROEDERER CRISTAL BRUT 2016 1CT X 750ML</c:v>
                </c:pt>
              </c:strCache>
            </c:strRef>
          </c:cat>
          <c:val>
            <c:numRef>
              <c:f>Sheet1!$B$2:$B$16</c:f>
              <c:numCache>
                <c:formatCode>General</c:formatCode>
                <c:ptCount val="15"/>
                <c:pt idx="0">
                  <c:v>21.81</c:v>
                </c:pt>
                <c:pt idx="1">
                  <c:v>39.020000000000003</c:v>
                </c:pt>
                <c:pt idx="2">
                  <c:v>24.91</c:v>
                </c:pt>
                <c:pt idx="3">
                  <c:v>37.07</c:v>
                </c:pt>
                <c:pt idx="4">
                  <c:v>42.78</c:v>
                </c:pt>
                <c:pt idx="5">
                  <c:v>57.7</c:v>
                </c:pt>
                <c:pt idx="6">
                  <c:v>92.85</c:v>
                </c:pt>
                <c:pt idx="7">
                  <c:v>97.19</c:v>
                </c:pt>
                <c:pt idx="8">
                  <c:v>61.53</c:v>
                </c:pt>
                <c:pt idx="9">
                  <c:v>138.58000000000001</c:v>
                </c:pt>
                <c:pt idx="10">
                  <c:v>49.85</c:v>
                </c:pt>
                <c:pt idx="11">
                  <c:v>58.67</c:v>
                </c:pt>
                <c:pt idx="12">
                  <c:v>62.41</c:v>
                </c:pt>
                <c:pt idx="13">
                  <c:v>100.25</c:v>
                </c:pt>
                <c:pt idx="14">
                  <c:v>345.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76-4676-8A5F-59EB6B67545B}"/>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776-4676-8A5F-59EB6B67545B}"/>
                </c:ext>
              </c:extLst>
            </c:dLbl>
            <c:dLbl>
              <c:idx val="2"/>
              <c:tx>
                <c:rich>
                  <a:bodyPr/>
                  <a:lstStyle/>
                  <a:p>
                    <a:r>
                      <a:t>37.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776-4676-8A5F-59EB6B67545B}"/>
                </c:ext>
              </c:extLst>
            </c:dLbl>
            <c:dLbl>
              <c:idx val="3"/>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776-4676-8A5F-59EB6B67545B}"/>
                </c:ext>
              </c:extLst>
            </c:dLbl>
            <c:dLbl>
              <c:idx val="4"/>
              <c:tx>
                <c:rich>
                  <a:bodyPr/>
                  <a:lstStyle/>
                  <a:p>
                    <a:r>
                      <a:t>2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776-4676-8A5F-59EB6B67545B}"/>
                </c:ext>
              </c:extLst>
            </c:dLbl>
            <c:dLbl>
              <c:idx val="5"/>
              <c:tx>
                <c:rich>
                  <a:bodyPr/>
                  <a:lstStyle/>
                  <a:p>
                    <a:r>
                      <a:t>5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776-4676-8A5F-59EB6B67545B}"/>
                </c:ext>
              </c:extLst>
            </c:dLbl>
            <c:dLbl>
              <c:idx val="6"/>
              <c:tx>
                <c:rich>
                  <a:bodyPr/>
                  <a:lstStyle/>
                  <a:p>
                    <a:r>
                      <a:t>9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776-4676-8A5F-59EB6B67545B}"/>
                </c:ext>
              </c:extLst>
            </c:dLbl>
            <c:dLbl>
              <c:idx val="7"/>
              <c:tx>
                <c:rich>
                  <a:bodyPr/>
                  <a:lstStyle/>
                  <a:p>
                    <a:r>
                      <a:t>252.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776-4676-8A5F-59EB6B67545B}"/>
                </c:ext>
              </c:extLst>
            </c:dLbl>
            <c:dLbl>
              <c:idx val="8"/>
              <c:tx>
                <c:rich>
                  <a:bodyPr/>
                  <a:lstStyle/>
                  <a:p>
                    <a:r>
                      <a:t>9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776-4676-8A5F-59EB6B67545B}"/>
                </c:ext>
              </c:extLst>
            </c:dLbl>
            <c:dLbl>
              <c:idx val="9"/>
              <c:tx>
                <c:rich>
                  <a:bodyPr/>
                  <a:lstStyle/>
                  <a:p>
                    <a:r>
                      <a:t>5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776-4676-8A5F-59EB6B67545B}"/>
                </c:ext>
              </c:extLst>
            </c:dLbl>
            <c:dLbl>
              <c:idx val="10"/>
              <c:tx>
                <c:rich>
                  <a:bodyPr/>
                  <a:lstStyle/>
                  <a:p>
                    <a:r>
                      <a:t>4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776-4676-8A5F-59EB6B67545B}"/>
                </c:ext>
              </c:extLst>
            </c:dLbl>
            <c:dLbl>
              <c:idx val="11"/>
              <c:tx>
                <c:rich>
                  <a:bodyPr/>
                  <a:lstStyle/>
                  <a:p>
                    <a:r>
                      <a:t>58.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776-4676-8A5F-59EB6B67545B}"/>
                </c:ext>
              </c:extLst>
            </c:dLbl>
            <c:dLbl>
              <c:idx val="12"/>
              <c:tx>
                <c:rich>
                  <a:bodyPr/>
                  <a:lstStyle/>
                  <a:p>
                    <a:r>
                      <a:t>324.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776-4676-8A5F-59EB6B67545B}"/>
                </c:ext>
              </c:extLst>
            </c:dLbl>
            <c:dLbl>
              <c:idx val="13"/>
              <c:tx>
                <c:rich>
                  <a:bodyPr/>
                  <a:lstStyle/>
                  <a:p>
                    <a:r>
                      <a:t>62.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776-4676-8A5F-59EB6B67545B}"/>
                </c:ext>
              </c:extLst>
            </c:dLbl>
            <c:dLbl>
              <c:idx val="14"/>
              <c:tx>
                <c:rich>
                  <a:bodyPr/>
                  <a:lstStyle/>
                  <a:p>
                    <a:r>
                      <a:t>98.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776-4676-8A5F-59EB6B67545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RUINART BRUT (NUE) 1CT X 750ML</c:v>
                </c:pt>
                <c:pt idx="6">
                  <c:v>RUINART BLANC DE BLANCS (NUE) 1CT X 750ML</c:v>
                </c:pt>
                <c:pt idx="7">
                  <c:v>DOM PERIGNON 2015 1CT X 750ML</c:v>
                </c:pt>
                <c:pt idx="8">
                  <c:v>RUINART BLANC DE BLANCS SECOND 1CT X 750ML</c:v>
                </c:pt>
                <c:pt idx="9">
                  <c:v>VEUVE CLICQUOT RESERV CUVEE NB 1CT X 750ML</c:v>
                </c:pt>
                <c:pt idx="10">
                  <c:v>DEUTZ CLASSIC BRUT 1CT X 750ML</c:v>
                </c:pt>
                <c:pt idx="11">
                  <c:v>ROEDERER BRUT COLLECTION 245 1CT X 750ML</c:v>
                </c:pt>
                <c:pt idx="12">
                  <c:v>ROEDERER CRISTAL BRUT 2016 1CT X 750ML</c:v>
                </c:pt>
                <c:pt idx="13">
                  <c:v>DEUTZ ROSE 1CT X 750ML</c:v>
                </c:pt>
                <c:pt idx="14">
                  <c:v>MG DEUTZ CLASSIC 1CT X 1500ML</c:v>
                </c:pt>
              </c:strCache>
            </c:strRef>
          </c:cat>
          <c:val>
            <c:numRef>
              <c:f>Sheet1!$B$2:$B$16</c:f>
              <c:numCache>
                <c:formatCode>General</c:formatCode>
                <c:ptCount val="15"/>
                <c:pt idx="0">
                  <c:v>21.92</c:v>
                </c:pt>
                <c:pt idx="1">
                  <c:v>38.979999999999997</c:v>
                </c:pt>
                <c:pt idx="2">
                  <c:v>37.26</c:v>
                </c:pt>
                <c:pt idx="3">
                  <c:v>25.01</c:v>
                </c:pt>
                <c:pt idx="4">
                  <c:v>22.3</c:v>
                </c:pt>
                <c:pt idx="5">
                  <c:v>57.9</c:v>
                </c:pt>
                <c:pt idx="6">
                  <c:v>93.15</c:v>
                </c:pt>
                <c:pt idx="7">
                  <c:v>252.15</c:v>
                </c:pt>
                <c:pt idx="8">
                  <c:v>96.97</c:v>
                </c:pt>
                <c:pt idx="9">
                  <c:v>51.97</c:v>
                </c:pt>
                <c:pt idx="10">
                  <c:v>49.98</c:v>
                </c:pt>
                <c:pt idx="11">
                  <c:v>58.95</c:v>
                </c:pt>
                <c:pt idx="12">
                  <c:v>324.39</c:v>
                </c:pt>
                <c:pt idx="13">
                  <c:v>62.13</c:v>
                </c:pt>
                <c:pt idx="14">
                  <c:v>98.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833-4D3C-B20A-A8CE8D1B7482}"/>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833-4D3C-B20A-A8CE8D1B7482}"/>
                </c:ext>
              </c:extLst>
            </c:dLbl>
            <c:dLbl>
              <c:idx val="2"/>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833-4D3C-B20A-A8CE8D1B7482}"/>
                </c:ext>
              </c:extLst>
            </c:dLbl>
            <c:dLbl>
              <c:idx val="3"/>
              <c:tx>
                <c:rich>
                  <a:bodyPr/>
                  <a:lstStyle/>
                  <a:p>
                    <a:r>
                      <a:t>36.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833-4D3C-B20A-A8CE8D1B7482}"/>
                </c:ext>
              </c:extLst>
            </c:dLbl>
            <c:dLbl>
              <c:idx val="4"/>
              <c:tx>
                <c:rich>
                  <a:bodyPr/>
                  <a:lstStyle/>
                  <a:p>
                    <a:r>
                      <a:t>4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833-4D3C-B20A-A8CE8D1B7482}"/>
                </c:ext>
              </c:extLst>
            </c:dLbl>
            <c:dLbl>
              <c:idx val="5"/>
              <c:tx>
                <c:rich>
                  <a:bodyPr/>
                  <a:lstStyle/>
                  <a:p>
                    <a:r>
                      <a:t>44.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833-4D3C-B20A-A8CE8D1B7482}"/>
                </c:ext>
              </c:extLst>
            </c:dLbl>
            <c:dLbl>
              <c:idx val="6"/>
              <c:tx>
                <c:rich>
                  <a:bodyPr/>
                  <a:lstStyle/>
                  <a:p>
                    <a:r>
                      <a:t>8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833-4D3C-B20A-A8CE8D1B7482}"/>
                </c:ext>
              </c:extLst>
            </c:dLbl>
            <c:dLbl>
              <c:idx val="7"/>
              <c:tx>
                <c:rich>
                  <a:bodyPr/>
                  <a:lstStyle/>
                  <a:p>
                    <a:r>
                      <a:t>79.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833-4D3C-B20A-A8CE8D1B7482}"/>
                </c:ext>
              </c:extLst>
            </c:dLbl>
            <c:dLbl>
              <c:idx val="8"/>
              <c:tx>
                <c:rich>
                  <a:bodyPr/>
                  <a:lstStyle/>
                  <a:p>
                    <a:r>
                      <a:t>57.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833-4D3C-B20A-A8CE8D1B7482}"/>
                </c:ext>
              </c:extLst>
            </c:dLbl>
            <c:dLbl>
              <c:idx val="9"/>
              <c:tx>
                <c:rich>
                  <a:bodyPr/>
                  <a:lstStyle/>
                  <a:p>
                    <a:r>
                      <a:t>64.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833-4D3C-B20A-A8CE8D1B7482}"/>
                </c:ext>
              </c:extLst>
            </c:dLbl>
            <c:dLbl>
              <c:idx val="10"/>
              <c:tx>
                <c:rich>
                  <a:bodyPr/>
                  <a:lstStyle/>
                  <a:p>
                    <a:r>
                      <a:t>9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833-4D3C-B20A-A8CE8D1B7482}"/>
                </c:ext>
              </c:extLst>
            </c:dLbl>
            <c:dLbl>
              <c:idx val="11"/>
              <c:tx>
                <c:rich>
                  <a:bodyPr/>
                  <a:lstStyle/>
                  <a:p>
                    <a:r>
                      <a:t>58.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833-4D3C-B20A-A8CE8D1B7482}"/>
                </c:ext>
              </c:extLst>
            </c:dLbl>
            <c:dLbl>
              <c:idx val="12"/>
              <c:tx>
                <c:rich>
                  <a:bodyPr/>
                  <a:lstStyle/>
                  <a:p>
                    <a:r>
                      <a:t>44.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833-4D3C-B20A-A8CE8D1B7482}"/>
                </c:ext>
              </c:extLst>
            </c:dLbl>
            <c:dLbl>
              <c:idx val="13"/>
              <c:tx>
                <c:rich>
                  <a:bodyPr/>
                  <a:lstStyle/>
                  <a:p>
                    <a:r>
                      <a:t>9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833-4D3C-B20A-A8CE8D1B7482}"/>
                </c:ext>
              </c:extLst>
            </c:dLbl>
            <c:dLbl>
              <c:idx val="14"/>
              <c:tx>
                <c:rich>
                  <a:bodyPr/>
                  <a:lstStyle/>
                  <a:p>
                    <a:r>
                      <a:t>5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833-4D3C-B20A-A8CE8D1B7482}"/>
                </c:ext>
              </c:extLst>
            </c:dLbl>
            <c:dLbl>
              <c:idx val="15"/>
              <c:tx>
                <c:rich>
                  <a:bodyPr/>
                  <a:lstStyle/>
                  <a:p>
                    <a:r>
                      <a:t>50.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0833-4D3C-B20A-A8CE8D1B7482}"/>
                </c:ext>
              </c:extLst>
            </c:dLbl>
            <c:dLbl>
              <c:idx val="16"/>
              <c:tx>
                <c:rich>
                  <a:bodyPr/>
                  <a:lstStyle/>
                  <a:p>
                    <a:r>
                      <a:t>62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0833-4D3C-B20A-A8CE8D1B7482}"/>
                </c:ext>
              </c:extLst>
            </c:dLbl>
            <c:dLbl>
              <c:idx val="17"/>
              <c:tx>
                <c:rich>
                  <a:bodyPr/>
                  <a:lstStyle/>
                  <a:p>
                    <a:r>
                      <a:t>58.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0833-4D3C-B20A-A8CE8D1B7482}"/>
                </c:ext>
              </c:extLst>
            </c:dLbl>
            <c:dLbl>
              <c:idx val="18"/>
              <c:tx>
                <c:rich>
                  <a:bodyPr/>
                  <a:lstStyle/>
                  <a:p>
                    <a:r>
                      <a:t>62.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0833-4D3C-B20A-A8CE8D1B7482}"/>
                </c:ext>
              </c:extLst>
            </c:dLbl>
            <c:dLbl>
              <c:idx val="19"/>
              <c:tx>
                <c:rich>
                  <a:bodyPr/>
                  <a:lstStyle/>
                  <a:p>
                    <a:r>
                      <a:t>101.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0833-4D3C-B20A-A8CE8D1B748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RUINART BLANC DE BLANCS (NUE) 1CT X 750ML</c:v>
                </c:pt>
                <c:pt idx="11">
                  <c:v>RUINART BRUT (NUE) 1CT X 750ML</c:v>
                </c:pt>
                <c:pt idx="12">
                  <c:v>MOET &amp; CHANDON RES IMP EX BRUT 1CT X 750ML</c:v>
                </c:pt>
                <c:pt idx="13">
                  <c:v>RUINART BLANC DE BLANCS SECOND 1CT X 750ML</c:v>
                </c:pt>
                <c:pt idx="14">
                  <c:v>VEUVE CLICQUOT RESERV CUVEE NB 1CT X 750ML</c:v>
                </c:pt>
                <c:pt idx="15">
                  <c:v>DEUTZ CLASSIC BRUT 1CT X 750ML</c:v>
                </c:pt>
                <c:pt idx="16">
                  <c:v>ROEDERER CRISTAL ROSE 2014 1CT X 750ML</c:v>
                </c:pt>
                <c:pt idx="17">
                  <c:v>ROEDERER BRUT COLLECTION 245 1CT X 750ML</c:v>
                </c:pt>
                <c:pt idx="18">
                  <c:v>DEUTZ ROSE 1CT X 750ML</c:v>
                </c:pt>
                <c:pt idx="19">
                  <c:v>MG DEUTZ CLASSIC 1CT X 1500ML</c:v>
                </c:pt>
              </c:strCache>
            </c:strRef>
          </c:cat>
          <c:val>
            <c:numRef>
              <c:f>Sheet1!$B$2:$B$21</c:f>
              <c:numCache>
                <c:formatCode>General</c:formatCode>
                <c:ptCount val="20"/>
                <c:pt idx="0">
                  <c:v>21.93</c:v>
                </c:pt>
                <c:pt idx="1">
                  <c:v>39.08</c:v>
                </c:pt>
                <c:pt idx="2">
                  <c:v>25.02</c:v>
                </c:pt>
                <c:pt idx="3">
                  <c:v>36.89</c:v>
                </c:pt>
                <c:pt idx="4">
                  <c:v>46.93</c:v>
                </c:pt>
                <c:pt idx="5">
                  <c:v>44.64</c:v>
                </c:pt>
                <c:pt idx="6">
                  <c:v>85.28</c:v>
                </c:pt>
                <c:pt idx="7">
                  <c:v>79.84</c:v>
                </c:pt>
                <c:pt idx="8">
                  <c:v>57.69</c:v>
                </c:pt>
                <c:pt idx="9">
                  <c:v>64.09</c:v>
                </c:pt>
                <c:pt idx="10">
                  <c:v>92.88</c:v>
                </c:pt>
                <c:pt idx="11">
                  <c:v>58.24</c:v>
                </c:pt>
                <c:pt idx="12">
                  <c:v>44.93</c:v>
                </c:pt>
                <c:pt idx="13">
                  <c:v>97.84</c:v>
                </c:pt>
                <c:pt idx="14">
                  <c:v>51.44</c:v>
                </c:pt>
                <c:pt idx="15">
                  <c:v>50.01</c:v>
                </c:pt>
                <c:pt idx="16">
                  <c:v>620</c:v>
                </c:pt>
                <c:pt idx="17">
                  <c:v>58.87</c:v>
                </c:pt>
                <c:pt idx="18">
                  <c:v>62.17</c:v>
                </c:pt>
                <c:pt idx="19">
                  <c:v>101.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D17-4BBE-987A-FFAF630B9DA6}"/>
                </c:ext>
              </c:extLst>
            </c:dLbl>
            <c:dLbl>
              <c:idx val="1"/>
              <c:tx>
                <c:rich>
                  <a:bodyPr/>
                  <a:lstStyle/>
                  <a:p>
                    <a:r>
                      <a:t>39.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D17-4BBE-987A-FFAF630B9DA6}"/>
                </c:ext>
              </c:extLst>
            </c:dLbl>
            <c:dLbl>
              <c:idx val="2"/>
              <c:tx>
                <c:rich>
                  <a:bodyPr/>
                  <a:lstStyle/>
                  <a:p>
                    <a:r>
                      <a:t>2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D17-4BBE-987A-FFAF630B9DA6}"/>
                </c:ext>
              </c:extLst>
            </c:dLbl>
            <c:dLbl>
              <c:idx val="3"/>
              <c:tx>
                <c:rich>
                  <a:bodyPr/>
                  <a:lstStyle/>
                  <a:p>
                    <a:r>
                      <a:t>36.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D17-4BBE-987A-FFAF630B9DA6}"/>
                </c:ext>
              </c:extLst>
            </c:dLbl>
            <c:dLbl>
              <c:idx val="4"/>
              <c:tx>
                <c:rich>
                  <a:bodyPr/>
                  <a:lstStyle/>
                  <a:p>
                    <a:r>
                      <a:t>4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D17-4BBE-987A-FFAF630B9DA6}"/>
                </c:ext>
              </c:extLst>
            </c:dLbl>
            <c:dLbl>
              <c:idx val="5"/>
              <c:tx>
                <c:rich>
                  <a:bodyPr/>
                  <a:lstStyle/>
                  <a:p>
                    <a:r>
                      <a:t>100.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D17-4BBE-987A-FFAF630B9DA6}"/>
                </c:ext>
              </c:extLst>
            </c:dLbl>
            <c:dLbl>
              <c:idx val="6"/>
              <c:tx>
                <c:rich>
                  <a:bodyPr/>
                  <a:lstStyle/>
                  <a:p>
                    <a:r>
                      <a:t>57.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D17-4BBE-987A-FFAF630B9DA6}"/>
                </c:ext>
              </c:extLst>
            </c:dLbl>
            <c:dLbl>
              <c:idx val="7"/>
              <c:tx>
                <c:rich>
                  <a:bodyPr/>
                  <a:lstStyle/>
                  <a:p>
                    <a:r>
                      <a:t>96.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D17-4BBE-987A-FFAF630B9DA6}"/>
                </c:ext>
              </c:extLst>
            </c:dLbl>
            <c:dLbl>
              <c:idx val="8"/>
              <c:tx>
                <c:rich>
                  <a:bodyPr/>
                  <a:lstStyle/>
                  <a:p>
                    <a:r>
                      <a:t>61.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D17-4BBE-987A-FFAF630B9DA6}"/>
                </c:ext>
              </c:extLst>
            </c:dLbl>
            <c:dLbl>
              <c:idx val="9"/>
              <c:tx>
                <c:rich>
                  <a:bodyPr/>
                  <a:lstStyle/>
                  <a:p>
                    <a:r>
                      <a:t>25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D17-4BBE-987A-FFAF630B9DA6}"/>
                </c:ext>
              </c:extLst>
            </c:dLbl>
            <c:dLbl>
              <c:idx val="10"/>
              <c:tx>
                <c:rich>
                  <a:bodyPr/>
                  <a:lstStyle/>
                  <a:p>
                    <a:r>
                      <a:t>50.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D17-4BBE-987A-FFAF630B9DA6}"/>
                </c:ext>
              </c:extLst>
            </c:dLbl>
            <c:dLbl>
              <c:idx val="11"/>
              <c:tx>
                <c:rich>
                  <a:bodyPr/>
                  <a:lstStyle/>
                  <a:p>
                    <a:r>
                      <a:t>59.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D17-4BBE-987A-FFAF630B9DA6}"/>
                </c:ext>
              </c:extLst>
            </c:dLbl>
            <c:dLbl>
              <c:idx val="12"/>
              <c:tx>
                <c:rich>
                  <a:bodyPr/>
                  <a:lstStyle/>
                  <a:p>
                    <a:r>
                      <a:t>101.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D17-4BBE-987A-FFAF630B9DA6}"/>
                </c:ext>
              </c:extLst>
            </c:dLbl>
            <c:dLbl>
              <c:idx val="13"/>
              <c:tx>
                <c:rich>
                  <a:bodyPr/>
                  <a:lstStyle/>
                  <a:p>
                    <a:r>
                      <a:t>62.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D17-4BBE-987A-FFAF630B9DA6}"/>
                </c:ext>
              </c:extLst>
            </c:dLbl>
            <c:dLbl>
              <c:idx val="14"/>
              <c:tx>
                <c:rich>
                  <a:bodyPr/>
                  <a:lstStyle/>
                  <a:p>
                    <a:r>
                      <a:t>123.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D17-4BBE-987A-FFAF630B9DA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LANC DE BLANCS (NUE) 1CT X 750ML</c:v>
                </c:pt>
                <c:pt idx="6">
                  <c:v>RUINART BRUT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9.590000000000003</c:v>
                </c:pt>
                <c:pt idx="2">
                  <c:v>25.1</c:v>
                </c:pt>
                <c:pt idx="3">
                  <c:v>36.22</c:v>
                </c:pt>
                <c:pt idx="4">
                  <c:v>41.44</c:v>
                </c:pt>
                <c:pt idx="5">
                  <c:v>100.91</c:v>
                </c:pt>
                <c:pt idx="6">
                  <c:v>57.67</c:v>
                </c:pt>
                <c:pt idx="7">
                  <c:v>96.87</c:v>
                </c:pt>
                <c:pt idx="8">
                  <c:v>61.84</c:v>
                </c:pt>
                <c:pt idx="9">
                  <c:v>259.39999999999998</c:v>
                </c:pt>
                <c:pt idx="10">
                  <c:v>50.02</c:v>
                </c:pt>
                <c:pt idx="11">
                  <c:v>59.31</c:v>
                </c:pt>
                <c:pt idx="12">
                  <c:v>101.27</c:v>
                </c:pt>
                <c:pt idx="13">
                  <c:v>62.47</c:v>
                </c:pt>
                <c:pt idx="14">
                  <c:v>123.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D77-441B-B443-47B240BBCEBC}"/>
                </c:ext>
              </c:extLst>
            </c:dLbl>
            <c:dLbl>
              <c:idx val="1"/>
              <c:tx>
                <c:rich>
                  <a:bodyPr/>
                  <a:lstStyle/>
                  <a:p>
                    <a:r>
                      <a:t>3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D77-441B-B443-47B240BBCEBC}"/>
                </c:ext>
              </c:extLst>
            </c:dLbl>
            <c:dLbl>
              <c:idx val="2"/>
              <c:tx>
                <c:rich>
                  <a:bodyPr/>
                  <a:lstStyle/>
                  <a:p>
                    <a:r>
                      <a:t>2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D77-441B-B443-47B240BBCEBC}"/>
                </c:ext>
              </c:extLst>
            </c:dLbl>
            <c:dLbl>
              <c:idx val="3"/>
              <c:tx>
                <c:rich>
                  <a:bodyPr/>
                  <a:lstStyle/>
                  <a:p>
                    <a:r>
                      <a:t>36.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D77-441B-B443-47B240BBCEBC}"/>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D77-441B-B443-47B240BBCEBC}"/>
                </c:ext>
              </c:extLst>
            </c:dLbl>
            <c:dLbl>
              <c:idx val="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D77-441B-B443-47B240BBCEBC}"/>
                </c:ext>
              </c:extLst>
            </c:dLbl>
            <c:dLbl>
              <c:idx val="6"/>
              <c:tx>
                <c:rich>
                  <a:bodyPr/>
                  <a:lstStyle/>
                  <a:p>
                    <a:r>
                      <a:t>9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D77-441B-B443-47B240BBCEBC}"/>
                </c:ext>
              </c:extLst>
            </c:dLbl>
            <c:dLbl>
              <c:idx val="7"/>
              <c:tx>
                <c:rich>
                  <a:bodyPr/>
                  <a:lstStyle/>
                  <a:p>
                    <a:r>
                      <a:t>51.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D77-441B-B443-47B240BBCEBC}"/>
                </c:ext>
              </c:extLst>
            </c:dLbl>
            <c:dLbl>
              <c:idx val="8"/>
              <c:tx>
                <c:rich>
                  <a:bodyPr/>
                  <a:lstStyle/>
                  <a:p>
                    <a:r>
                      <a:t>97.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D77-441B-B443-47B240BBCEBC}"/>
                </c:ext>
              </c:extLst>
            </c:dLbl>
            <c:dLbl>
              <c:idx val="9"/>
              <c:tx>
                <c:rich>
                  <a:bodyPr/>
                  <a:lstStyle/>
                  <a:p>
                    <a:r>
                      <a:t>44.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D77-441B-B443-47B240BBCEBC}"/>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D77-441B-B443-47B240BBCEBC}"/>
                </c:ext>
              </c:extLst>
            </c:dLbl>
            <c:dLbl>
              <c:idx val="11"/>
              <c:tx>
                <c:rich>
                  <a:bodyPr/>
                  <a:lstStyle/>
                  <a:p>
                    <a:r>
                      <a:t>58.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D77-441B-B443-47B240BBCEBC}"/>
                </c:ext>
              </c:extLst>
            </c:dLbl>
            <c:dLbl>
              <c:idx val="12"/>
              <c:tx>
                <c:rich>
                  <a:bodyPr/>
                  <a:lstStyle/>
                  <a:p>
                    <a:r>
                      <a:t>62.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D77-441B-B443-47B240BBCEBC}"/>
                </c:ext>
              </c:extLst>
            </c:dLbl>
            <c:dLbl>
              <c:idx val="13"/>
              <c:tx>
                <c:rich>
                  <a:bodyPr/>
                  <a:lstStyle/>
                  <a:p>
                    <a:r>
                      <a:t>100.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D77-441B-B443-47B240BBCEBC}"/>
                </c:ext>
              </c:extLst>
            </c:dLbl>
            <c:dLbl>
              <c:idx val="14"/>
              <c:tx>
                <c:rich>
                  <a:bodyPr/>
                  <a:lstStyle/>
                  <a:p>
                    <a:r>
                      <a:t>28.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D77-441B-B443-47B240BBCEB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VEUVE CLICQUOT RESERV CUVEE NB 1CT X 750ML</c:v>
                </c:pt>
                <c:pt idx="8">
                  <c:v>RUINART BLANC DE BLANCS SECOND 1CT X 750ML</c:v>
                </c:pt>
                <c:pt idx="9">
                  <c:v>MOET &amp; CHANDON RES IMP EX BRUT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92</c:v>
                </c:pt>
                <c:pt idx="1">
                  <c:v>39</c:v>
                </c:pt>
                <c:pt idx="2">
                  <c:v>25</c:v>
                </c:pt>
                <c:pt idx="3">
                  <c:v>36.99</c:v>
                </c:pt>
                <c:pt idx="4">
                  <c:v>41.37</c:v>
                </c:pt>
                <c:pt idx="5">
                  <c:v>57.87</c:v>
                </c:pt>
                <c:pt idx="6">
                  <c:v>92.9</c:v>
                </c:pt>
                <c:pt idx="7">
                  <c:v>51.62</c:v>
                </c:pt>
                <c:pt idx="8">
                  <c:v>97.18</c:v>
                </c:pt>
                <c:pt idx="9">
                  <c:v>44.76</c:v>
                </c:pt>
                <c:pt idx="10">
                  <c:v>49.96</c:v>
                </c:pt>
                <c:pt idx="11">
                  <c:v>58.97</c:v>
                </c:pt>
                <c:pt idx="12">
                  <c:v>62.66</c:v>
                </c:pt>
                <c:pt idx="13">
                  <c:v>100.08</c:v>
                </c:pt>
                <c:pt idx="14">
                  <c:v>28.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01B-4DFD-8562-CCB67C18E861}"/>
                </c:ext>
              </c:extLst>
            </c:dLbl>
            <c:dLbl>
              <c:idx val="1"/>
              <c:tx>
                <c:rich>
                  <a:bodyPr/>
                  <a:lstStyle/>
                  <a:p>
                    <a:r>
                      <a:rPr lang="en-US"/>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01B-4DFD-8562-CCB67C18E861}"/>
                </c:ext>
              </c:extLst>
            </c:dLbl>
            <c:dLbl>
              <c:idx val="2"/>
              <c:tx>
                <c:rich>
                  <a:bodyPr/>
                  <a:lstStyle/>
                  <a:p>
                    <a:r>
                      <a:rPr lang="en-US"/>
                      <a:t>3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01B-4DFD-8562-CCB67C18E861}"/>
                </c:ext>
              </c:extLst>
            </c:dLbl>
            <c:dLbl>
              <c:idx val="3"/>
              <c:tx>
                <c:rich>
                  <a:bodyPr/>
                  <a:lstStyle/>
                  <a:p>
                    <a:r>
                      <a:rPr lang="en-US"/>
                      <a:t>2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01B-4DFD-8562-CCB67C18E861}"/>
                </c:ext>
              </c:extLst>
            </c:dLbl>
            <c:dLbl>
              <c:idx val="4"/>
              <c:tx>
                <c:rich>
                  <a:bodyPr/>
                  <a:lstStyle/>
                  <a:p>
                    <a:r>
                      <a:rPr lang="en-US"/>
                      <a:t>41.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01B-4DFD-8562-CCB67C18E861}"/>
                </c:ext>
              </c:extLst>
            </c:dLbl>
            <c:dLbl>
              <c:idx val="5"/>
              <c:tx>
                <c:rich>
                  <a:bodyPr/>
                  <a:lstStyle/>
                  <a:p>
                    <a:r>
                      <a:rPr lang="en-US"/>
                      <a:t>4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01B-4DFD-8562-CCB67C18E861}"/>
                </c:ext>
              </c:extLst>
            </c:dLbl>
            <c:dLbl>
              <c:idx val="6"/>
              <c:tx>
                <c:rich>
                  <a:bodyPr/>
                  <a:lstStyle/>
                  <a:p>
                    <a:r>
                      <a:rPr lang="en-US"/>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01B-4DFD-8562-CCB67C18E861}"/>
                </c:ext>
              </c:extLst>
            </c:dLbl>
            <c:dLbl>
              <c:idx val="7"/>
              <c:tx>
                <c:rich>
                  <a:bodyPr/>
                  <a:lstStyle/>
                  <a:p>
                    <a:r>
                      <a:rPr lang="en-US"/>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01B-4DFD-8562-CCB67C18E861}"/>
                </c:ext>
              </c:extLst>
            </c:dLbl>
            <c:dLbl>
              <c:idx val="8"/>
              <c:tx>
                <c:rich>
                  <a:bodyPr/>
                  <a:lstStyle/>
                  <a:p>
                    <a:r>
                      <a:rPr lang="en-US"/>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01B-4DFD-8562-CCB67C18E861}"/>
                </c:ext>
              </c:extLst>
            </c:dLbl>
            <c:dLbl>
              <c:idx val="9"/>
              <c:tx>
                <c:rich>
                  <a:bodyPr/>
                  <a:lstStyle/>
                  <a:p>
                    <a:r>
                      <a:rPr lang="en-US"/>
                      <a:t>24.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01B-4DFD-8562-CCB67C18E861}"/>
                </c:ext>
              </c:extLst>
            </c:dLbl>
            <c:dLbl>
              <c:idx val="10"/>
              <c:tx>
                <c:rich>
                  <a:bodyPr/>
                  <a:lstStyle/>
                  <a:p>
                    <a:r>
                      <a:rPr lang="en-US"/>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01B-4DFD-8562-CCB67C18E861}"/>
                </c:ext>
              </c:extLst>
            </c:dLbl>
            <c:dLbl>
              <c:idx val="11"/>
              <c:tx>
                <c:rich>
                  <a:bodyPr/>
                  <a:lstStyle/>
                  <a:p>
                    <a:r>
                      <a:rPr lang="en-US"/>
                      <a:t>8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01B-4DFD-8562-CCB67C18E861}"/>
                </c:ext>
              </c:extLst>
            </c:dLbl>
            <c:dLbl>
              <c:idx val="12"/>
              <c:tx>
                <c:rich>
                  <a:bodyPr/>
                  <a:lstStyle/>
                  <a:p>
                    <a:r>
                      <a:rPr lang="en-US"/>
                      <a:t>3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01B-4DFD-8562-CCB67C18E861}"/>
                </c:ext>
              </c:extLst>
            </c:dLbl>
            <c:dLbl>
              <c:idx val="13"/>
              <c:tx>
                <c:rich>
                  <a:bodyPr/>
                  <a:lstStyle/>
                  <a:p>
                    <a:r>
                      <a:rPr lang="en-US"/>
                      <a:t>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01B-4DFD-8562-CCB67C18E86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CHAMPAGNE NICOLAS 1ER CRU BS 1CT X 750ML</c:v>
                </c:pt>
                <c:pt idx="13">
                  <c:v>MG CHAMPAGNE NICOLAS 1ERE CUVE 1CT X 1500ML</c:v>
                </c:pt>
              </c:strCache>
            </c:strRef>
          </c:cat>
          <c:val>
            <c:numRef>
              <c:f>Sheet1!$B$2:$B$15</c:f>
              <c:numCache>
                <c:formatCode>General</c:formatCode>
                <c:ptCount val="14"/>
                <c:pt idx="0">
                  <c:v>21.92</c:v>
                </c:pt>
                <c:pt idx="1">
                  <c:v>39.090000000000003</c:v>
                </c:pt>
                <c:pt idx="2">
                  <c:v>36.92</c:v>
                </c:pt>
                <c:pt idx="3">
                  <c:v>25.12</c:v>
                </c:pt>
                <c:pt idx="4">
                  <c:v>41.31</c:v>
                </c:pt>
                <c:pt idx="5">
                  <c:v>45.55</c:v>
                </c:pt>
                <c:pt idx="6">
                  <c:v>22.34</c:v>
                </c:pt>
                <c:pt idx="7">
                  <c:v>36.46</c:v>
                </c:pt>
                <c:pt idx="8">
                  <c:v>46.56</c:v>
                </c:pt>
                <c:pt idx="9">
                  <c:v>24.37</c:v>
                </c:pt>
                <c:pt idx="10">
                  <c:v>23.86</c:v>
                </c:pt>
                <c:pt idx="11">
                  <c:v>89.67</c:v>
                </c:pt>
                <c:pt idx="12">
                  <c:v>37.69</c:v>
                </c:pt>
                <c:pt idx="13">
                  <c:v>75.099999999999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5BE-4A91-8C82-D60928C21F24}"/>
                </c:ext>
              </c:extLst>
            </c:dLbl>
            <c:dLbl>
              <c:idx val="1"/>
              <c:tx>
                <c:rich>
                  <a:bodyPr/>
                  <a:lstStyle/>
                  <a:p>
                    <a:r>
                      <a:t>3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5BE-4A91-8C82-D60928C21F24}"/>
                </c:ext>
              </c:extLst>
            </c:dLbl>
            <c:dLbl>
              <c:idx val="2"/>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5BE-4A91-8C82-D60928C21F24}"/>
                </c:ext>
              </c:extLst>
            </c:dLbl>
            <c:dLbl>
              <c:idx val="3"/>
              <c:tx>
                <c:rich>
                  <a:bodyPr/>
                  <a:lstStyle/>
                  <a:p>
                    <a:r>
                      <a:t>25.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5BE-4A91-8C82-D60928C21F24}"/>
                </c:ext>
              </c:extLst>
            </c:dLbl>
            <c:dLbl>
              <c:idx val="4"/>
              <c:tx>
                <c:rich>
                  <a:bodyPr/>
                  <a:lstStyle/>
                  <a:p>
                    <a:r>
                      <a:t>4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5BE-4A91-8C82-D60928C21F24}"/>
                </c:ext>
              </c:extLst>
            </c:dLbl>
            <c:dLbl>
              <c:idx val="5"/>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5BE-4A91-8C82-D60928C21F24}"/>
                </c:ext>
              </c:extLst>
            </c:dLbl>
            <c:dLbl>
              <c:idx val="6"/>
              <c:tx>
                <c:rich>
                  <a:bodyPr/>
                  <a:lstStyle/>
                  <a:p>
                    <a:r>
                      <a:t>57.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5BE-4A91-8C82-D60928C21F24}"/>
                </c:ext>
              </c:extLst>
            </c:dLbl>
            <c:dLbl>
              <c:idx val="7"/>
              <c:tx>
                <c:rich>
                  <a:bodyPr/>
                  <a:lstStyle/>
                  <a:p>
                    <a:r>
                      <a:t>96.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5BE-4A91-8C82-D60928C21F24}"/>
                </c:ext>
              </c:extLst>
            </c:dLbl>
            <c:dLbl>
              <c:idx val="8"/>
              <c:tx>
                <c:rich>
                  <a:bodyPr/>
                  <a:lstStyle/>
                  <a:p>
                    <a:r>
                      <a:t>251.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5BE-4A91-8C82-D60928C21F24}"/>
                </c:ext>
              </c:extLst>
            </c:dLbl>
            <c:dLbl>
              <c:idx val="9"/>
              <c:tx>
                <c:rich>
                  <a:bodyPr/>
                  <a:lstStyle/>
                  <a:p>
                    <a:r>
                      <a:t>6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5BE-4A91-8C82-D60928C21F24}"/>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5BE-4A91-8C82-D60928C21F24}"/>
                </c:ext>
              </c:extLst>
            </c:dLbl>
            <c:dLbl>
              <c:idx val="11"/>
              <c:tx>
                <c:rich>
                  <a:bodyPr/>
                  <a:lstStyle/>
                  <a:p>
                    <a:r>
                      <a:t>5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5BE-4A91-8C82-D60928C21F24}"/>
                </c:ext>
              </c:extLst>
            </c:dLbl>
            <c:dLbl>
              <c:idx val="12"/>
              <c:tx>
                <c:rich>
                  <a:bodyPr/>
                  <a:lstStyle/>
                  <a:p>
                    <a:r>
                      <a:t>10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5BE-4A91-8C82-D60928C21F24}"/>
                </c:ext>
              </c:extLst>
            </c:dLbl>
            <c:dLbl>
              <c:idx val="13"/>
              <c:tx>
                <c:rich>
                  <a:bodyPr/>
                  <a:lstStyle/>
                  <a:p>
                    <a:r>
                      <a:t>6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5BE-4A91-8C82-D60928C21F24}"/>
                </c:ext>
              </c:extLst>
            </c:dLbl>
            <c:dLbl>
              <c:idx val="14"/>
              <c:tx>
                <c:rich>
                  <a:bodyPr/>
                  <a:lstStyle/>
                  <a:p>
                    <a:r>
                      <a:t>35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5BE-4A91-8C82-D60928C21F2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LANC DE BLANCS (NUE) 1CT X 750ML</c:v>
                </c:pt>
                <c:pt idx="6">
                  <c:v>RUINART BRUT (NUE) 1CT X 750ML</c:v>
                </c:pt>
                <c:pt idx="7">
                  <c:v>RUINART BLANC DE BLANCS SECOND 1CT X 750ML</c:v>
                </c:pt>
                <c:pt idx="8">
                  <c:v>DOM PERIGNON 2015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2</c:v>
                </c:pt>
                <c:pt idx="1">
                  <c:v>39.200000000000003</c:v>
                </c:pt>
                <c:pt idx="2">
                  <c:v>37.29</c:v>
                </c:pt>
                <c:pt idx="3">
                  <c:v>25.16</c:v>
                </c:pt>
                <c:pt idx="4">
                  <c:v>40.729999999999997</c:v>
                </c:pt>
                <c:pt idx="5">
                  <c:v>95.19</c:v>
                </c:pt>
                <c:pt idx="6">
                  <c:v>57.77</c:v>
                </c:pt>
                <c:pt idx="7">
                  <c:v>96.67</c:v>
                </c:pt>
                <c:pt idx="8">
                  <c:v>251.98</c:v>
                </c:pt>
                <c:pt idx="9">
                  <c:v>62.43</c:v>
                </c:pt>
                <c:pt idx="10">
                  <c:v>49.96</c:v>
                </c:pt>
                <c:pt idx="11">
                  <c:v>59.03</c:v>
                </c:pt>
                <c:pt idx="12">
                  <c:v>100.73</c:v>
                </c:pt>
                <c:pt idx="13">
                  <c:v>61.37</c:v>
                </c:pt>
                <c:pt idx="14">
                  <c:v>35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7D1-44C9-9EFE-DBBD93A3A1F5}"/>
                </c:ext>
              </c:extLst>
            </c:dLbl>
            <c:dLbl>
              <c:idx val="1"/>
              <c:tx>
                <c:rich>
                  <a:bodyPr/>
                  <a:lstStyle/>
                  <a:p>
                    <a:r>
                      <a:t>37.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7D1-44C9-9EFE-DBBD93A3A1F5}"/>
                </c:ext>
              </c:extLst>
            </c:dLbl>
            <c:dLbl>
              <c:idx val="2"/>
              <c:tx>
                <c:rich>
                  <a:bodyPr/>
                  <a:lstStyle/>
                  <a:p>
                    <a:r>
                      <a:t>39.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7D1-44C9-9EFE-DBBD93A3A1F5}"/>
                </c:ext>
              </c:extLst>
            </c:dLbl>
            <c:dLbl>
              <c:idx val="3"/>
              <c:tx>
                <c:rich>
                  <a:bodyPr/>
                  <a:lstStyle/>
                  <a:p>
                    <a:r>
                      <a:t>2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7D1-44C9-9EFE-DBBD93A3A1F5}"/>
                </c:ext>
              </c:extLst>
            </c:dLbl>
            <c:dLbl>
              <c:idx val="4"/>
              <c:tx>
                <c:rich>
                  <a:bodyPr/>
                  <a:lstStyle/>
                  <a:p>
                    <a:r>
                      <a:t>42.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7D1-44C9-9EFE-DBBD93A3A1F5}"/>
                </c:ext>
              </c:extLst>
            </c:dLbl>
            <c:dLbl>
              <c:idx val="5"/>
              <c:tx>
                <c:rich>
                  <a:bodyPr/>
                  <a:lstStyle/>
                  <a:p>
                    <a:r>
                      <a:t>58.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7D1-44C9-9EFE-DBBD93A3A1F5}"/>
                </c:ext>
              </c:extLst>
            </c:dLbl>
            <c:dLbl>
              <c:idx val="6"/>
              <c:tx>
                <c:rich>
                  <a:bodyPr/>
                  <a:lstStyle/>
                  <a:p>
                    <a:r>
                      <a:t>9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7D1-44C9-9EFE-DBBD93A3A1F5}"/>
                </c:ext>
              </c:extLst>
            </c:dLbl>
            <c:dLbl>
              <c:idx val="7"/>
              <c:tx>
                <c:rich>
                  <a:bodyPr/>
                  <a:lstStyle/>
                  <a:p>
                    <a:r>
                      <a:t>95.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7D1-44C9-9EFE-DBBD93A3A1F5}"/>
                </c:ext>
              </c:extLst>
            </c:dLbl>
            <c:dLbl>
              <c:idx val="8"/>
              <c:tx>
                <c:rich>
                  <a:bodyPr/>
                  <a:lstStyle/>
                  <a:p>
                    <a:r>
                      <a:t>6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7D1-44C9-9EFE-DBBD93A3A1F5}"/>
                </c:ext>
              </c:extLst>
            </c:dLbl>
            <c:dLbl>
              <c:idx val="9"/>
              <c:tx>
                <c:rich>
                  <a:bodyPr/>
                  <a:lstStyle/>
                  <a:p>
                    <a:r>
                      <a:t>266.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7D1-44C9-9EFE-DBBD93A3A1F5}"/>
                </c:ext>
              </c:extLst>
            </c:dLbl>
            <c:dLbl>
              <c:idx val="10"/>
              <c:tx>
                <c:rich>
                  <a:bodyPr/>
                  <a:lstStyle/>
                  <a:p>
                    <a:r>
                      <a:t>4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7D1-44C9-9EFE-DBBD93A3A1F5}"/>
                </c:ext>
              </c:extLst>
            </c:dLbl>
            <c:dLbl>
              <c:idx val="11"/>
              <c:tx>
                <c:rich>
                  <a:bodyPr/>
                  <a:lstStyle/>
                  <a:p>
                    <a:r>
                      <a:t>58.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7D1-44C9-9EFE-DBBD93A3A1F5}"/>
                </c:ext>
              </c:extLst>
            </c:dLbl>
            <c:dLbl>
              <c:idx val="12"/>
              <c:tx>
                <c:rich>
                  <a:bodyPr/>
                  <a:lstStyle/>
                  <a:p>
                    <a:r>
                      <a:t>10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7D1-44C9-9EFE-DBBD93A3A1F5}"/>
                </c:ext>
              </c:extLst>
            </c:dLbl>
            <c:dLbl>
              <c:idx val="13"/>
              <c:tx>
                <c:rich>
                  <a:bodyPr/>
                  <a:lstStyle/>
                  <a:p>
                    <a:r>
                      <a:t>64.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7D1-44C9-9EFE-DBBD93A3A1F5}"/>
                </c:ext>
              </c:extLst>
            </c:dLbl>
            <c:dLbl>
              <c:idx val="14"/>
              <c:tx>
                <c:rich>
                  <a:bodyPr/>
                  <a:lstStyle/>
                  <a:p>
                    <a:r>
                      <a:t>116.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7D1-44C9-9EFE-DBBD93A3A1F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RUINART BRUT SECOND SKIN 1CT X 750ML</c:v>
                </c:pt>
                <c:pt idx="9">
                  <c:v>DOM PERIGNON 2015 1CT X 750ML</c:v>
                </c:pt>
                <c:pt idx="10">
                  <c:v>DEUTZ CLASSIC BRUT 1CT X 750ML</c:v>
                </c:pt>
                <c:pt idx="11">
                  <c:v>ROEDERER BRUT COLLECTION 245 1CT X 750ML</c:v>
                </c:pt>
                <c:pt idx="12">
                  <c:v>MG DEUTZ CLASSIC 1CT X 1500ML</c:v>
                </c:pt>
                <c:pt idx="13">
                  <c:v>DEUTZ ROSE 1CT X 750ML</c:v>
                </c:pt>
                <c:pt idx="14">
                  <c:v>MG ROEDERER BRUT COLLECT 244 1CT X 1500ML</c:v>
                </c:pt>
              </c:strCache>
            </c:strRef>
          </c:cat>
          <c:val>
            <c:numRef>
              <c:f>Sheet1!$B$2:$B$16</c:f>
              <c:numCache>
                <c:formatCode>General</c:formatCode>
                <c:ptCount val="15"/>
                <c:pt idx="0">
                  <c:v>21.94</c:v>
                </c:pt>
                <c:pt idx="1">
                  <c:v>37.090000000000003</c:v>
                </c:pt>
                <c:pt idx="2">
                  <c:v>39.229999999999997</c:v>
                </c:pt>
                <c:pt idx="3">
                  <c:v>25.28</c:v>
                </c:pt>
                <c:pt idx="4">
                  <c:v>42.73</c:v>
                </c:pt>
                <c:pt idx="5">
                  <c:v>58.22</c:v>
                </c:pt>
                <c:pt idx="6">
                  <c:v>93.33</c:v>
                </c:pt>
                <c:pt idx="7">
                  <c:v>95.56</c:v>
                </c:pt>
                <c:pt idx="8">
                  <c:v>61.44</c:v>
                </c:pt>
                <c:pt idx="9">
                  <c:v>266.04000000000002</c:v>
                </c:pt>
                <c:pt idx="10">
                  <c:v>49.79</c:v>
                </c:pt>
                <c:pt idx="11">
                  <c:v>58.62</c:v>
                </c:pt>
                <c:pt idx="12">
                  <c:v>101.52</c:v>
                </c:pt>
                <c:pt idx="13">
                  <c:v>64.53</c:v>
                </c:pt>
                <c:pt idx="14">
                  <c:v>116.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8BC-4A15-AA09-E990FEB0B512}"/>
                </c:ext>
              </c:extLst>
            </c:dLbl>
            <c:dLbl>
              <c:idx val="1"/>
              <c:tx>
                <c:rich>
                  <a:bodyPr/>
                  <a:lstStyle/>
                  <a:p>
                    <a:r>
                      <a:t>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8BC-4A15-AA09-E990FEB0B512}"/>
                </c:ext>
              </c:extLst>
            </c:dLbl>
            <c:dLbl>
              <c:idx val="2"/>
              <c:tx>
                <c:rich>
                  <a:bodyPr/>
                  <a:lstStyle/>
                  <a:p>
                    <a:r>
                      <a:t>38.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8BC-4A15-AA09-E990FEB0B512}"/>
                </c:ext>
              </c:extLst>
            </c:dLbl>
            <c:dLbl>
              <c:idx val="3"/>
              <c:tx>
                <c:rich>
                  <a:bodyPr/>
                  <a:lstStyle/>
                  <a:p>
                    <a:r>
                      <a:t>36.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8BC-4A15-AA09-E990FEB0B512}"/>
                </c:ext>
              </c:extLst>
            </c:dLbl>
            <c:dLbl>
              <c:idx val="4"/>
              <c:tx>
                <c:rich>
                  <a:bodyPr/>
                  <a:lstStyle/>
                  <a:p>
                    <a:r>
                      <a:t>3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8BC-4A15-AA09-E990FEB0B512}"/>
                </c:ext>
              </c:extLst>
            </c:dLbl>
            <c:dLbl>
              <c:idx val="5"/>
              <c:tx>
                <c:rich>
                  <a:bodyPr/>
                  <a:lstStyle/>
                  <a:p>
                    <a:r>
                      <a:t>57.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8BC-4A15-AA09-E990FEB0B512}"/>
                </c:ext>
              </c:extLst>
            </c:dLbl>
            <c:dLbl>
              <c:idx val="6"/>
              <c:tx>
                <c:rich>
                  <a:bodyPr/>
                  <a:lstStyle/>
                  <a:p>
                    <a:r>
                      <a:t>94.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8BC-4A15-AA09-E990FEB0B512}"/>
                </c:ext>
              </c:extLst>
            </c:dLbl>
            <c:dLbl>
              <c:idx val="7"/>
              <c:tx>
                <c:rich>
                  <a:bodyPr/>
                  <a:lstStyle/>
                  <a:p>
                    <a:r>
                      <a:t>26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8BC-4A15-AA09-E990FEB0B512}"/>
                </c:ext>
              </c:extLst>
            </c:dLbl>
            <c:dLbl>
              <c:idx val="8"/>
              <c:tx>
                <c:rich>
                  <a:bodyPr/>
                  <a:lstStyle/>
                  <a:p>
                    <a:r>
                      <a:t>13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8BC-4A15-AA09-E990FEB0B512}"/>
                </c:ext>
              </c:extLst>
            </c:dLbl>
            <c:dLbl>
              <c:idx val="9"/>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8BC-4A15-AA09-E990FEB0B512}"/>
                </c:ext>
              </c:extLst>
            </c:dLbl>
            <c:dLbl>
              <c:idx val="10"/>
              <c:tx>
                <c:rich>
                  <a:bodyPr/>
                  <a:lstStyle/>
                  <a:p>
                    <a:r>
                      <a:t>50.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8BC-4A15-AA09-E990FEB0B512}"/>
                </c:ext>
              </c:extLst>
            </c:dLbl>
            <c:dLbl>
              <c:idx val="11"/>
              <c:tx>
                <c:rich>
                  <a:bodyPr/>
                  <a:lstStyle/>
                  <a:p>
                    <a:r>
                      <a:t>102.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8BC-4A15-AA09-E990FEB0B512}"/>
                </c:ext>
              </c:extLst>
            </c:dLbl>
            <c:dLbl>
              <c:idx val="12"/>
              <c:tx>
                <c:rich>
                  <a:bodyPr/>
                  <a:lstStyle/>
                  <a:p>
                    <a:r>
                      <a:t>58.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8BC-4A15-AA09-E990FEB0B512}"/>
                </c:ext>
              </c:extLst>
            </c:dLbl>
            <c:dLbl>
              <c:idx val="13"/>
              <c:tx>
                <c:rich>
                  <a:bodyPr/>
                  <a:lstStyle/>
                  <a:p>
                    <a:r>
                      <a:t>6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8BC-4A15-AA09-E990FEB0B512}"/>
                </c:ext>
              </c:extLst>
            </c:dLbl>
            <c:dLbl>
              <c:idx val="14"/>
              <c:tx>
                <c:rich>
                  <a:bodyPr/>
                  <a:lstStyle/>
                  <a:p>
                    <a:r>
                      <a:t>27.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8BC-4A15-AA09-E990FEB0B51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RUINART BRUT (NUE) 1CT X 750ML</c:v>
                </c:pt>
                <c:pt idx="6">
                  <c:v>RUINART BLANC DE BLANCS (NUE) 1CT X 750ML</c:v>
                </c:pt>
                <c:pt idx="7">
                  <c:v>DOM PERIGNON 2015 1CT X 750ML</c:v>
                </c:pt>
                <c:pt idx="8">
                  <c:v>MG RUINART BRUT SECOND SKIN 1CT X 1500ML</c:v>
                </c:pt>
                <c:pt idx="9">
                  <c:v>RUINART BLANC DE BLANCS SECOND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1</c:v>
                </c:pt>
                <c:pt idx="1">
                  <c:v>25.19</c:v>
                </c:pt>
                <c:pt idx="2">
                  <c:v>38.74</c:v>
                </c:pt>
                <c:pt idx="3">
                  <c:v>36.64</c:v>
                </c:pt>
                <c:pt idx="4">
                  <c:v>36</c:v>
                </c:pt>
                <c:pt idx="5">
                  <c:v>57.91</c:v>
                </c:pt>
                <c:pt idx="6">
                  <c:v>94.19</c:v>
                </c:pt>
                <c:pt idx="7">
                  <c:v>268</c:v>
                </c:pt>
                <c:pt idx="8">
                  <c:v>133.91</c:v>
                </c:pt>
                <c:pt idx="9">
                  <c:v>99.39</c:v>
                </c:pt>
                <c:pt idx="10">
                  <c:v>50.19</c:v>
                </c:pt>
                <c:pt idx="11">
                  <c:v>102.32</c:v>
                </c:pt>
                <c:pt idx="12">
                  <c:v>58.14</c:v>
                </c:pt>
                <c:pt idx="13">
                  <c:v>61.97</c:v>
                </c:pt>
                <c:pt idx="14">
                  <c:v>27.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A8-4D81-A7C5-004DF1C2D8A8}"/>
                </c:ext>
              </c:extLst>
            </c:dLbl>
            <c:dLbl>
              <c:idx val="1"/>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8A8-4D81-A7C5-004DF1C2D8A8}"/>
                </c:ext>
              </c:extLst>
            </c:dLbl>
            <c:dLbl>
              <c:idx val="2"/>
              <c:tx>
                <c:rich>
                  <a:bodyPr/>
                  <a:lstStyle/>
                  <a:p>
                    <a:r>
                      <a:t>38.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8A8-4D81-A7C5-004DF1C2D8A8}"/>
                </c:ext>
              </c:extLst>
            </c:dLbl>
            <c:dLbl>
              <c:idx val="3"/>
              <c:tx>
                <c:rich>
                  <a:bodyPr/>
                  <a:lstStyle/>
                  <a:p>
                    <a:r>
                      <a:t>5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8A8-4D81-A7C5-004DF1C2D8A8}"/>
                </c:ext>
              </c:extLst>
            </c:dLbl>
            <c:dLbl>
              <c:idx val="4"/>
              <c:tx>
                <c:rich>
                  <a:bodyPr/>
                  <a:lstStyle/>
                  <a:p>
                    <a:r>
                      <a:t>9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8A8-4D81-A7C5-004DF1C2D8A8}"/>
                </c:ext>
              </c:extLst>
            </c:dLbl>
            <c:dLbl>
              <c:idx val="5"/>
              <c:tx>
                <c:rich>
                  <a:bodyPr/>
                  <a:lstStyle/>
                  <a:p>
                    <a:r>
                      <a:t>52.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8A8-4D81-A7C5-004DF1C2D8A8}"/>
                </c:ext>
              </c:extLst>
            </c:dLbl>
            <c:dLbl>
              <c:idx val="6"/>
              <c:tx>
                <c:rich>
                  <a:bodyPr/>
                  <a:lstStyle/>
                  <a:p>
                    <a:r>
                      <a:t>14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8A8-4D81-A7C5-004DF1C2D8A8}"/>
                </c:ext>
              </c:extLst>
            </c:dLbl>
            <c:dLbl>
              <c:idx val="7"/>
              <c:tx>
                <c:rich>
                  <a:bodyPr/>
                  <a:lstStyle/>
                  <a:p>
                    <a:r>
                      <a:t>6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8A8-4D81-A7C5-004DF1C2D8A8}"/>
                </c:ext>
              </c:extLst>
            </c:dLbl>
            <c:dLbl>
              <c:idx val="8"/>
              <c:tx>
                <c:rich>
                  <a:bodyPr/>
                  <a:lstStyle/>
                  <a:p>
                    <a:r>
                      <a:t>49.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8A8-4D81-A7C5-004DF1C2D8A8}"/>
                </c:ext>
              </c:extLst>
            </c:dLbl>
            <c:dLbl>
              <c:idx val="9"/>
              <c:tx>
                <c:rich>
                  <a:bodyPr/>
                  <a:lstStyle/>
                  <a:p>
                    <a:r>
                      <a:t>97.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8A8-4D81-A7C5-004DF1C2D8A8}"/>
                </c:ext>
              </c:extLst>
            </c:dLbl>
            <c:dLbl>
              <c:idx val="10"/>
              <c:tx>
                <c:rich>
                  <a:bodyPr/>
                  <a:lstStyle/>
                  <a:p>
                    <a:r>
                      <a:t>60.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8A8-4D81-A7C5-004DF1C2D8A8}"/>
                </c:ext>
              </c:extLst>
            </c:dLbl>
            <c:dLbl>
              <c:idx val="11"/>
              <c:tx>
                <c:rich>
                  <a:bodyPr/>
                  <a:lstStyle/>
                  <a:p>
                    <a:r>
                      <a:t>5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8A8-4D81-A7C5-004DF1C2D8A8}"/>
                </c:ext>
              </c:extLst>
            </c:dLbl>
            <c:dLbl>
              <c:idx val="12"/>
              <c:tx>
                <c:rich>
                  <a:bodyPr/>
                  <a:lstStyle/>
                  <a:p>
                    <a:r>
                      <a:t>20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8A8-4D81-A7C5-004DF1C2D8A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RUINART BRUT (NUE) 1CT X 750ML</c:v>
                </c:pt>
                <c:pt idx="4">
                  <c:v>RUINART BLANC DE BLANCS (NUE) 1CT X 750ML</c:v>
                </c:pt>
                <c:pt idx="5">
                  <c:v>VEUVE CLICQUOT RESERV CUVEE NB 1CT X 750ML</c:v>
                </c:pt>
                <c:pt idx="6">
                  <c:v>MG RUINART BRUT SECOND SKIN 1CT X 1500ML</c:v>
                </c:pt>
                <c:pt idx="7">
                  <c:v>RUINART BRUT SECOND SKIN 1CT X 750ML</c:v>
                </c:pt>
                <c:pt idx="8">
                  <c:v>DEUTZ CLASSIC BRUT 1CT X 750ML</c:v>
                </c:pt>
                <c:pt idx="9">
                  <c:v>MG DEUTZ CLASSIC 1CT X 1500ML</c:v>
                </c:pt>
                <c:pt idx="10">
                  <c:v>DEUTZ ROSE 1CT X 750ML</c:v>
                </c:pt>
                <c:pt idx="11">
                  <c:v>ROEDERER BRUT COLLECTION 245 1CT X 750ML</c:v>
                </c:pt>
                <c:pt idx="12">
                  <c:v>DEUTZ "AMOUR DE DEUTZ" 2013 1CT X 750ML</c:v>
                </c:pt>
              </c:strCache>
            </c:strRef>
          </c:cat>
          <c:val>
            <c:numRef>
              <c:f>Sheet1!$B$2:$B$14</c:f>
              <c:numCache>
                <c:formatCode>General</c:formatCode>
                <c:ptCount val="13"/>
                <c:pt idx="0">
                  <c:v>21.4</c:v>
                </c:pt>
                <c:pt idx="1">
                  <c:v>24.99</c:v>
                </c:pt>
                <c:pt idx="2">
                  <c:v>38.72</c:v>
                </c:pt>
                <c:pt idx="3">
                  <c:v>57.71</c:v>
                </c:pt>
                <c:pt idx="4">
                  <c:v>95.01</c:v>
                </c:pt>
                <c:pt idx="5">
                  <c:v>52.21</c:v>
                </c:pt>
                <c:pt idx="6">
                  <c:v>141.91</c:v>
                </c:pt>
                <c:pt idx="7">
                  <c:v>61.02</c:v>
                </c:pt>
                <c:pt idx="8">
                  <c:v>49.81</c:v>
                </c:pt>
                <c:pt idx="9">
                  <c:v>97.59</c:v>
                </c:pt>
                <c:pt idx="10">
                  <c:v>60.64</c:v>
                </c:pt>
                <c:pt idx="11">
                  <c:v>59.98</c:v>
                </c:pt>
                <c:pt idx="12">
                  <c:v>20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813-4234-9B68-54DBDBD4531D}"/>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813-4234-9B68-54DBDBD4531D}"/>
                </c:ext>
              </c:extLst>
            </c:dLbl>
            <c:dLbl>
              <c:idx val="2"/>
              <c:tx>
                <c:rich>
                  <a:bodyPr/>
                  <a:lstStyle/>
                  <a:p>
                    <a:r>
                      <a:t>36.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813-4234-9B68-54DBDBD4531D}"/>
                </c:ext>
              </c:extLst>
            </c:dLbl>
            <c:dLbl>
              <c:idx val="3"/>
              <c:tx>
                <c:rich>
                  <a:bodyPr/>
                  <a:lstStyle/>
                  <a:p>
                    <a:r>
                      <a:t>24.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813-4234-9B68-54DBDBD4531D}"/>
                </c:ext>
              </c:extLst>
            </c:dLbl>
            <c:dLbl>
              <c:idx val="4"/>
              <c:tx>
                <c:rich>
                  <a:bodyPr/>
                  <a:lstStyle/>
                  <a:p>
                    <a:r>
                      <a:t>40.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813-4234-9B68-54DBDBD4531D}"/>
                </c:ext>
              </c:extLst>
            </c:dLbl>
            <c:dLbl>
              <c:idx val="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813-4234-9B68-54DBDBD4531D}"/>
                </c:ext>
              </c:extLst>
            </c:dLbl>
            <c:dLbl>
              <c:idx val="6"/>
              <c:tx>
                <c:rich>
                  <a:bodyPr/>
                  <a:lstStyle/>
                  <a:p>
                    <a:r>
                      <a:t>9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813-4234-9B68-54DBDBD4531D}"/>
                </c:ext>
              </c:extLst>
            </c:dLbl>
            <c:dLbl>
              <c:idx val="7"/>
              <c:tx>
                <c:rich>
                  <a:bodyPr/>
                  <a:lstStyle/>
                  <a:p>
                    <a:r>
                      <a:t>97.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813-4234-9B68-54DBDBD4531D}"/>
                </c:ext>
              </c:extLst>
            </c:dLbl>
            <c:dLbl>
              <c:idx val="8"/>
              <c:tx>
                <c:rich>
                  <a:bodyPr/>
                  <a:lstStyle/>
                  <a:p>
                    <a:r>
                      <a:t>51.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813-4234-9B68-54DBDBD4531D}"/>
                </c:ext>
              </c:extLst>
            </c:dLbl>
            <c:dLbl>
              <c:idx val="9"/>
              <c:tx>
                <c:rich>
                  <a:bodyPr/>
                  <a:lstStyle/>
                  <a:p>
                    <a:r>
                      <a:t>251.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813-4234-9B68-54DBDBD4531D}"/>
                </c:ext>
              </c:extLst>
            </c:dLbl>
            <c:dLbl>
              <c:idx val="10"/>
              <c:tx>
                <c:rich>
                  <a:bodyPr/>
                  <a:lstStyle/>
                  <a:p>
                    <a:r>
                      <a:t>49.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813-4234-9B68-54DBDBD4531D}"/>
                </c:ext>
              </c:extLst>
            </c:dLbl>
            <c:dLbl>
              <c:idx val="11"/>
              <c:tx>
                <c:rich>
                  <a:bodyPr/>
                  <a:lstStyle/>
                  <a:p>
                    <a:r>
                      <a:t>58.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813-4234-9B68-54DBDBD4531D}"/>
                </c:ext>
              </c:extLst>
            </c:dLbl>
            <c:dLbl>
              <c:idx val="12"/>
              <c:tx>
                <c:rich>
                  <a:bodyPr/>
                  <a:lstStyle/>
                  <a:p>
                    <a:r>
                      <a:t>6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813-4234-9B68-54DBDBD4531D}"/>
                </c:ext>
              </c:extLst>
            </c:dLbl>
            <c:dLbl>
              <c:idx val="13"/>
              <c:tx>
                <c:rich>
                  <a:bodyPr/>
                  <a:lstStyle/>
                  <a:p>
                    <a:r>
                      <a:t>625.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813-4234-9B68-54DBDBD4531D}"/>
                </c:ext>
              </c:extLst>
            </c:dLbl>
            <c:dLbl>
              <c:idx val="14"/>
              <c:tx>
                <c:rich>
                  <a:bodyPr/>
                  <a:lstStyle/>
                  <a:p>
                    <a:r>
                      <a:t>99.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813-4234-9B68-54DBDBD4531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DOM PERIGNON 2015 1CT X 750ML</c:v>
                </c:pt>
                <c:pt idx="10">
                  <c:v>DEUTZ CLASSIC BRUT 1CT X 750ML</c:v>
                </c:pt>
                <c:pt idx="11">
                  <c:v>ROEDERER BRUT COLLECTION 245 1CT X 750ML</c:v>
                </c:pt>
                <c:pt idx="12">
                  <c:v>DEUTZ ROSE 1CT X 750ML</c:v>
                </c:pt>
                <c:pt idx="13">
                  <c:v>ROEDERER CRISTAL ROSE 2014 1CT X 750ML</c:v>
                </c:pt>
                <c:pt idx="14">
                  <c:v>MG DEUTZ CLASSIC 1CT X 1500ML</c:v>
                </c:pt>
              </c:strCache>
            </c:strRef>
          </c:cat>
          <c:val>
            <c:numRef>
              <c:f>Sheet1!$B$2:$B$16</c:f>
              <c:numCache>
                <c:formatCode>General</c:formatCode>
                <c:ptCount val="15"/>
                <c:pt idx="0">
                  <c:v>21.87</c:v>
                </c:pt>
                <c:pt idx="1">
                  <c:v>39.090000000000003</c:v>
                </c:pt>
                <c:pt idx="2">
                  <c:v>36.840000000000003</c:v>
                </c:pt>
                <c:pt idx="3">
                  <c:v>24.94</c:v>
                </c:pt>
                <c:pt idx="4">
                  <c:v>40.71</c:v>
                </c:pt>
                <c:pt idx="5">
                  <c:v>57.87</c:v>
                </c:pt>
                <c:pt idx="6">
                  <c:v>94.21</c:v>
                </c:pt>
                <c:pt idx="7">
                  <c:v>97.21</c:v>
                </c:pt>
                <c:pt idx="8">
                  <c:v>51.38</c:v>
                </c:pt>
                <c:pt idx="9">
                  <c:v>251.56</c:v>
                </c:pt>
                <c:pt idx="10">
                  <c:v>49.92</c:v>
                </c:pt>
                <c:pt idx="11">
                  <c:v>58.79</c:v>
                </c:pt>
                <c:pt idx="12">
                  <c:v>62.69</c:v>
                </c:pt>
                <c:pt idx="13">
                  <c:v>625.27</c:v>
                </c:pt>
                <c:pt idx="14">
                  <c:v>99.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E98-4CB1-9A27-52CB538161D6}"/>
                </c:ext>
              </c:extLst>
            </c:dLbl>
            <c:dLbl>
              <c:idx val="1"/>
              <c:tx>
                <c:rich>
                  <a:bodyPr/>
                  <a:lstStyle/>
                  <a:p>
                    <a:r>
                      <a:t>3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E98-4CB1-9A27-52CB538161D6}"/>
                </c:ext>
              </c:extLst>
            </c:dLbl>
            <c:dLbl>
              <c:idx val="2"/>
              <c:tx>
                <c:rich>
                  <a:bodyPr/>
                  <a:lstStyle/>
                  <a:p>
                    <a:r>
                      <a:t>2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E98-4CB1-9A27-52CB538161D6}"/>
                </c:ext>
              </c:extLst>
            </c:dLbl>
            <c:dLbl>
              <c:idx val="3"/>
              <c:tx>
                <c:rich>
                  <a:bodyPr/>
                  <a:lstStyle/>
                  <a:p>
                    <a:r>
                      <a:t>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E98-4CB1-9A27-52CB538161D6}"/>
                </c:ext>
              </c:extLst>
            </c:dLbl>
            <c:dLbl>
              <c:idx val="4"/>
              <c:tx>
                <c:rich>
                  <a:bodyPr/>
                  <a:lstStyle/>
                  <a:p>
                    <a:r>
                      <a:t>2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E98-4CB1-9A27-52CB538161D6}"/>
                </c:ext>
              </c:extLst>
            </c:dLbl>
            <c:dLbl>
              <c:idx val="5"/>
              <c:tx>
                <c:rich>
                  <a:bodyPr/>
                  <a:lstStyle/>
                  <a:p>
                    <a:r>
                      <a:t>58.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E98-4CB1-9A27-52CB538161D6}"/>
                </c:ext>
              </c:extLst>
            </c:dLbl>
            <c:dLbl>
              <c:idx val="6"/>
              <c:tx>
                <c:rich>
                  <a:bodyPr/>
                  <a:lstStyle/>
                  <a:p>
                    <a:r>
                      <a:t>92.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E98-4CB1-9A27-52CB538161D6}"/>
                </c:ext>
              </c:extLst>
            </c:dLbl>
            <c:dLbl>
              <c:idx val="7"/>
              <c:tx>
                <c:rich>
                  <a:bodyPr/>
                  <a:lstStyle/>
                  <a:p>
                    <a:r>
                      <a:t>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E98-4CB1-9A27-52CB538161D6}"/>
                </c:ext>
              </c:extLst>
            </c:dLbl>
            <c:dLbl>
              <c:idx val="8"/>
              <c:tx>
                <c:rich>
                  <a:bodyPr/>
                  <a:lstStyle/>
                  <a:p>
                    <a:r>
                      <a:t>5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E98-4CB1-9A27-52CB538161D6}"/>
                </c:ext>
              </c:extLst>
            </c:dLbl>
            <c:dLbl>
              <c:idx val="9"/>
              <c:tx>
                <c:rich>
                  <a:bodyPr/>
                  <a:lstStyle/>
                  <a:p>
                    <a:r>
                      <a:t>61.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E98-4CB1-9A27-52CB538161D6}"/>
                </c:ext>
              </c:extLst>
            </c:dLbl>
            <c:dLbl>
              <c:idx val="10"/>
              <c:tx>
                <c:rich>
                  <a:bodyPr/>
                  <a:lstStyle/>
                  <a:p>
                    <a:r>
                      <a:t>49.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E98-4CB1-9A27-52CB538161D6}"/>
                </c:ext>
              </c:extLst>
            </c:dLbl>
            <c:dLbl>
              <c:idx val="11"/>
              <c:tx>
                <c:rich>
                  <a:bodyPr/>
                  <a:lstStyle/>
                  <a:p>
                    <a:r>
                      <a:t>5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E98-4CB1-9A27-52CB538161D6}"/>
                </c:ext>
              </c:extLst>
            </c:dLbl>
            <c:dLbl>
              <c:idx val="12"/>
              <c:tx>
                <c:rich>
                  <a:bodyPr/>
                  <a:lstStyle/>
                  <a:p>
                    <a:r>
                      <a:t>100.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E98-4CB1-9A27-52CB538161D6}"/>
                </c:ext>
              </c:extLst>
            </c:dLbl>
            <c:dLbl>
              <c:idx val="13"/>
              <c:tx>
                <c:rich>
                  <a:bodyPr/>
                  <a:lstStyle/>
                  <a:p>
                    <a:r>
                      <a:t>6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E98-4CB1-9A27-52CB538161D6}"/>
                </c:ext>
              </c:extLst>
            </c:dLbl>
            <c:dLbl>
              <c:idx val="14"/>
              <c:tx>
                <c:rich>
                  <a:bodyPr/>
                  <a:lstStyle/>
                  <a:p>
                    <a:r>
                      <a:t>35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E98-4CB1-9A27-52CB538161D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ROEDERER CRISTAL BRUT 2016 1CT X 750ML</c:v>
                </c:pt>
              </c:strCache>
            </c:strRef>
          </c:cat>
          <c:val>
            <c:numRef>
              <c:f>Sheet1!$B$2:$B$16</c:f>
              <c:numCache>
                <c:formatCode>General</c:formatCode>
                <c:ptCount val="15"/>
                <c:pt idx="0">
                  <c:v>21.91</c:v>
                </c:pt>
                <c:pt idx="1">
                  <c:v>39.03</c:v>
                </c:pt>
                <c:pt idx="2">
                  <c:v>24.9</c:v>
                </c:pt>
                <c:pt idx="3">
                  <c:v>37.6</c:v>
                </c:pt>
                <c:pt idx="4">
                  <c:v>22.41</c:v>
                </c:pt>
                <c:pt idx="5">
                  <c:v>58.06</c:v>
                </c:pt>
                <c:pt idx="6">
                  <c:v>92.94</c:v>
                </c:pt>
                <c:pt idx="7">
                  <c:v>96.7</c:v>
                </c:pt>
                <c:pt idx="8">
                  <c:v>51.5</c:v>
                </c:pt>
                <c:pt idx="9">
                  <c:v>61.67</c:v>
                </c:pt>
                <c:pt idx="10">
                  <c:v>49.97</c:v>
                </c:pt>
                <c:pt idx="11">
                  <c:v>59.09</c:v>
                </c:pt>
                <c:pt idx="12">
                  <c:v>100.32</c:v>
                </c:pt>
                <c:pt idx="13">
                  <c:v>62</c:v>
                </c:pt>
                <c:pt idx="14">
                  <c:v>359.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E5F-4F29-9891-02B91DAD43ED}"/>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E5F-4F29-9891-02B91DAD43ED}"/>
                </c:ext>
              </c:extLst>
            </c:dLbl>
            <c:dLbl>
              <c:idx val="2"/>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E5F-4F29-9891-02B91DAD43ED}"/>
                </c:ext>
              </c:extLst>
            </c:dLbl>
            <c:dLbl>
              <c:idx val="3"/>
              <c:tx>
                <c:rich>
                  <a:bodyPr/>
                  <a:lstStyle/>
                  <a:p>
                    <a:r>
                      <a:t>36.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E5F-4F29-9891-02B91DAD43ED}"/>
                </c:ext>
              </c:extLst>
            </c:dLbl>
            <c:dLbl>
              <c:idx val="4"/>
              <c:tx>
                <c:rich>
                  <a:bodyPr/>
                  <a:lstStyle/>
                  <a:p>
                    <a:r>
                      <a:t>41.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E5F-4F29-9891-02B91DAD43ED}"/>
                </c:ext>
              </c:extLst>
            </c:dLbl>
            <c:dLbl>
              <c:idx val="5"/>
              <c:tx>
                <c:rich>
                  <a:bodyPr/>
                  <a:lstStyle/>
                  <a:p>
                    <a:r>
                      <a:t>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E5F-4F29-9891-02B91DAD43ED}"/>
                </c:ext>
              </c:extLst>
            </c:dLbl>
            <c:dLbl>
              <c:idx val="6"/>
              <c:tx>
                <c:rich>
                  <a:bodyPr/>
                  <a:lstStyle/>
                  <a:p>
                    <a:r>
                      <a:t>92.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E5F-4F29-9891-02B91DAD43ED}"/>
                </c:ext>
              </c:extLst>
            </c:dLbl>
            <c:dLbl>
              <c:idx val="7"/>
              <c:tx>
                <c:rich>
                  <a:bodyPr/>
                  <a:lstStyle/>
                  <a:p>
                    <a:r>
                      <a:t>9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E5F-4F29-9891-02B91DAD43ED}"/>
                </c:ext>
              </c:extLst>
            </c:dLbl>
            <c:dLbl>
              <c:idx val="8"/>
              <c:tx>
                <c:rich>
                  <a:bodyPr/>
                  <a:lstStyle/>
                  <a:p>
                    <a:r>
                      <a:t>51.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E5F-4F29-9891-02B91DAD43ED}"/>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E5F-4F29-9891-02B91DAD43ED}"/>
                </c:ext>
              </c:extLst>
            </c:dLbl>
            <c:dLbl>
              <c:idx val="10"/>
              <c:tx>
                <c:rich>
                  <a:bodyPr/>
                  <a:lstStyle/>
                  <a:p>
                    <a:r>
                      <a:t>49.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E5F-4F29-9891-02B91DAD43ED}"/>
                </c:ext>
              </c:extLst>
            </c:dLbl>
            <c:dLbl>
              <c:idx val="11"/>
              <c:tx>
                <c:rich>
                  <a:bodyPr/>
                  <a:lstStyle/>
                  <a:p>
                    <a:r>
                      <a:t>5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E5F-4F29-9891-02B91DAD43ED}"/>
                </c:ext>
              </c:extLst>
            </c:dLbl>
            <c:dLbl>
              <c:idx val="12"/>
              <c:tx>
                <c:rich>
                  <a:bodyPr/>
                  <a:lstStyle/>
                  <a:p>
                    <a:r>
                      <a:t>62.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E5F-4F29-9891-02B91DAD43ED}"/>
                </c:ext>
              </c:extLst>
            </c:dLbl>
            <c:dLbl>
              <c:idx val="13"/>
              <c:tx>
                <c:rich>
                  <a:bodyPr/>
                  <a:lstStyle/>
                  <a:p>
                    <a:r>
                      <a:t>100.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E5F-4F29-9891-02B91DAD43ED}"/>
                </c:ext>
              </c:extLst>
            </c:dLbl>
            <c:dLbl>
              <c:idx val="14"/>
              <c:tx>
                <c:rich>
                  <a:bodyPr/>
                  <a:lstStyle/>
                  <a:p>
                    <a:r>
                      <a:t>28.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E5F-4F29-9891-02B91DAD43E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DEUTZ ROSE 1CT X 750ML</c:v>
                </c:pt>
                <c:pt idx="13">
                  <c:v>MG DEUTZ CLASSIC 1CT X 1500ML</c:v>
                </c:pt>
                <c:pt idx="14">
                  <c:v>1/2 DEUTZ CLASSIC BRUT 1CT X 375ML</c:v>
                </c:pt>
              </c:strCache>
            </c:strRef>
          </c:cat>
          <c:val>
            <c:numRef>
              <c:f>Sheet1!$B$2:$B$16</c:f>
              <c:numCache>
                <c:formatCode>General</c:formatCode>
                <c:ptCount val="15"/>
                <c:pt idx="0">
                  <c:v>21.89</c:v>
                </c:pt>
                <c:pt idx="1">
                  <c:v>38.979999999999997</c:v>
                </c:pt>
                <c:pt idx="2">
                  <c:v>25.01</c:v>
                </c:pt>
                <c:pt idx="3">
                  <c:v>36.950000000000003</c:v>
                </c:pt>
                <c:pt idx="4">
                  <c:v>41.25</c:v>
                </c:pt>
                <c:pt idx="5">
                  <c:v>57.8</c:v>
                </c:pt>
                <c:pt idx="6">
                  <c:v>92.87</c:v>
                </c:pt>
                <c:pt idx="7">
                  <c:v>96.98</c:v>
                </c:pt>
                <c:pt idx="8">
                  <c:v>51.88</c:v>
                </c:pt>
                <c:pt idx="9">
                  <c:v>62.03</c:v>
                </c:pt>
                <c:pt idx="10">
                  <c:v>49.95</c:v>
                </c:pt>
                <c:pt idx="11">
                  <c:v>58.7</c:v>
                </c:pt>
                <c:pt idx="12">
                  <c:v>62.72</c:v>
                </c:pt>
                <c:pt idx="13">
                  <c:v>100.41</c:v>
                </c:pt>
                <c:pt idx="14">
                  <c:v>28.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2AA-4DF2-922E-36460B1A5493}"/>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2AA-4DF2-922E-36460B1A5493}"/>
                </c:ext>
              </c:extLst>
            </c:dLbl>
            <c:dLbl>
              <c:idx val="2"/>
              <c:tx>
                <c:rich>
                  <a:bodyPr/>
                  <a:lstStyle/>
                  <a:p>
                    <a:r>
                      <a:t>36.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2AA-4DF2-922E-36460B1A5493}"/>
                </c:ext>
              </c:extLst>
            </c:dLbl>
            <c:dLbl>
              <c:idx val="3"/>
              <c:tx>
                <c:rich>
                  <a:bodyPr/>
                  <a:lstStyle/>
                  <a:p>
                    <a:r>
                      <a:t>25.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2AA-4DF2-922E-36460B1A5493}"/>
                </c:ext>
              </c:extLst>
            </c:dLbl>
            <c:dLbl>
              <c:idx val="4"/>
              <c:tx>
                <c:rich>
                  <a:bodyPr/>
                  <a:lstStyle/>
                  <a:p>
                    <a:r>
                      <a:t>41.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2AA-4DF2-922E-36460B1A5493}"/>
                </c:ext>
              </c:extLst>
            </c:dLbl>
            <c:dLbl>
              <c:idx val="5"/>
              <c:tx>
                <c:rich>
                  <a:bodyPr/>
                  <a:lstStyle/>
                  <a:p>
                    <a:r>
                      <a:t>5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2AA-4DF2-922E-36460B1A5493}"/>
                </c:ext>
              </c:extLst>
            </c:dLbl>
            <c:dLbl>
              <c:idx val="6"/>
              <c:tx>
                <c:rich>
                  <a:bodyPr/>
                  <a:lstStyle/>
                  <a:p>
                    <a:r>
                      <a:t>93.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2AA-4DF2-922E-36460B1A5493}"/>
                </c:ext>
              </c:extLst>
            </c:dLbl>
            <c:dLbl>
              <c:idx val="7"/>
              <c:tx>
                <c:rich>
                  <a:bodyPr/>
                  <a:lstStyle/>
                  <a:p>
                    <a:r>
                      <a:t>9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2AA-4DF2-922E-36460B1A5493}"/>
                </c:ext>
              </c:extLst>
            </c:dLbl>
            <c:dLbl>
              <c:idx val="8"/>
              <c:tx>
                <c:rich>
                  <a:bodyPr/>
                  <a:lstStyle/>
                  <a:p>
                    <a:r>
                      <a:t>51.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2AA-4DF2-922E-36460B1A5493}"/>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2AA-4DF2-922E-36460B1A5493}"/>
                </c:ext>
              </c:extLst>
            </c:dLbl>
            <c:dLbl>
              <c:idx val="10"/>
              <c:tx>
                <c:rich>
                  <a:bodyPr/>
                  <a:lstStyle/>
                  <a:p>
                    <a:r>
                      <a:t>4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2AA-4DF2-922E-36460B1A5493}"/>
                </c:ext>
              </c:extLst>
            </c:dLbl>
            <c:dLbl>
              <c:idx val="11"/>
              <c:tx>
                <c:rich>
                  <a:bodyPr/>
                  <a:lstStyle/>
                  <a:p>
                    <a:r>
                      <a:t>58.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2AA-4DF2-922E-36460B1A5493}"/>
                </c:ext>
              </c:extLst>
            </c:dLbl>
            <c:dLbl>
              <c:idx val="12"/>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2AA-4DF2-922E-36460B1A5493}"/>
                </c:ext>
              </c:extLst>
            </c:dLbl>
            <c:dLbl>
              <c:idx val="13"/>
              <c:tx>
                <c:rich>
                  <a:bodyPr/>
                  <a:lstStyle/>
                  <a:p>
                    <a:r>
                      <a:t>62.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2AA-4DF2-922E-36460B1A5493}"/>
                </c:ext>
              </c:extLst>
            </c:dLbl>
            <c:dLbl>
              <c:idx val="14"/>
              <c:tx>
                <c:rich>
                  <a:bodyPr/>
                  <a:lstStyle/>
                  <a:p>
                    <a:r>
                      <a:t>27.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2AA-4DF2-922E-36460B1A549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RUINART BRUT (NUE) 1CT X 750ML</c:v>
                </c:pt>
                <c:pt idx="6">
                  <c:v>RUINART BLANC DE BLANCS (NUE) 1CT X 750ML</c:v>
                </c:pt>
                <c:pt idx="7">
                  <c:v>RUINART BLANC DE BLANCS SECOND 1CT X 750ML</c:v>
                </c:pt>
                <c:pt idx="8">
                  <c:v>VEUVE CLICQUOT RESERV CUVEE NB 1CT X 750ML</c:v>
                </c:pt>
                <c:pt idx="9">
                  <c:v>RUINART BRUT SECOND SKIN 1CT X 750ML</c:v>
                </c:pt>
                <c:pt idx="10">
                  <c:v>DEUTZ CLASSIC BRUT 1CT X 750ML</c:v>
                </c:pt>
                <c:pt idx="11">
                  <c:v>ROEDERER BRUT COLLECTION 245 1CT X 750ML</c:v>
                </c:pt>
                <c:pt idx="12">
                  <c:v>MG DEUTZ CLASSIC 1CT X 1500ML</c:v>
                </c:pt>
                <c:pt idx="13">
                  <c:v>DEUTZ ROSE 1CT X 750ML</c:v>
                </c:pt>
                <c:pt idx="14">
                  <c:v>1/2 DEUTZ CLASSIC BRUT 1CT X 375ML</c:v>
                </c:pt>
              </c:strCache>
            </c:strRef>
          </c:cat>
          <c:val>
            <c:numRef>
              <c:f>Sheet1!$B$2:$B$16</c:f>
              <c:numCache>
                <c:formatCode>General</c:formatCode>
                <c:ptCount val="15"/>
                <c:pt idx="0">
                  <c:v>21.92</c:v>
                </c:pt>
                <c:pt idx="1">
                  <c:v>39.090000000000003</c:v>
                </c:pt>
                <c:pt idx="2">
                  <c:v>36.92</c:v>
                </c:pt>
                <c:pt idx="3">
                  <c:v>25.12</c:v>
                </c:pt>
                <c:pt idx="4">
                  <c:v>41.31</c:v>
                </c:pt>
                <c:pt idx="5">
                  <c:v>57.75</c:v>
                </c:pt>
                <c:pt idx="6">
                  <c:v>93.04</c:v>
                </c:pt>
                <c:pt idx="7">
                  <c:v>96.31</c:v>
                </c:pt>
                <c:pt idx="8">
                  <c:v>51.83</c:v>
                </c:pt>
                <c:pt idx="9">
                  <c:v>62.03</c:v>
                </c:pt>
                <c:pt idx="10">
                  <c:v>49.98</c:v>
                </c:pt>
                <c:pt idx="11">
                  <c:v>58.99</c:v>
                </c:pt>
                <c:pt idx="12">
                  <c:v>99.39</c:v>
                </c:pt>
                <c:pt idx="13">
                  <c:v>62.57</c:v>
                </c:pt>
                <c:pt idx="14">
                  <c:v>27.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3DA-40DA-AADD-70892914625F}"/>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3DA-40DA-AADD-70892914625F}"/>
                </c:ext>
              </c:extLst>
            </c:dLbl>
            <c:dLbl>
              <c:idx val="2"/>
              <c:tx>
                <c:rich>
                  <a:bodyPr/>
                  <a:lstStyle/>
                  <a:p>
                    <a:r>
                      <a:t>2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3DA-40DA-AADD-70892914625F}"/>
                </c:ext>
              </c:extLst>
            </c:dLbl>
            <c:dLbl>
              <c:idx val="3"/>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3DA-40DA-AADD-70892914625F}"/>
                </c:ext>
              </c:extLst>
            </c:dLbl>
            <c:dLbl>
              <c:idx val="4"/>
              <c:tx>
                <c:rich>
                  <a:bodyPr/>
                  <a:lstStyle/>
                  <a:p>
                    <a:r>
                      <a:t>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3DA-40DA-AADD-70892914625F}"/>
                </c:ext>
              </c:extLst>
            </c:dLbl>
            <c:dLbl>
              <c:idx val="5"/>
              <c:tx>
                <c:rich>
                  <a:bodyPr/>
                  <a:lstStyle/>
                  <a:p>
                    <a:r>
                      <a:t>5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3DA-40DA-AADD-70892914625F}"/>
                </c:ext>
              </c:extLst>
            </c:dLbl>
            <c:dLbl>
              <c:idx val="6"/>
              <c:tx>
                <c:rich>
                  <a:bodyPr/>
                  <a:lstStyle/>
                  <a:p>
                    <a:r>
                      <a:t>9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3DA-40DA-AADD-70892914625F}"/>
                </c:ext>
              </c:extLst>
            </c:dLbl>
            <c:dLbl>
              <c:idx val="7"/>
              <c:tx>
                <c:rich>
                  <a:bodyPr/>
                  <a:lstStyle/>
                  <a:p>
                    <a:r>
                      <a:t>9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3DA-40DA-AADD-70892914625F}"/>
                </c:ext>
              </c:extLst>
            </c:dLbl>
            <c:dLbl>
              <c:idx val="8"/>
              <c:tx>
                <c:rich>
                  <a:bodyPr/>
                  <a:lstStyle/>
                  <a:p>
                    <a:r>
                      <a:t>250.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3DA-40DA-AADD-70892914625F}"/>
                </c:ext>
              </c:extLst>
            </c:dLbl>
            <c:dLbl>
              <c:idx val="9"/>
              <c:tx>
                <c:rich>
                  <a:bodyPr/>
                  <a:lstStyle/>
                  <a:p>
                    <a:r>
                      <a:t>61.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3DA-40DA-AADD-70892914625F}"/>
                </c:ext>
              </c:extLst>
            </c:dLbl>
            <c:dLbl>
              <c:idx val="10"/>
              <c:tx>
                <c:rich>
                  <a:bodyPr/>
                  <a:lstStyle/>
                  <a:p>
                    <a:r>
                      <a:t>49.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3DA-40DA-AADD-70892914625F}"/>
                </c:ext>
              </c:extLst>
            </c:dLbl>
            <c:dLbl>
              <c:idx val="11"/>
              <c:tx>
                <c:rich>
                  <a:bodyPr/>
                  <a:lstStyle/>
                  <a:p>
                    <a:r>
                      <a:t>100.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3DA-40DA-AADD-70892914625F}"/>
                </c:ext>
              </c:extLst>
            </c:dLbl>
            <c:dLbl>
              <c:idx val="12"/>
              <c:tx>
                <c:rich>
                  <a:bodyPr/>
                  <a:lstStyle/>
                  <a:p>
                    <a:r>
                      <a:t>5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3DA-40DA-AADD-70892914625F}"/>
                </c:ext>
              </c:extLst>
            </c:dLbl>
            <c:dLbl>
              <c:idx val="13"/>
              <c:tx>
                <c:rich>
                  <a:bodyPr/>
                  <a:lstStyle/>
                  <a:p>
                    <a:r>
                      <a:t>62.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3DA-40DA-AADD-70892914625F}"/>
                </c:ext>
              </c:extLst>
            </c:dLbl>
            <c:dLbl>
              <c:idx val="14"/>
              <c:tx>
                <c:rich>
                  <a:bodyPr/>
                  <a:lstStyle/>
                  <a:p>
                    <a:r>
                      <a:t>28.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3DA-40DA-AADD-70892914625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RUINART BRUT (NUE) 1CT X 750ML</c:v>
                </c:pt>
                <c:pt idx="6">
                  <c:v>RUINART BLANC DE BLANCS (NUE) 1CT X 750ML</c:v>
                </c:pt>
                <c:pt idx="7">
                  <c:v>RUINART BLANC DE BLANCS SECOND 1CT X 750ML</c:v>
                </c:pt>
                <c:pt idx="8">
                  <c:v>DOM PERIGNON 2015 1CT X 750ML</c:v>
                </c:pt>
                <c:pt idx="9">
                  <c:v>RUINART BRUT SECOND SKIN 1CT X 750ML</c:v>
                </c:pt>
                <c:pt idx="10">
                  <c:v>DEUTZ CLASSIC BRUT 1CT X 750ML</c:v>
                </c:pt>
                <c:pt idx="11">
                  <c:v>MG DEUTZ CLASSIC 1CT X 1500ML</c:v>
                </c:pt>
                <c:pt idx="12">
                  <c:v>ROEDERER BRUT COLLECTION 245 1CT X 750ML</c:v>
                </c:pt>
                <c:pt idx="13">
                  <c:v>DEUTZ ROSE 1CT X 750ML</c:v>
                </c:pt>
                <c:pt idx="14">
                  <c:v>1/2 DEUTZ CLASSIC BRUT 1CT X 375ML</c:v>
                </c:pt>
              </c:strCache>
            </c:strRef>
          </c:cat>
          <c:val>
            <c:numRef>
              <c:f>Sheet1!$B$2:$B$16</c:f>
              <c:numCache>
                <c:formatCode>General</c:formatCode>
                <c:ptCount val="15"/>
                <c:pt idx="0">
                  <c:v>21.93</c:v>
                </c:pt>
                <c:pt idx="1">
                  <c:v>39.08</c:v>
                </c:pt>
                <c:pt idx="2">
                  <c:v>25.05</c:v>
                </c:pt>
                <c:pt idx="3">
                  <c:v>36.979999999999997</c:v>
                </c:pt>
                <c:pt idx="4">
                  <c:v>45.8</c:v>
                </c:pt>
                <c:pt idx="5">
                  <c:v>57.84</c:v>
                </c:pt>
                <c:pt idx="6">
                  <c:v>92.93</c:v>
                </c:pt>
                <c:pt idx="7">
                  <c:v>96.93</c:v>
                </c:pt>
                <c:pt idx="8">
                  <c:v>250.32</c:v>
                </c:pt>
                <c:pt idx="9">
                  <c:v>61.47</c:v>
                </c:pt>
                <c:pt idx="10">
                  <c:v>49.94</c:v>
                </c:pt>
                <c:pt idx="11">
                  <c:v>100.39</c:v>
                </c:pt>
                <c:pt idx="12">
                  <c:v>59.1</c:v>
                </c:pt>
                <c:pt idx="13">
                  <c:v>62.05</c:v>
                </c:pt>
                <c:pt idx="14">
                  <c:v>28.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0F3-4B29-B312-292DA595FFA6}"/>
                </c:ext>
              </c:extLst>
            </c:dLbl>
            <c:dLbl>
              <c:idx val="1"/>
              <c:tx>
                <c:rich>
                  <a:bodyPr/>
                  <a:lstStyle/>
                  <a:p>
                    <a:r>
                      <a:t>23.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0F3-4B29-B312-292DA595FFA6}"/>
                </c:ext>
              </c:extLst>
            </c:dLbl>
            <c:dLbl>
              <c:idx val="2"/>
              <c:tx>
                <c:rich>
                  <a:bodyPr/>
                  <a:lstStyle/>
                  <a:p>
                    <a:r>
                      <a:t>85.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0F3-4B29-B312-292DA595FFA6}"/>
                </c:ext>
              </c:extLst>
            </c:dLbl>
            <c:dLbl>
              <c:idx val="3"/>
              <c:tx>
                <c:rich>
                  <a:bodyPr/>
                  <a:lstStyle/>
                  <a:p>
                    <a:r>
                      <a:t>93.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0F3-4B29-B312-292DA595FFA6}"/>
                </c:ext>
              </c:extLst>
            </c:dLbl>
            <c:dLbl>
              <c:idx val="4"/>
              <c:tx>
                <c:rich>
                  <a:bodyPr/>
                  <a:lstStyle/>
                  <a:p>
                    <a:r>
                      <a:t>96.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0F3-4B29-B312-292DA595FFA6}"/>
                </c:ext>
              </c:extLst>
            </c:dLbl>
            <c:dLbl>
              <c:idx val="5"/>
              <c:tx>
                <c:rich>
                  <a:bodyPr/>
                  <a:lstStyle/>
                  <a:p>
                    <a:r>
                      <a:t>222.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0F3-4B29-B312-292DA595FFA6}"/>
                </c:ext>
              </c:extLst>
            </c:dLbl>
            <c:dLbl>
              <c:idx val="6"/>
              <c:tx>
                <c:rich>
                  <a:bodyPr/>
                  <a:lstStyle/>
                  <a:p>
                    <a:r>
                      <a:t>56.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0F3-4B29-B312-292DA595FFA6}"/>
                </c:ext>
              </c:extLst>
            </c:dLbl>
            <c:dLbl>
              <c:idx val="7"/>
              <c:tx>
                <c:rich>
                  <a:bodyPr/>
                  <a:lstStyle/>
                  <a:p>
                    <a:r>
                      <a:t>284.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0F3-4B29-B312-292DA595FFA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90000000000003</c:v>
                </c:pt>
                <c:pt idx="1">
                  <c:v>23.96</c:v>
                </c:pt>
                <c:pt idx="2">
                  <c:v>85.88</c:v>
                </c:pt>
                <c:pt idx="3">
                  <c:v>93.81</c:v>
                </c:pt>
                <c:pt idx="4">
                  <c:v>96.96</c:v>
                </c:pt>
                <c:pt idx="5">
                  <c:v>222.68</c:v>
                </c:pt>
                <c:pt idx="6">
                  <c:v>56.06</c:v>
                </c:pt>
                <c:pt idx="7">
                  <c:v>28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01D-43B5-A02F-809A5129BF5A}"/>
                </c:ext>
              </c:extLst>
            </c:dLbl>
            <c:dLbl>
              <c:idx val="1"/>
              <c:tx>
                <c:rich>
                  <a:bodyPr/>
                  <a:lstStyle/>
                  <a:p>
                    <a:r>
                      <a:rPr lang="en-US"/>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01D-43B5-A02F-809A5129BF5A}"/>
                </c:ext>
              </c:extLst>
            </c:dLbl>
            <c:dLbl>
              <c:idx val="2"/>
              <c:tx>
                <c:rich>
                  <a:bodyPr/>
                  <a:lstStyle/>
                  <a:p>
                    <a:r>
                      <a:rPr lang="en-US"/>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01D-43B5-A02F-809A5129BF5A}"/>
                </c:ext>
              </c:extLst>
            </c:dLbl>
            <c:dLbl>
              <c:idx val="3"/>
              <c:tx>
                <c:rich>
                  <a:bodyPr/>
                  <a:lstStyle/>
                  <a:p>
                    <a:r>
                      <a:rPr lang="en-US"/>
                      <a:t>3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01D-43B5-A02F-809A5129BF5A}"/>
                </c:ext>
              </c:extLst>
            </c:dLbl>
            <c:dLbl>
              <c:idx val="4"/>
              <c:tx>
                <c:rich>
                  <a:bodyPr/>
                  <a:lstStyle/>
                  <a:p>
                    <a:r>
                      <a:rPr lang="en-US"/>
                      <a:t>4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01D-43B5-A02F-809A5129BF5A}"/>
                </c:ext>
              </c:extLst>
            </c:dLbl>
            <c:dLbl>
              <c:idx val="5"/>
              <c:tx>
                <c:rich>
                  <a:bodyPr/>
                  <a:lstStyle/>
                  <a:p>
                    <a:r>
                      <a:rPr lang="en-US"/>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01D-43B5-A02F-809A5129BF5A}"/>
                </c:ext>
              </c:extLst>
            </c:dLbl>
            <c:dLbl>
              <c:idx val="6"/>
              <c:tx>
                <c:rich>
                  <a:bodyPr/>
                  <a:lstStyle/>
                  <a:p>
                    <a:r>
                      <a:rPr lang="en-US"/>
                      <a:t>42.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01D-43B5-A02F-809A5129BF5A}"/>
                </c:ext>
              </c:extLst>
            </c:dLbl>
            <c:dLbl>
              <c:idx val="7"/>
              <c:tx>
                <c:rich>
                  <a:bodyPr/>
                  <a:lstStyle/>
                  <a:p>
                    <a:r>
                      <a:rPr lang="en-US"/>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01D-43B5-A02F-809A5129BF5A}"/>
                </c:ext>
              </c:extLst>
            </c:dLbl>
            <c:dLbl>
              <c:idx val="8"/>
              <c:tx>
                <c:rich>
                  <a:bodyPr/>
                  <a:lstStyle/>
                  <a:p>
                    <a:r>
                      <a:rPr lang="en-US"/>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01D-43B5-A02F-809A5129BF5A}"/>
                </c:ext>
              </c:extLst>
            </c:dLbl>
            <c:dLbl>
              <c:idx val="9"/>
              <c:tx>
                <c:rich>
                  <a:bodyPr/>
                  <a:lstStyle/>
                  <a:p>
                    <a:r>
                      <a:rPr lang="en-US"/>
                      <a:t>8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01D-43B5-A02F-809A5129BF5A}"/>
                </c:ext>
              </c:extLst>
            </c:dLbl>
            <c:dLbl>
              <c:idx val="10"/>
              <c:tx>
                <c:rich>
                  <a:bodyPr/>
                  <a:lstStyle/>
                  <a:p>
                    <a:r>
                      <a:rPr lang="en-US"/>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01D-43B5-A02F-809A5129BF5A}"/>
                </c:ext>
              </c:extLst>
            </c:dLbl>
            <c:dLbl>
              <c:idx val="11"/>
              <c:tx>
                <c:rich>
                  <a:bodyPr/>
                  <a:lstStyle/>
                  <a:p>
                    <a:r>
                      <a:rPr lang="en-US"/>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01D-43B5-A02F-809A5129BF5A}"/>
                </c:ext>
              </c:extLst>
            </c:dLbl>
            <c:dLbl>
              <c:idx val="12"/>
              <c:tx>
                <c:rich>
                  <a:bodyPr/>
                  <a:lstStyle/>
                  <a:p>
                    <a:r>
                      <a:rPr lang="en-US"/>
                      <a:t>35.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01D-43B5-A02F-809A5129BF5A}"/>
                </c:ext>
              </c:extLst>
            </c:dLbl>
            <c:dLbl>
              <c:idx val="13"/>
              <c:tx>
                <c:rich>
                  <a:bodyPr/>
                  <a:lstStyle/>
                  <a:p>
                    <a:r>
                      <a:rPr lang="en-US"/>
                      <a:t>7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01D-43B5-A02F-809A5129BF5A}"/>
                </c:ext>
              </c:extLst>
            </c:dLbl>
            <c:dLbl>
              <c:idx val="14"/>
              <c:tx>
                <c:rich>
                  <a:bodyPr/>
                  <a:lstStyle/>
                  <a:p>
                    <a:r>
                      <a:rPr lang="en-US"/>
                      <a:t>4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01D-43B5-A02F-809A5129BF5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ROSE 1ERE CU 1CT X 750ML</c:v>
                </c:pt>
                <c:pt idx="7">
                  <c:v>CHAMPAGNE NICOLAS BIO NAT 2017 1CT X 750ML</c:v>
                </c:pt>
                <c:pt idx="8">
                  <c:v>CHAMPAGNE NICOLAS BLC DE NOIRS 1CT X 750ML</c:v>
                </c:pt>
                <c:pt idx="9">
                  <c:v>MG CHAMPAGNE NICOLAS BLC/BL BS 1CT X 1500ML</c:v>
                </c:pt>
                <c:pt idx="10">
                  <c:v>1/2 CHAMP NICOLAS ROSE 1E C BS 1CT X 375ML</c:v>
                </c:pt>
                <c:pt idx="11">
                  <c:v>1/2 CHAMP NICOLAS BLC/BLC BS 1CT X 375ML</c:v>
                </c:pt>
                <c:pt idx="12">
                  <c:v>CHAMPAGNE NICOLAS 1ER CRU BS 1CT X 750ML</c:v>
                </c:pt>
                <c:pt idx="13">
                  <c:v>MG CHAMPAGNE NICOLAS 1ERE CUVE 1CT X 1500ML</c:v>
                </c:pt>
                <c:pt idx="14">
                  <c:v>CHAMPAGNE NICOLAS ROSE 1E C BS 1CT X 750ML</c:v>
                </c:pt>
              </c:strCache>
            </c:strRef>
          </c:cat>
          <c:val>
            <c:numRef>
              <c:f>Sheet1!$B$2:$B$16</c:f>
              <c:numCache>
                <c:formatCode>General</c:formatCode>
                <c:ptCount val="15"/>
                <c:pt idx="0">
                  <c:v>21.93</c:v>
                </c:pt>
                <c:pt idx="1">
                  <c:v>39.08</c:v>
                </c:pt>
                <c:pt idx="2">
                  <c:v>25.05</c:v>
                </c:pt>
                <c:pt idx="3">
                  <c:v>36.979999999999997</c:v>
                </c:pt>
                <c:pt idx="4">
                  <c:v>45.8</c:v>
                </c:pt>
                <c:pt idx="5">
                  <c:v>22.31</c:v>
                </c:pt>
                <c:pt idx="6">
                  <c:v>42.65</c:v>
                </c:pt>
                <c:pt idx="7">
                  <c:v>46.69</c:v>
                </c:pt>
                <c:pt idx="8">
                  <c:v>36.369999999999997</c:v>
                </c:pt>
                <c:pt idx="9">
                  <c:v>81.19</c:v>
                </c:pt>
                <c:pt idx="10">
                  <c:v>24.16</c:v>
                </c:pt>
                <c:pt idx="11">
                  <c:v>23.76</c:v>
                </c:pt>
                <c:pt idx="12">
                  <c:v>35.979999999999997</c:v>
                </c:pt>
                <c:pt idx="13">
                  <c:v>75.209999999999994</c:v>
                </c:pt>
                <c:pt idx="14">
                  <c:v>4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376-45AA-A830-CCD4066F9393}"/>
                </c:ext>
              </c:extLst>
            </c:dLbl>
            <c:dLbl>
              <c:idx val="1"/>
              <c:tx>
                <c:rich>
                  <a:bodyPr/>
                  <a:lstStyle/>
                  <a:p>
                    <a:r>
                      <a:t>24.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376-45AA-A830-CCD4066F9393}"/>
                </c:ext>
              </c:extLst>
            </c:dLbl>
            <c:dLbl>
              <c:idx val="2"/>
              <c:tx>
                <c:rich>
                  <a:bodyPr/>
                  <a:lstStyle/>
                  <a:p>
                    <a:r>
                      <a:t>8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376-45AA-A830-CCD4066F9393}"/>
                </c:ext>
              </c:extLst>
            </c:dLbl>
            <c:dLbl>
              <c:idx val="3"/>
              <c:tx>
                <c:rich>
                  <a:bodyPr/>
                  <a:lstStyle/>
                  <a:p>
                    <a:r>
                      <a:t>9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376-45AA-A830-CCD4066F9393}"/>
                </c:ext>
              </c:extLst>
            </c:dLbl>
            <c:dLbl>
              <c:idx val="4"/>
              <c:tx>
                <c:rich>
                  <a:bodyPr/>
                  <a:lstStyle/>
                  <a:p>
                    <a:r>
                      <a:t>9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376-45AA-A830-CCD4066F9393}"/>
                </c:ext>
              </c:extLst>
            </c:dLbl>
            <c:dLbl>
              <c:idx val="5"/>
              <c:tx>
                <c:rich>
                  <a:bodyPr/>
                  <a:lstStyle/>
                  <a:p>
                    <a:r>
                      <a:t>22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376-45AA-A830-CCD4066F9393}"/>
                </c:ext>
              </c:extLst>
            </c:dLbl>
            <c:dLbl>
              <c:idx val="6"/>
              <c:tx>
                <c:rich>
                  <a:bodyPr/>
                  <a:lstStyle/>
                  <a:p>
                    <a:r>
                      <a:t>42.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376-45AA-A830-CCD4066F9393}"/>
                </c:ext>
              </c:extLst>
            </c:dLbl>
            <c:dLbl>
              <c:idx val="7"/>
              <c:tx>
                <c:rich>
                  <a:bodyPr/>
                  <a:lstStyle/>
                  <a:p>
                    <a:r>
                      <a:t>56.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376-45AA-A830-CCD4066F9393}"/>
                </c:ext>
              </c:extLst>
            </c:dLbl>
            <c:dLbl>
              <c:idx val="8"/>
              <c:tx>
                <c:rich>
                  <a:bodyPr/>
                  <a:lstStyle/>
                  <a:p>
                    <a:r>
                      <a:t>291.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376-45AA-A830-CCD4066F939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pt idx="8">
                  <c:v>DOM RUINART EXT BRUT SECO 2010 1CT X 750ML</c:v>
                </c:pt>
              </c:strCache>
            </c:strRef>
          </c:cat>
          <c:val>
            <c:numRef>
              <c:f>Sheet1!$B$2:$B$10</c:f>
              <c:numCache>
                <c:formatCode>General</c:formatCode>
                <c:ptCount val="9"/>
                <c:pt idx="0">
                  <c:v>39.049999999999997</c:v>
                </c:pt>
                <c:pt idx="1">
                  <c:v>24.06</c:v>
                </c:pt>
                <c:pt idx="2">
                  <c:v>83.3</c:v>
                </c:pt>
                <c:pt idx="3">
                  <c:v>93</c:v>
                </c:pt>
                <c:pt idx="4">
                  <c:v>96.83</c:v>
                </c:pt>
                <c:pt idx="5">
                  <c:v>221.52</c:v>
                </c:pt>
                <c:pt idx="6">
                  <c:v>42.57</c:v>
                </c:pt>
                <c:pt idx="7">
                  <c:v>56.18</c:v>
                </c:pt>
                <c:pt idx="8">
                  <c:v>291.58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59-4202-ADD2-B8BF17D5A6CE}"/>
                </c:ext>
              </c:extLst>
            </c:dLbl>
            <c:dLbl>
              <c:idx val="1"/>
              <c:tx>
                <c:rich>
                  <a:bodyPr/>
                  <a:lstStyle/>
                  <a:p>
                    <a:r>
                      <a:t>8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559-4202-ADD2-B8BF17D5A6CE}"/>
                </c:ext>
              </c:extLst>
            </c:dLbl>
            <c:dLbl>
              <c:idx val="2"/>
              <c:tx>
                <c:rich>
                  <a:bodyPr/>
                  <a:lstStyle/>
                  <a:p>
                    <a:r>
                      <a:t>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559-4202-ADD2-B8BF17D5A6CE}"/>
                </c:ext>
              </c:extLst>
            </c:dLbl>
            <c:dLbl>
              <c:idx val="3"/>
              <c:tx>
                <c:rich>
                  <a:bodyPr/>
                  <a:lstStyle/>
                  <a:p>
                    <a:r>
                      <a:t>92.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559-4202-ADD2-B8BF17D5A6CE}"/>
                </c:ext>
              </c:extLst>
            </c:dLbl>
            <c:dLbl>
              <c:idx val="4"/>
              <c:tx>
                <c:rich>
                  <a:bodyPr/>
                  <a:lstStyle/>
                  <a:p>
                    <a:r>
                      <a:t>97.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559-4202-ADD2-B8BF17D5A6CE}"/>
                </c:ext>
              </c:extLst>
            </c:dLbl>
            <c:dLbl>
              <c:idx val="5"/>
              <c:tx>
                <c:rich>
                  <a:bodyPr/>
                  <a:lstStyle/>
                  <a:p>
                    <a:r>
                      <a:t>22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559-4202-ADD2-B8BF17D5A6CE}"/>
                </c:ext>
              </c:extLst>
            </c:dLbl>
            <c:dLbl>
              <c:idx val="6"/>
              <c:tx>
                <c:rich>
                  <a:bodyPr/>
                  <a:lstStyle/>
                  <a:p>
                    <a:r>
                      <a:t>55.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559-4202-ADD2-B8BF17D5A6CE}"/>
                </c:ext>
              </c:extLst>
            </c:dLbl>
            <c:dLbl>
              <c:idx val="7"/>
              <c:tx>
                <c:rich>
                  <a:bodyPr/>
                  <a:lstStyle/>
                  <a:p>
                    <a:r>
                      <a:t>305.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559-4202-ADD2-B8BF17D5A6C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20000000000003</c:v>
                </c:pt>
                <c:pt idx="1">
                  <c:v>83.76</c:v>
                </c:pt>
                <c:pt idx="2">
                  <c:v>24.3</c:v>
                </c:pt>
                <c:pt idx="3">
                  <c:v>92.85</c:v>
                </c:pt>
                <c:pt idx="4">
                  <c:v>97.19</c:v>
                </c:pt>
                <c:pt idx="5">
                  <c:v>221.52</c:v>
                </c:pt>
                <c:pt idx="6">
                  <c:v>55.98</c:v>
                </c:pt>
                <c:pt idx="7">
                  <c:v>305.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AF0-40F0-ACB8-6D74B2CBBC32}"/>
                </c:ext>
              </c:extLst>
            </c:dLbl>
            <c:dLbl>
              <c:idx val="1"/>
              <c:tx>
                <c:rich>
                  <a:bodyPr/>
                  <a:lstStyle/>
                  <a:p>
                    <a:r>
                      <a:t>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AF0-40F0-ACB8-6D74B2CBBC32}"/>
                </c:ext>
              </c:extLst>
            </c:dLbl>
            <c:dLbl>
              <c:idx val="2"/>
              <c:tx>
                <c:rich>
                  <a:bodyPr/>
                  <a:lstStyle/>
                  <a:p>
                    <a:r>
                      <a:t>9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F0-40F0-ACB8-6D74B2CBBC32}"/>
                </c:ext>
              </c:extLst>
            </c:dLbl>
            <c:dLbl>
              <c:idx val="3"/>
              <c:tx>
                <c:rich>
                  <a:bodyPr/>
                  <a:lstStyle/>
                  <a:p>
                    <a:r>
                      <a:t>9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AF0-40F0-ACB8-6D74B2CBBC32}"/>
                </c:ext>
              </c:extLst>
            </c:dLbl>
            <c:dLbl>
              <c:idx val="4"/>
              <c:tx>
                <c:rich>
                  <a:bodyPr/>
                  <a:lstStyle/>
                  <a:p>
                    <a:r>
                      <a:t>223.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AF0-40F0-ACB8-6D74B2CBBC32}"/>
                </c:ext>
              </c:extLst>
            </c:dLbl>
            <c:dLbl>
              <c:idx val="5"/>
              <c:tx>
                <c:rich>
                  <a:bodyPr/>
                  <a:lstStyle/>
                  <a:p>
                    <a:r>
                      <a:t>55.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AF0-40F0-ACB8-6D74B2CBBC32}"/>
                </c:ext>
              </c:extLst>
            </c:dLbl>
            <c:dLbl>
              <c:idx val="6"/>
              <c:tx>
                <c:rich>
                  <a:bodyPr/>
                  <a:lstStyle/>
                  <a:p>
                    <a:r>
                      <a:t>42.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AF0-40F0-ACB8-6D74B2CBBC32}"/>
                </c:ext>
              </c:extLst>
            </c:dLbl>
            <c:dLbl>
              <c:idx val="7"/>
              <c:tx>
                <c:rich>
                  <a:bodyPr/>
                  <a:lstStyle/>
                  <a:p>
                    <a:r>
                      <a:t>27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AF0-40F0-ACB8-6D74B2CBBC3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CHAMPAGNE CH DE BLIGNY BLC/BLC 1CT X 750ML</c:v>
                </c:pt>
                <c:pt idx="7">
                  <c:v>DOM RUINART EXT BRUT SECO 2010 1CT X 750ML</c:v>
                </c:pt>
              </c:strCache>
            </c:strRef>
          </c:cat>
          <c:val>
            <c:numRef>
              <c:f>Sheet1!$B$2:$B$9</c:f>
              <c:numCache>
                <c:formatCode>General</c:formatCode>
                <c:ptCount val="8"/>
                <c:pt idx="0">
                  <c:v>38.979999999999997</c:v>
                </c:pt>
                <c:pt idx="1">
                  <c:v>24.1</c:v>
                </c:pt>
                <c:pt idx="2">
                  <c:v>93.15</c:v>
                </c:pt>
                <c:pt idx="3">
                  <c:v>96.97</c:v>
                </c:pt>
                <c:pt idx="4">
                  <c:v>223.31</c:v>
                </c:pt>
                <c:pt idx="5">
                  <c:v>55.75</c:v>
                </c:pt>
                <c:pt idx="6">
                  <c:v>42.56</c:v>
                </c:pt>
                <c:pt idx="7">
                  <c:v>279.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83B-4890-99EB-93846B5573AC}"/>
                </c:ext>
              </c:extLst>
            </c:dLbl>
            <c:dLbl>
              <c:idx val="1"/>
              <c:tx>
                <c:rich>
                  <a:bodyPr/>
                  <a:lstStyle/>
                  <a:p>
                    <a:r>
                      <a:t>24.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83B-4890-99EB-93846B5573AC}"/>
                </c:ext>
              </c:extLst>
            </c:dLbl>
            <c:dLbl>
              <c:idx val="2"/>
              <c:tx>
                <c:rich>
                  <a:bodyPr/>
                  <a:lstStyle/>
                  <a:p>
                    <a:r>
                      <a:t>9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83B-4890-99EB-93846B5573AC}"/>
                </c:ext>
              </c:extLst>
            </c:dLbl>
            <c:dLbl>
              <c:idx val="3"/>
              <c:tx>
                <c:rich>
                  <a:bodyPr/>
                  <a:lstStyle/>
                  <a:p>
                    <a:r>
                      <a:t>9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83B-4890-99EB-93846B5573AC}"/>
                </c:ext>
              </c:extLst>
            </c:dLbl>
            <c:dLbl>
              <c:idx val="4"/>
              <c:tx>
                <c:rich>
                  <a:bodyPr/>
                  <a:lstStyle/>
                  <a:p>
                    <a:r>
                      <a:t>221.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83B-4890-99EB-93846B5573AC}"/>
                </c:ext>
              </c:extLst>
            </c:dLbl>
            <c:dLbl>
              <c:idx val="5"/>
              <c:tx>
                <c:rich>
                  <a:bodyPr/>
                  <a:lstStyle/>
                  <a:p>
                    <a:r>
                      <a:t>56.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83B-4890-99EB-93846B5573AC}"/>
                </c:ext>
              </c:extLst>
            </c:dLbl>
            <c:dLbl>
              <c:idx val="6"/>
              <c:tx>
                <c:rich>
                  <a:bodyPr/>
                  <a:lstStyle/>
                  <a:p>
                    <a:r>
                      <a:t>42.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83B-4890-99EB-93846B5573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CHAMPAGNE CH DE BLIGNY BLC/BLC 1CT X 750ML</c:v>
                </c:pt>
              </c:strCache>
            </c:strRef>
          </c:cat>
          <c:val>
            <c:numRef>
              <c:f>Sheet1!$B$2:$B$8</c:f>
              <c:numCache>
                <c:formatCode>General</c:formatCode>
                <c:ptCount val="7"/>
                <c:pt idx="0">
                  <c:v>39.08</c:v>
                </c:pt>
                <c:pt idx="1">
                  <c:v>24.16</c:v>
                </c:pt>
                <c:pt idx="2">
                  <c:v>92.88</c:v>
                </c:pt>
                <c:pt idx="3">
                  <c:v>97.84</c:v>
                </c:pt>
                <c:pt idx="4">
                  <c:v>221.12</c:v>
                </c:pt>
                <c:pt idx="5">
                  <c:v>56.74</c:v>
                </c:pt>
                <c:pt idx="6">
                  <c:v>4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A9-4424-BE0F-4F2FDC6B8347}"/>
                </c:ext>
              </c:extLst>
            </c:dLbl>
            <c:dLbl>
              <c:idx val="1"/>
              <c:tx>
                <c:rich>
                  <a:bodyPr/>
                  <a:lstStyle/>
                  <a:p>
                    <a:r>
                      <a:t>100.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A9-4424-BE0F-4F2FDC6B8347}"/>
                </c:ext>
              </c:extLst>
            </c:dLbl>
            <c:dLbl>
              <c:idx val="2"/>
              <c:tx>
                <c:rich>
                  <a:bodyPr/>
                  <a:lstStyle/>
                  <a:p>
                    <a:r>
                      <a:t>96.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A9-4424-BE0F-4F2FDC6B8347}"/>
                </c:ext>
              </c:extLst>
            </c:dLbl>
            <c:dLbl>
              <c:idx val="3"/>
              <c:tx>
                <c:rich>
                  <a:bodyPr/>
                  <a:lstStyle/>
                  <a:p>
                    <a:r>
                      <a:t>55.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A9-4424-BE0F-4F2FDC6B8347}"/>
                </c:ext>
              </c:extLst>
            </c:dLbl>
            <c:dLbl>
              <c:idx val="4"/>
              <c:tx>
                <c:rich>
                  <a:bodyPr/>
                  <a:lstStyle/>
                  <a:p>
                    <a:r>
                      <a:t>21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A9-4424-BE0F-4F2FDC6B834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BLC/BLC BS 1CT X 750ML</c:v>
                </c:pt>
                <c:pt idx="1">
                  <c:v>RUINART BLANC DE BLANCS (NUE) 1CT X 750ML</c:v>
                </c:pt>
                <c:pt idx="2">
                  <c:v>RUINART BLANC DE BLANCS SECOND 1CT X 750ML</c:v>
                </c:pt>
                <c:pt idx="3">
                  <c:v>1/2 RUINART BLANC DE BLANCS 1CT X 375ML</c:v>
                </c:pt>
                <c:pt idx="4">
                  <c:v>MG RUINART BLC DE BLANC SECOND 1CT X 1500ML</c:v>
                </c:pt>
              </c:strCache>
            </c:strRef>
          </c:cat>
          <c:val>
            <c:numRef>
              <c:f>Sheet1!$B$2:$B$6</c:f>
              <c:numCache>
                <c:formatCode>General</c:formatCode>
                <c:ptCount val="5"/>
                <c:pt idx="0">
                  <c:v>39.590000000000003</c:v>
                </c:pt>
                <c:pt idx="1">
                  <c:v>100.91</c:v>
                </c:pt>
                <c:pt idx="2">
                  <c:v>96.87</c:v>
                </c:pt>
                <c:pt idx="3">
                  <c:v>55.82</c:v>
                </c:pt>
                <c:pt idx="4">
                  <c:v>215.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3B3-48DA-87EA-7DED081F769C}"/>
                </c:ext>
              </c:extLst>
            </c:dLbl>
            <c:dLbl>
              <c:idx val="1"/>
              <c:tx>
                <c:rich>
                  <a:bodyPr/>
                  <a:lstStyle/>
                  <a:p>
                    <a:r>
                      <a:t>23.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3B3-48DA-87EA-7DED081F769C}"/>
                </c:ext>
              </c:extLst>
            </c:dLbl>
            <c:dLbl>
              <c:idx val="2"/>
              <c:tx>
                <c:rich>
                  <a:bodyPr/>
                  <a:lstStyle/>
                  <a:p>
                    <a:r>
                      <a:t>88.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B3-48DA-87EA-7DED081F769C}"/>
                </c:ext>
              </c:extLst>
            </c:dLbl>
            <c:dLbl>
              <c:idx val="3"/>
              <c:tx>
                <c:rich>
                  <a:bodyPr/>
                  <a:lstStyle/>
                  <a:p>
                    <a:r>
                      <a:t>9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B3-48DA-87EA-7DED081F769C}"/>
                </c:ext>
              </c:extLst>
            </c:dLbl>
            <c:dLbl>
              <c:idx val="4"/>
              <c:tx>
                <c:rich>
                  <a:bodyPr/>
                  <a:lstStyle/>
                  <a:p>
                    <a:r>
                      <a:t>97.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3B3-48DA-87EA-7DED081F769C}"/>
                </c:ext>
              </c:extLst>
            </c:dLbl>
            <c:dLbl>
              <c:idx val="5"/>
              <c:tx>
                <c:rich>
                  <a:bodyPr/>
                  <a:lstStyle/>
                  <a:p>
                    <a:r>
                      <a:t>220.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3B3-48DA-87EA-7DED081F769C}"/>
                </c:ext>
              </c:extLst>
            </c:dLbl>
            <c:dLbl>
              <c:idx val="6"/>
              <c:tx>
                <c:rich>
                  <a:bodyPr/>
                  <a:lstStyle/>
                  <a:p>
                    <a:r>
                      <a:t>55.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3B3-48DA-87EA-7DED081F769C}"/>
                </c:ext>
              </c:extLst>
            </c:dLbl>
            <c:dLbl>
              <c:idx val="7"/>
              <c:tx>
                <c:rich>
                  <a:bodyPr/>
                  <a:lstStyle/>
                  <a:p>
                    <a:r>
                      <a:t>28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3B3-48DA-87EA-7DED081F769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c:v>
                </c:pt>
                <c:pt idx="1">
                  <c:v>23.89</c:v>
                </c:pt>
                <c:pt idx="2">
                  <c:v>88.11</c:v>
                </c:pt>
                <c:pt idx="3">
                  <c:v>92.9</c:v>
                </c:pt>
                <c:pt idx="4">
                  <c:v>97.18</c:v>
                </c:pt>
                <c:pt idx="5">
                  <c:v>220.12</c:v>
                </c:pt>
                <c:pt idx="6">
                  <c:v>55.74</c:v>
                </c:pt>
                <c:pt idx="7">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99D-4803-B21C-57C12C87EF97}"/>
                </c:ext>
              </c:extLst>
            </c:dLbl>
            <c:dLbl>
              <c:idx val="1"/>
              <c:tx>
                <c:rich>
                  <a:bodyPr/>
                  <a:lstStyle/>
                  <a:p>
                    <a:r>
                      <a:t>77.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9D-4803-B21C-57C12C87EF97}"/>
                </c:ext>
              </c:extLst>
            </c:dLbl>
            <c:dLbl>
              <c:idx val="2"/>
              <c:tx>
                <c:rich>
                  <a:bodyPr/>
                  <a:lstStyle/>
                  <a:p>
                    <a:r>
                      <a:t>24.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99D-4803-B21C-57C12C87EF97}"/>
                </c:ext>
              </c:extLst>
            </c:dLbl>
            <c:dLbl>
              <c:idx val="3"/>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9D-4803-B21C-57C12C87EF97}"/>
                </c:ext>
              </c:extLst>
            </c:dLbl>
            <c:dLbl>
              <c:idx val="4"/>
              <c:tx>
                <c:rich>
                  <a:bodyPr/>
                  <a:lstStyle/>
                  <a:p>
                    <a:r>
                      <a:t>96.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99D-4803-B21C-57C12C87EF97}"/>
                </c:ext>
              </c:extLst>
            </c:dLbl>
            <c:dLbl>
              <c:idx val="5"/>
              <c:tx>
                <c:rich>
                  <a:bodyPr/>
                  <a:lstStyle/>
                  <a:p>
                    <a:r>
                      <a:t>222.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9D-4803-B21C-57C12C87EF97}"/>
                </c:ext>
              </c:extLst>
            </c:dLbl>
            <c:dLbl>
              <c:idx val="6"/>
              <c:tx>
                <c:rich>
                  <a:bodyPr/>
                  <a:lstStyle/>
                  <a:p>
                    <a:r>
                      <a:t>55.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99D-4803-B21C-57C12C87EF97}"/>
                </c:ext>
              </c:extLst>
            </c:dLbl>
            <c:dLbl>
              <c:idx val="7"/>
              <c:tx>
                <c:rich>
                  <a:bodyPr/>
                  <a:lstStyle/>
                  <a:p>
                    <a:r>
                      <a:t>33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9D-4803-B21C-57C12C87EF9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200000000000003</c:v>
                </c:pt>
                <c:pt idx="1">
                  <c:v>77.790000000000006</c:v>
                </c:pt>
                <c:pt idx="2">
                  <c:v>24.38</c:v>
                </c:pt>
                <c:pt idx="3">
                  <c:v>95.19</c:v>
                </c:pt>
                <c:pt idx="4">
                  <c:v>96.67</c:v>
                </c:pt>
                <c:pt idx="5">
                  <c:v>222.16</c:v>
                </c:pt>
                <c:pt idx="6">
                  <c:v>55.69</c:v>
                </c:pt>
                <c:pt idx="7">
                  <c:v>3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914-4F1E-A121-703DDA5B966F}"/>
                </c:ext>
              </c:extLst>
            </c:dLbl>
            <c:dLbl>
              <c:idx val="1"/>
              <c:tx>
                <c:rich>
                  <a:bodyPr/>
                  <a:lstStyle/>
                  <a:p>
                    <a:r>
                      <a:t>9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14-4F1E-A121-703DDA5B966F}"/>
                </c:ext>
              </c:extLst>
            </c:dLbl>
            <c:dLbl>
              <c:idx val="2"/>
              <c:tx>
                <c:rich>
                  <a:bodyPr/>
                  <a:lstStyle/>
                  <a:p>
                    <a:r>
                      <a:t>95.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914-4F1E-A121-703DDA5B966F}"/>
                </c:ext>
              </c:extLst>
            </c:dLbl>
            <c:dLbl>
              <c:idx val="3"/>
              <c:tx>
                <c:rich>
                  <a:bodyPr/>
                  <a:lstStyle/>
                  <a:p>
                    <a:r>
                      <a:t>228.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14-4F1E-A121-703DDA5B966F}"/>
                </c:ext>
              </c:extLst>
            </c:dLbl>
            <c:dLbl>
              <c:idx val="4"/>
              <c:tx>
                <c:rich>
                  <a:bodyPr/>
                  <a:lstStyle/>
                  <a:p>
                    <a:r>
                      <a:t>4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914-4F1E-A121-703DDA5B966F}"/>
                </c:ext>
              </c:extLst>
            </c:dLbl>
            <c:dLbl>
              <c:idx val="5"/>
              <c:tx>
                <c:rich>
                  <a:bodyPr/>
                  <a:lstStyle/>
                  <a:p>
                    <a:r>
                      <a:t>5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14-4F1E-A121-703DDA5B966F}"/>
                </c:ext>
              </c:extLst>
            </c:dLbl>
            <c:dLbl>
              <c:idx val="6"/>
              <c:tx>
                <c:rich>
                  <a:bodyPr/>
                  <a:lstStyle/>
                  <a:p>
                    <a:r>
                      <a:t>29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914-4F1E-A121-703DDA5B966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RUINART BLANC DE BLANCS (NUE) 1CT X 750ML</c:v>
                </c:pt>
                <c:pt idx="2">
                  <c:v>RUINART BLANC DE BLANCS SECOND 1CT X 750ML</c:v>
                </c:pt>
                <c:pt idx="3">
                  <c:v>MG RUINART BLC DE BLANC SECOND 1CT X 1500ML</c:v>
                </c:pt>
                <c:pt idx="4">
                  <c:v>CHAMPAGNE CH DE BLIGNY BLC/BLC 1CT X 750ML</c:v>
                </c:pt>
                <c:pt idx="5">
                  <c:v>1/2 RUINART BLANC DE BLANCS 1CT X 375ML</c:v>
                </c:pt>
                <c:pt idx="6">
                  <c:v>DOM RUINART EXT BRUT SECO 2010 1CT X 750ML</c:v>
                </c:pt>
              </c:strCache>
            </c:strRef>
          </c:cat>
          <c:val>
            <c:numRef>
              <c:f>Sheet1!$B$2:$B$8</c:f>
              <c:numCache>
                <c:formatCode>General</c:formatCode>
                <c:ptCount val="7"/>
                <c:pt idx="0">
                  <c:v>39.229999999999997</c:v>
                </c:pt>
                <c:pt idx="1">
                  <c:v>93.33</c:v>
                </c:pt>
                <c:pt idx="2">
                  <c:v>95.56</c:v>
                </c:pt>
                <c:pt idx="3">
                  <c:v>228.64</c:v>
                </c:pt>
                <c:pt idx="4">
                  <c:v>42.42</c:v>
                </c:pt>
                <c:pt idx="5">
                  <c:v>55.05</c:v>
                </c:pt>
                <c:pt idx="6">
                  <c:v>2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EF5-43C6-BBB7-E1C5A0586E2D}"/>
                </c:ext>
              </c:extLst>
            </c:dLbl>
            <c:dLbl>
              <c:idx val="1"/>
              <c:tx>
                <c:rich>
                  <a:bodyPr/>
                  <a:lstStyle/>
                  <a:p>
                    <a:r>
                      <a:t>94.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EF5-43C6-BBB7-E1C5A0586E2D}"/>
                </c:ext>
              </c:extLst>
            </c:dLbl>
            <c:dLbl>
              <c:idx val="2"/>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EF5-43C6-BBB7-E1C5A0586E2D}"/>
                </c:ext>
              </c:extLst>
            </c:dLbl>
            <c:dLbl>
              <c:idx val="3"/>
              <c:tx>
                <c:rich>
                  <a:bodyPr/>
                  <a:lstStyle/>
                  <a:p>
                    <a:r>
                      <a:t>60.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EF5-43C6-BBB7-E1C5A0586E2D}"/>
                </c:ext>
              </c:extLst>
            </c:dLbl>
            <c:dLbl>
              <c:idx val="4"/>
              <c:tx>
                <c:rich>
                  <a:bodyPr/>
                  <a:lstStyle/>
                  <a:p>
                    <a:r>
                      <a:t>44.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EF5-43C6-BBB7-E1C5A0586E2D}"/>
                </c:ext>
              </c:extLst>
            </c:dLbl>
            <c:dLbl>
              <c:idx val="5"/>
              <c:tx>
                <c:rich>
                  <a:bodyPr/>
                  <a:lstStyle/>
                  <a:p>
                    <a:r>
                      <a:t>56.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EF5-43C6-BBB7-E1C5A0586E2D}"/>
                </c:ext>
              </c:extLst>
            </c:dLbl>
            <c:dLbl>
              <c:idx val="6"/>
              <c:tx>
                <c:rich>
                  <a:bodyPr/>
                  <a:lstStyle/>
                  <a:p>
                    <a:r>
                      <a:t>244.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EF5-43C6-BBB7-E1C5A0586E2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RUINART BLANC DE BLANCS (NUE) 1CT X 750ML</c:v>
                </c:pt>
                <c:pt idx="2">
                  <c:v>RUINART BLANC DE BLANCS SECOND 1CT X 750ML</c:v>
                </c:pt>
                <c:pt idx="3">
                  <c:v>BESSERAT BELLEFON BLC DE BLCS 1CT X 750ML</c:v>
                </c:pt>
                <c:pt idx="4">
                  <c:v>CHAMPAGNE CH DE BLIGNY BLC/BLC 1CT X 750ML</c:v>
                </c:pt>
                <c:pt idx="5">
                  <c:v>1/2 RUINART BLANC DE BLANCS 1CT X 375ML</c:v>
                </c:pt>
                <c:pt idx="6">
                  <c:v>MG RUINART BLC DE BLANC SECOND 1CT X 1500ML</c:v>
                </c:pt>
              </c:strCache>
            </c:strRef>
          </c:cat>
          <c:val>
            <c:numRef>
              <c:f>Sheet1!$B$2:$B$8</c:f>
              <c:numCache>
                <c:formatCode>General</c:formatCode>
                <c:ptCount val="7"/>
                <c:pt idx="0">
                  <c:v>38.74</c:v>
                </c:pt>
                <c:pt idx="1">
                  <c:v>94.19</c:v>
                </c:pt>
                <c:pt idx="2">
                  <c:v>99.39</c:v>
                </c:pt>
                <c:pt idx="3">
                  <c:v>60.86</c:v>
                </c:pt>
                <c:pt idx="4">
                  <c:v>44.88</c:v>
                </c:pt>
                <c:pt idx="5">
                  <c:v>56.68</c:v>
                </c:pt>
                <c:pt idx="6">
                  <c:v>24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4A7-49E0-B117-385FB9479D12}"/>
                </c:ext>
              </c:extLst>
            </c:dLbl>
            <c:dLbl>
              <c:idx val="1"/>
              <c:tx>
                <c:rich>
                  <a:bodyPr/>
                  <a:lstStyle/>
                  <a:p>
                    <a:r>
                      <a:t>9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4A7-49E0-B117-385FB9479D12}"/>
                </c:ext>
              </c:extLst>
            </c:dLbl>
            <c:dLbl>
              <c:idx val="2"/>
              <c:tx>
                <c:rich>
                  <a:bodyPr/>
                  <a:lstStyle/>
                  <a:p>
                    <a:r>
                      <a:t>95.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4A7-49E0-B117-385FB9479D12}"/>
                </c:ext>
              </c:extLst>
            </c:dLbl>
            <c:dLbl>
              <c:idx val="3"/>
              <c:tx>
                <c:rich>
                  <a:bodyPr/>
                  <a:lstStyle/>
                  <a:p>
                    <a:r>
                      <a:t>19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4A7-49E0-B117-385FB9479D1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BLC/BLC BS 1CT X 750ML</c:v>
                </c:pt>
                <c:pt idx="1">
                  <c:v>RUINART BLANC DE BLANCS (NUE) 1CT X 750ML</c:v>
                </c:pt>
                <c:pt idx="2">
                  <c:v>RUINART BLANC DE BLANCS SECOND 1CT X 750ML</c:v>
                </c:pt>
                <c:pt idx="3">
                  <c:v>MG RUINART BLC DE BLANC SECOND 1CT X 1500ML</c:v>
                </c:pt>
              </c:strCache>
            </c:strRef>
          </c:cat>
          <c:val>
            <c:numRef>
              <c:f>Sheet1!$B$2:$B$5</c:f>
              <c:numCache>
                <c:formatCode>General</c:formatCode>
                <c:ptCount val="4"/>
                <c:pt idx="0">
                  <c:v>38.72</c:v>
                </c:pt>
                <c:pt idx="1">
                  <c:v>95.01</c:v>
                </c:pt>
                <c:pt idx="2">
                  <c:v>95.06</c:v>
                </c:pt>
                <c:pt idx="3">
                  <c:v>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D08-41D4-ACC7-1336E6ED0080}"/>
                </c:ext>
              </c:extLst>
            </c:dLbl>
            <c:dLbl>
              <c:idx val="1"/>
              <c:tx>
                <c:rich>
                  <a:bodyPr/>
                  <a:lstStyle/>
                  <a:p>
                    <a:r>
                      <a:rPr lang="en-US"/>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D08-41D4-ACC7-1336E6ED0080}"/>
                </c:ext>
              </c:extLst>
            </c:dLbl>
            <c:dLbl>
              <c:idx val="2"/>
              <c:tx>
                <c:rich>
                  <a:bodyPr/>
                  <a:lstStyle/>
                  <a:p>
                    <a:r>
                      <a:rPr lang="en-US"/>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D08-41D4-ACC7-1336E6ED0080}"/>
                </c:ext>
              </c:extLst>
            </c:dLbl>
            <c:dLbl>
              <c:idx val="3"/>
              <c:tx>
                <c:rich>
                  <a:bodyPr/>
                  <a:lstStyle/>
                  <a:p>
                    <a:r>
                      <a:rPr lang="en-US"/>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D08-41D4-ACC7-1336E6ED0080}"/>
                </c:ext>
              </c:extLst>
            </c:dLbl>
            <c:dLbl>
              <c:idx val="4"/>
              <c:tx>
                <c:rich>
                  <a:bodyPr/>
                  <a:lstStyle/>
                  <a:p>
                    <a:r>
                      <a:rPr lang="en-US"/>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D08-41D4-ACC7-1336E6ED0080}"/>
                </c:ext>
              </c:extLst>
            </c:dLbl>
            <c:dLbl>
              <c:idx val="5"/>
              <c:tx>
                <c:rich>
                  <a:bodyPr/>
                  <a:lstStyle/>
                  <a:p>
                    <a:r>
                      <a:rPr lang="en-US"/>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D08-41D4-ACC7-1336E6ED0080}"/>
                </c:ext>
              </c:extLst>
            </c:dLbl>
            <c:dLbl>
              <c:idx val="6"/>
              <c:tx>
                <c:rich>
                  <a:bodyPr/>
                  <a:lstStyle/>
                  <a:p>
                    <a:r>
                      <a:rPr lang="en-US"/>
                      <a:t>4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D08-41D4-ACC7-1336E6ED0080}"/>
                </c:ext>
              </c:extLst>
            </c:dLbl>
            <c:dLbl>
              <c:idx val="7"/>
              <c:tx>
                <c:rich>
                  <a:bodyPr/>
                  <a:lstStyle/>
                  <a:p>
                    <a:r>
                      <a:rPr lang="en-US"/>
                      <a:t>41.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D08-41D4-ACC7-1336E6ED0080}"/>
                </c:ext>
              </c:extLst>
            </c:dLbl>
            <c:dLbl>
              <c:idx val="8"/>
              <c:tx>
                <c:rich>
                  <a:bodyPr/>
                  <a:lstStyle/>
                  <a:p>
                    <a:r>
                      <a:rPr lang="en-US"/>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D08-41D4-ACC7-1336E6ED0080}"/>
                </c:ext>
              </c:extLst>
            </c:dLbl>
            <c:dLbl>
              <c:idx val="9"/>
              <c:tx>
                <c:rich>
                  <a:bodyPr/>
                  <a:lstStyle/>
                  <a:p>
                    <a:r>
                      <a:rPr lang="en-US"/>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D08-41D4-ACC7-1336E6ED0080}"/>
                </c:ext>
              </c:extLst>
            </c:dLbl>
            <c:dLbl>
              <c:idx val="10"/>
              <c:tx>
                <c:rich>
                  <a:bodyPr/>
                  <a:lstStyle/>
                  <a:p>
                    <a:r>
                      <a:rPr lang="en-US"/>
                      <a:t>2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D08-41D4-ACC7-1336E6ED0080}"/>
                </c:ext>
              </c:extLst>
            </c:dLbl>
            <c:dLbl>
              <c:idx val="11"/>
              <c:tx>
                <c:rich>
                  <a:bodyPr/>
                  <a:lstStyle/>
                  <a:p>
                    <a:r>
                      <a:rPr lang="en-US"/>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D08-41D4-ACC7-1336E6ED0080}"/>
                </c:ext>
              </c:extLst>
            </c:dLbl>
            <c:dLbl>
              <c:idx val="12"/>
              <c:tx>
                <c:rich>
                  <a:bodyPr/>
                  <a:lstStyle/>
                  <a:p>
                    <a:r>
                      <a:rPr lang="en-US"/>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D08-41D4-ACC7-1336E6ED0080}"/>
                </c:ext>
              </c:extLst>
            </c:dLbl>
            <c:dLbl>
              <c:idx val="13"/>
              <c:tx>
                <c:rich>
                  <a:bodyPr/>
                  <a:lstStyle/>
                  <a:p>
                    <a:r>
                      <a:rPr lang="en-US"/>
                      <a:t>75.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D08-41D4-ACC7-1336E6ED0080}"/>
                </c:ext>
              </c:extLst>
            </c:dLbl>
            <c:dLbl>
              <c:idx val="14"/>
              <c:tx>
                <c:rich>
                  <a:bodyPr/>
                  <a:lstStyle/>
                  <a:p>
                    <a:r>
                      <a:rPr lang="en-US"/>
                      <a:t>38.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D08-41D4-ACC7-1336E6ED008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5</c:v>
                </c:pt>
                <c:pt idx="1">
                  <c:v>38.99</c:v>
                </c:pt>
                <c:pt idx="2">
                  <c:v>24.99</c:v>
                </c:pt>
                <c:pt idx="3">
                  <c:v>37.869999999999997</c:v>
                </c:pt>
                <c:pt idx="4">
                  <c:v>22.49</c:v>
                </c:pt>
                <c:pt idx="5">
                  <c:v>45.15</c:v>
                </c:pt>
                <c:pt idx="6">
                  <c:v>46.51</c:v>
                </c:pt>
                <c:pt idx="7">
                  <c:v>41.43</c:v>
                </c:pt>
                <c:pt idx="8">
                  <c:v>23.99</c:v>
                </c:pt>
                <c:pt idx="9">
                  <c:v>85.63</c:v>
                </c:pt>
                <c:pt idx="10">
                  <c:v>23.53</c:v>
                </c:pt>
                <c:pt idx="11">
                  <c:v>37.119999999999997</c:v>
                </c:pt>
                <c:pt idx="12">
                  <c:v>36.97</c:v>
                </c:pt>
                <c:pt idx="13">
                  <c:v>75.36</c:v>
                </c:pt>
                <c:pt idx="14">
                  <c:v>38.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14-4CC3-8894-95F3AEF7C7C6}"/>
                </c:ext>
              </c:extLst>
            </c:dLbl>
            <c:dLbl>
              <c:idx val="1"/>
              <c:tx>
                <c:rich>
                  <a:bodyPr/>
                  <a:lstStyle/>
                  <a:p>
                    <a:r>
                      <a:t>23.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14-4CC3-8894-95F3AEF7C7C6}"/>
                </c:ext>
              </c:extLst>
            </c:dLbl>
            <c:dLbl>
              <c:idx val="2"/>
              <c:tx>
                <c:rich>
                  <a:bodyPr/>
                  <a:lstStyle/>
                  <a:p>
                    <a:r>
                      <a:t>8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14-4CC3-8894-95F3AEF7C7C6}"/>
                </c:ext>
              </c:extLst>
            </c:dLbl>
            <c:dLbl>
              <c:idx val="3"/>
              <c:tx>
                <c:rich>
                  <a:bodyPr/>
                  <a:lstStyle/>
                  <a:p>
                    <a:r>
                      <a:t>9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E14-4CC3-8894-95F3AEF7C7C6}"/>
                </c:ext>
              </c:extLst>
            </c:dLbl>
            <c:dLbl>
              <c:idx val="4"/>
              <c:tx>
                <c:rich>
                  <a:bodyPr/>
                  <a:lstStyle/>
                  <a:p>
                    <a:r>
                      <a:t>97.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E14-4CC3-8894-95F3AEF7C7C6}"/>
                </c:ext>
              </c:extLst>
            </c:dLbl>
            <c:dLbl>
              <c:idx val="5"/>
              <c:tx>
                <c:rich>
                  <a:bodyPr/>
                  <a:lstStyle/>
                  <a:p>
                    <a:r>
                      <a:t>220.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E14-4CC3-8894-95F3AEF7C7C6}"/>
                </c:ext>
              </c:extLst>
            </c:dLbl>
            <c:dLbl>
              <c:idx val="6"/>
              <c:tx>
                <c:rich>
                  <a:bodyPr/>
                  <a:lstStyle/>
                  <a:p>
                    <a:r>
                      <a:t>55.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E14-4CC3-8894-95F3AEF7C7C6}"/>
                </c:ext>
              </c:extLst>
            </c:dLbl>
            <c:dLbl>
              <c:idx val="7"/>
              <c:tx>
                <c:rich>
                  <a:bodyPr/>
                  <a:lstStyle/>
                  <a:p>
                    <a:r>
                      <a:t>292.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E14-4CC3-8894-95F3AEF7C7C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90000000000003</c:v>
                </c:pt>
                <c:pt idx="1">
                  <c:v>23.86</c:v>
                </c:pt>
                <c:pt idx="2">
                  <c:v>87.71</c:v>
                </c:pt>
                <c:pt idx="3">
                  <c:v>94.21</c:v>
                </c:pt>
                <c:pt idx="4">
                  <c:v>97.21</c:v>
                </c:pt>
                <c:pt idx="5">
                  <c:v>220.32</c:v>
                </c:pt>
                <c:pt idx="6">
                  <c:v>55.88</c:v>
                </c:pt>
                <c:pt idx="7">
                  <c:v>292.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5F8-4A90-897E-4912F51CDA91}"/>
                </c:ext>
              </c:extLst>
            </c:dLbl>
            <c:dLbl>
              <c:idx val="1"/>
              <c:tx>
                <c:rich>
                  <a:bodyPr/>
                  <a:lstStyle/>
                  <a:p>
                    <a:r>
                      <a:t>24.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5F8-4A90-897E-4912F51CDA91}"/>
                </c:ext>
              </c:extLst>
            </c:dLbl>
            <c:dLbl>
              <c:idx val="2"/>
              <c:tx>
                <c:rich>
                  <a:bodyPr/>
                  <a:lstStyle/>
                  <a:p>
                    <a:r>
                      <a:t>103.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5F8-4A90-897E-4912F51CDA91}"/>
                </c:ext>
              </c:extLst>
            </c:dLbl>
            <c:dLbl>
              <c:idx val="3"/>
              <c:tx>
                <c:rich>
                  <a:bodyPr/>
                  <a:lstStyle/>
                  <a:p>
                    <a:r>
                      <a:t>92.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5F8-4A90-897E-4912F51CDA91}"/>
                </c:ext>
              </c:extLst>
            </c:dLbl>
            <c:dLbl>
              <c:idx val="4"/>
              <c:tx>
                <c:rich>
                  <a:bodyPr/>
                  <a:lstStyle/>
                  <a:p>
                    <a:r>
                      <a:t>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5F8-4A90-897E-4912F51CDA91}"/>
                </c:ext>
              </c:extLst>
            </c:dLbl>
            <c:dLbl>
              <c:idx val="5"/>
              <c:tx>
                <c:rich>
                  <a:bodyPr/>
                  <a:lstStyle/>
                  <a:p>
                    <a:r>
                      <a:t>2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5F8-4A90-897E-4912F51CDA91}"/>
                </c:ext>
              </c:extLst>
            </c:dLbl>
            <c:dLbl>
              <c:idx val="6"/>
              <c:tx>
                <c:rich>
                  <a:bodyPr/>
                  <a:lstStyle/>
                  <a:p>
                    <a:r>
                      <a:t>42.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5F8-4A90-897E-4912F51CDA91}"/>
                </c:ext>
              </c:extLst>
            </c:dLbl>
            <c:dLbl>
              <c:idx val="7"/>
              <c:tx>
                <c:rich>
                  <a:bodyPr/>
                  <a:lstStyle/>
                  <a:p>
                    <a:r>
                      <a:t>56.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5F8-4A90-897E-4912F51CDA9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strCache>
            </c:strRef>
          </c:cat>
          <c:val>
            <c:numRef>
              <c:f>Sheet1!$B$2:$B$9</c:f>
              <c:numCache>
                <c:formatCode>General</c:formatCode>
                <c:ptCount val="8"/>
                <c:pt idx="0">
                  <c:v>39.03</c:v>
                </c:pt>
                <c:pt idx="1">
                  <c:v>24.26</c:v>
                </c:pt>
                <c:pt idx="2">
                  <c:v>103.82</c:v>
                </c:pt>
                <c:pt idx="3">
                  <c:v>92.94</c:v>
                </c:pt>
                <c:pt idx="4">
                  <c:v>96.7</c:v>
                </c:pt>
                <c:pt idx="5">
                  <c:v>214.4</c:v>
                </c:pt>
                <c:pt idx="6">
                  <c:v>42.06</c:v>
                </c:pt>
                <c:pt idx="7">
                  <c:v>56.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AC-4F8C-A945-25D0C14C5E2E}"/>
                </c:ext>
              </c:extLst>
            </c:dLbl>
            <c:dLbl>
              <c:idx val="1"/>
              <c:tx>
                <c:rich>
                  <a:bodyPr/>
                  <a:lstStyle/>
                  <a:p>
                    <a:r>
                      <a:t>2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AC-4F8C-A945-25D0C14C5E2E}"/>
                </c:ext>
              </c:extLst>
            </c:dLbl>
            <c:dLbl>
              <c:idx val="2"/>
              <c:tx>
                <c:rich>
                  <a:bodyPr/>
                  <a:lstStyle/>
                  <a:p>
                    <a:r>
                      <a:t>88.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7AC-4F8C-A945-25D0C14C5E2E}"/>
                </c:ext>
              </c:extLst>
            </c:dLbl>
            <c:dLbl>
              <c:idx val="3"/>
              <c:tx>
                <c:rich>
                  <a:bodyPr/>
                  <a:lstStyle/>
                  <a:p>
                    <a:r>
                      <a:t>92.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7AC-4F8C-A945-25D0C14C5E2E}"/>
                </c:ext>
              </c:extLst>
            </c:dLbl>
            <c:dLbl>
              <c:idx val="4"/>
              <c:tx>
                <c:rich>
                  <a:bodyPr/>
                  <a:lstStyle/>
                  <a:p>
                    <a:r>
                      <a:t>9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7AC-4F8C-A945-25D0C14C5E2E}"/>
                </c:ext>
              </c:extLst>
            </c:dLbl>
            <c:dLbl>
              <c:idx val="5"/>
              <c:tx>
                <c:rich>
                  <a:bodyPr/>
                  <a:lstStyle/>
                  <a:p>
                    <a:r>
                      <a:t>221.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7AC-4F8C-A945-25D0C14C5E2E}"/>
                </c:ext>
              </c:extLst>
            </c:dLbl>
            <c:dLbl>
              <c:idx val="6"/>
              <c:tx>
                <c:rich>
                  <a:bodyPr/>
                  <a:lstStyle/>
                  <a:p>
                    <a:r>
                      <a:t>42.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7AC-4F8C-A945-25D0C14C5E2E}"/>
                </c:ext>
              </c:extLst>
            </c:dLbl>
            <c:dLbl>
              <c:idx val="7"/>
              <c:tx>
                <c:rich>
                  <a:bodyPr/>
                  <a:lstStyle/>
                  <a:p>
                    <a:r>
                      <a:t>56.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7AC-4F8C-A945-25D0C14C5E2E}"/>
                </c:ext>
              </c:extLst>
            </c:dLbl>
            <c:dLbl>
              <c:idx val="8"/>
              <c:tx>
                <c:rich>
                  <a:bodyPr/>
                  <a:lstStyle/>
                  <a:p>
                    <a:r>
                      <a:t>259.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7AC-4F8C-A945-25D0C14C5E2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pt idx="8">
                  <c:v>DOM RUINART EXT BRUT SECO 2010 1CT X 750ML</c:v>
                </c:pt>
              </c:strCache>
            </c:strRef>
          </c:cat>
          <c:val>
            <c:numRef>
              <c:f>Sheet1!$B$2:$B$10</c:f>
              <c:numCache>
                <c:formatCode>General</c:formatCode>
                <c:ptCount val="9"/>
                <c:pt idx="0">
                  <c:v>38.979999999999997</c:v>
                </c:pt>
                <c:pt idx="1">
                  <c:v>23.9</c:v>
                </c:pt>
                <c:pt idx="2">
                  <c:v>88.12</c:v>
                </c:pt>
                <c:pt idx="3">
                  <c:v>92.87</c:v>
                </c:pt>
                <c:pt idx="4">
                  <c:v>96.98</c:v>
                </c:pt>
                <c:pt idx="5">
                  <c:v>221.11</c:v>
                </c:pt>
                <c:pt idx="6">
                  <c:v>42.68</c:v>
                </c:pt>
                <c:pt idx="7">
                  <c:v>56.04</c:v>
                </c:pt>
                <c:pt idx="8">
                  <c:v>259.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C33-4715-98EA-D530C465A9E4}"/>
                </c:ext>
              </c:extLst>
            </c:dLbl>
            <c:dLbl>
              <c:idx val="1"/>
              <c:tx>
                <c:rich>
                  <a:bodyPr/>
                  <a:lstStyle/>
                  <a:p>
                    <a:r>
                      <a:t>24.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C33-4715-98EA-D530C465A9E4}"/>
                </c:ext>
              </c:extLst>
            </c:dLbl>
            <c:dLbl>
              <c:idx val="2"/>
              <c:tx>
                <c:rich>
                  <a:bodyPr/>
                  <a:lstStyle/>
                  <a:p>
                    <a:r>
                      <a:t>8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C33-4715-98EA-D530C465A9E4}"/>
                </c:ext>
              </c:extLst>
            </c:dLbl>
            <c:dLbl>
              <c:idx val="3"/>
              <c:tx>
                <c:rich>
                  <a:bodyPr/>
                  <a:lstStyle/>
                  <a:p>
                    <a:r>
                      <a:t>93.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C33-4715-98EA-D530C465A9E4}"/>
                </c:ext>
              </c:extLst>
            </c:dLbl>
            <c:dLbl>
              <c:idx val="4"/>
              <c:tx>
                <c:rich>
                  <a:bodyPr/>
                  <a:lstStyle/>
                  <a:p>
                    <a:r>
                      <a:t>9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C33-4715-98EA-D530C465A9E4}"/>
                </c:ext>
              </c:extLst>
            </c:dLbl>
            <c:dLbl>
              <c:idx val="5"/>
              <c:tx>
                <c:rich>
                  <a:bodyPr/>
                  <a:lstStyle/>
                  <a:p>
                    <a:r>
                      <a:t>217.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C33-4715-98EA-D530C465A9E4}"/>
                </c:ext>
              </c:extLst>
            </c:dLbl>
            <c:dLbl>
              <c:idx val="6"/>
              <c:tx>
                <c:rich>
                  <a:bodyPr/>
                  <a:lstStyle/>
                  <a:p>
                    <a:r>
                      <a:t>56.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C33-4715-98EA-D530C465A9E4}"/>
                </c:ext>
              </c:extLst>
            </c:dLbl>
            <c:dLbl>
              <c:idx val="7"/>
              <c:tx>
                <c:rich>
                  <a:bodyPr/>
                  <a:lstStyle/>
                  <a:p>
                    <a:r>
                      <a:t>29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C33-4715-98EA-D530C465A9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strCache>
            </c:strRef>
          </c:cat>
          <c:val>
            <c:numRef>
              <c:f>Sheet1!$B$2:$B$9</c:f>
              <c:numCache>
                <c:formatCode>General</c:formatCode>
                <c:ptCount val="8"/>
                <c:pt idx="0">
                  <c:v>39.090000000000003</c:v>
                </c:pt>
                <c:pt idx="1">
                  <c:v>24.37</c:v>
                </c:pt>
                <c:pt idx="2">
                  <c:v>89.67</c:v>
                </c:pt>
                <c:pt idx="3">
                  <c:v>93.04</c:v>
                </c:pt>
                <c:pt idx="4">
                  <c:v>96.31</c:v>
                </c:pt>
                <c:pt idx="5">
                  <c:v>217.12</c:v>
                </c:pt>
                <c:pt idx="6">
                  <c:v>56.74</c:v>
                </c:pt>
                <c:pt idx="7">
                  <c:v>2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61E-4451-A80E-EBE3E6F13AB0}"/>
                </c:ext>
              </c:extLst>
            </c:dLbl>
            <c:dLbl>
              <c:idx val="1"/>
              <c:tx>
                <c:rich>
                  <a:bodyPr/>
                  <a:lstStyle/>
                  <a:p>
                    <a:r>
                      <a:t>81.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61E-4451-A80E-EBE3E6F13AB0}"/>
                </c:ext>
              </c:extLst>
            </c:dLbl>
            <c:dLbl>
              <c:idx val="2"/>
              <c:tx>
                <c:rich>
                  <a:bodyPr/>
                  <a:lstStyle/>
                  <a:p>
                    <a:r>
                      <a:t>2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61E-4451-A80E-EBE3E6F13AB0}"/>
                </c:ext>
              </c:extLst>
            </c:dLbl>
            <c:dLbl>
              <c:idx val="3"/>
              <c:tx>
                <c:rich>
                  <a:bodyPr/>
                  <a:lstStyle/>
                  <a:p>
                    <a:r>
                      <a:t>9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61E-4451-A80E-EBE3E6F13AB0}"/>
                </c:ext>
              </c:extLst>
            </c:dLbl>
            <c:dLbl>
              <c:idx val="4"/>
              <c:tx>
                <c:rich>
                  <a:bodyPr/>
                  <a:lstStyle/>
                  <a:p>
                    <a:r>
                      <a:t>9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61E-4451-A80E-EBE3E6F13AB0}"/>
                </c:ext>
              </c:extLst>
            </c:dLbl>
            <c:dLbl>
              <c:idx val="5"/>
              <c:tx>
                <c:rich>
                  <a:bodyPr/>
                  <a:lstStyle/>
                  <a:p>
                    <a:r>
                      <a:t>218.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61E-4451-A80E-EBE3E6F13AB0}"/>
                </c:ext>
              </c:extLst>
            </c:dLbl>
            <c:dLbl>
              <c:idx val="6"/>
              <c:tx>
                <c:rich>
                  <a:bodyPr/>
                  <a:lstStyle/>
                  <a:p>
                    <a:r>
                      <a:t>42.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61E-4451-A80E-EBE3E6F13AB0}"/>
                </c:ext>
              </c:extLst>
            </c:dLbl>
            <c:dLbl>
              <c:idx val="7"/>
              <c:tx>
                <c:rich>
                  <a:bodyPr/>
                  <a:lstStyle/>
                  <a:p>
                    <a:r>
                      <a:t>5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61E-4451-A80E-EBE3E6F13AB0}"/>
                </c:ext>
              </c:extLst>
            </c:dLbl>
            <c:dLbl>
              <c:idx val="8"/>
              <c:tx>
                <c:rich>
                  <a:bodyPr/>
                  <a:lstStyle/>
                  <a:p>
                    <a:r>
                      <a:t>271.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61E-4451-A80E-EBE3E6F13AB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CHAMPAGNE CH DE BLIGNY BLC/BLC 1CT X 750ML</c:v>
                </c:pt>
                <c:pt idx="7">
                  <c:v>1/2 RUINART BLANC DE BLANCS 1CT X 375ML</c:v>
                </c:pt>
                <c:pt idx="8">
                  <c:v>DOM RUINART EXT BRUT SECO 2010 1CT X 750ML</c:v>
                </c:pt>
              </c:strCache>
            </c:strRef>
          </c:cat>
          <c:val>
            <c:numRef>
              <c:f>Sheet1!$B$2:$B$10</c:f>
              <c:numCache>
                <c:formatCode>General</c:formatCode>
                <c:ptCount val="9"/>
                <c:pt idx="0">
                  <c:v>39.08</c:v>
                </c:pt>
                <c:pt idx="1">
                  <c:v>81.19</c:v>
                </c:pt>
                <c:pt idx="2">
                  <c:v>23.76</c:v>
                </c:pt>
                <c:pt idx="3">
                  <c:v>92.93</c:v>
                </c:pt>
                <c:pt idx="4">
                  <c:v>96.93</c:v>
                </c:pt>
                <c:pt idx="5">
                  <c:v>218.92</c:v>
                </c:pt>
                <c:pt idx="6">
                  <c:v>42.12</c:v>
                </c:pt>
                <c:pt idx="7">
                  <c:v>56.2</c:v>
                </c:pt>
                <c:pt idx="8">
                  <c:v>27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60F-470A-9E2B-9DCE17CD2A99}"/>
                </c:ext>
              </c:extLst>
            </c:dLbl>
            <c:dLbl>
              <c:idx val="1"/>
              <c:tx>
                <c:rich>
                  <a:bodyPr/>
                  <a:lstStyle/>
                  <a:p>
                    <a:r>
                      <a:t>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60F-470A-9E2B-9DCE17CD2A99}"/>
                </c:ext>
              </c:extLst>
            </c:dLbl>
            <c:dLbl>
              <c:idx val="2"/>
              <c:tx>
                <c:rich>
                  <a:bodyPr/>
                  <a:lstStyle/>
                  <a:p>
                    <a:r>
                      <a:t>45.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60F-470A-9E2B-9DCE17CD2A99}"/>
                </c:ext>
              </c:extLst>
            </c:dLbl>
            <c:dLbl>
              <c:idx val="3"/>
              <c:tx>
                <c:rich>
                  <a:bodyPr/>
                  <a:lstStyle/>
                  <a:p>
                    <a:r>
                      <a:t>22.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60F-470A-9E2B-9DCE17CD2A99}"/>
                </c:ext>
              </c:extLst>
            </c:dLbl>
            <c:dLbl>
              <c:idx val="4"/>
              <c:tx>
                <c:rich>
                  <a:bodyPr/>
                  <a:lstStyle/>
                  <a:p>
                    <a:r>
                      <a:t>45.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60F-470A-9E2B-9DCE17CD2A99}"/>
                </c:ext>
              </c:extLst>
            </c:dLbl>
            <c:dLbl>
              <c:idx val="5"/>
              <c:tx>
                <c:rich>
                  <a:bodyPr/>
                  <a:lstStyle/>
                  <a:p>
                    <a:r>
                      <a:t>57.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60F-470A-9E2B-9DCE17CD2A99}"/>
                </c:ext>
              </c:extLst>
            </c:dLbl>
            <c:dLbl>
              <c:idx val="6"/>
              <c:tx>
                <c:rich>
                  <a:bodyPr/>
                  <a:lstStyle/>
                  <a:p>
                    <a:r>
                      <a:t>51.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60F-470A-9E2B-9DCE17CD2A99}"/>
                </c:ext>
              </c:extLst>
            </c:dLbl>
            <c:dLbl>
              <c:idx val="7"/>
              <c:tx>
                <c:rich>
                  <a:bodyPr/>
                  <a:lstStyle/>
                  <a:p>
                    <a:r>
                      <a:t>6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60F-470A-9E2B-9DCE17CD2A99}"/>
                </c:ext>
              </c:extLst>
            </c:dLbl>
            <c:dLbl>
              <c:idx val="8"/>
              <c:tx>
                <c:rich>
                  <a:bodyPr/>
                  <a:lstStyle/>
                  <a:p>
                    <a:r>
                      <a:t>139.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60F-470A-9E2B-9DCE17CD2A99}"/>
                </c:ext>
              </c:extLst>
            </c:dLbl>
            <c:dLbl>
              <c:idx val="9"/>
              <c:tx>
                <c:rich>
                  <a:bodyPr/>
                  <a:lstStyle/>
                  <a:p>
                    <a:r>
                      <a:t>35.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60F-470A-9E2B-9DCE17CD2A99}"/>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60F-470A-9E2B-9DCE17CD2A99}"/>
                </c:ext>
              </c:extLst>
            </c:dLbl>
            <c:dLbl>
              <c:idx val="11"/>
              <c:tx>
                <c:rich>
                  <a:bodyPr/>
                  <a:lstStyle/>
                  <a:p>
                    <a:r>
                      <a:t>5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60F-470A-9E2B-9DCE17CD2A99}"/>
                </c:ext>
              </c:extLst>
            </c:dLbl>
            <c:dLbl>
              <c:idx val="12"/>
              <c:tx>
                <c:rich>
                  <a:bodyPr/>
                  <a:lstStyle/>
                  <a:p>
                    <a:r>
                      <a:t>100.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60F-470A-9E2B-9DCE17CD2A99}"/>
                </c:ext>
              </c:extLst>
            </c:dLbl>
            <c:dLbl>
              <c:idx val="13"/>
              <c:tx>
                <c:rich>
                  <a:bodyPr/>
                  <a:lstStyle/>
                  <a:p>
                    <a:r>
                      <a:t>28.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60F-470A-9E2B-9DCE17CD2A99}"/>
                </c:ext>
              </c:extLst>
            </c:dLbl>
            <c:dLbl>
              <c:idx val="14"/>
              <c:tx>
                <c:rich>
                  <a:bodyPr/>
                  <a:lstStyle/>
                  <a:p>
                    <a:r>
                      <a:t>128.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60F-470A-9E2B-9DCE17CD2A9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c:v>
                </c:pt>
                <c:pt idx="1">
                  <c:v>37.1</c:v>
                </c:pt>
                <c:pt idx="2">
                  <c:v>45.58</c:v>
                </c:pt>
                <c:pt idx="3">
                  <c:v>22.29</c:v>
                </c:pt>
                <c:pt idx="4">
                  <c:v>45.64</c:v>
                </c:pt>
                <c:pt idx="5">
                  <c:v>57.88</c:v>
                </c:pt>
                <c:pt idx="6">
                  <c:v>51.54</c:v>
                </c:pt>
                <c:pt idx="7">
                  <c:v>61.81</c:v>
                </c:pt>
                <c:pt idx="8">
                  <c:v>139.78</c:v>
                </c:pt>
                <c:pt idx="9">
                  <c:v>35.89</c:v>
                </c:pt>
                <c:pt idx="10">
                  <c:v>49.96</c:v>
                </c:pt>
                <c:pt idx="11">
                  <c:v>58.98</c:v>
                </c:pt>
                <c:pt idx="12">
                  <c:v>100.24</c:v>
                </c:pt>
                <c:pt idx="13">
                  <c:v>28.21</c:v>
                </c:pt>
                <c:pt idx="14">
                  <c:v>128.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92A-4B08-9A34-C6E85ACF9BE4}"/>
                </c:ext>
              </c:extLst>
            </c:dLbl>
            <c:dLbl>
              <c:idx val="1"/>
              <c:tx>
                <c:rich>
                  <a:bodyPr/>
                  <a:lstStyle/>
                  <a:p>
                    <a:r>
                      <a:t>37.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92A-4B08-9A34-C6E85ACF9BE4}"/>
                </c:ext>
              </c:extLst>
            </c:dLbl>
            <c:dLbl>
              <c:idx val="2"/>
              <c:tx>
                <c:rich>
                  <a:bodyPr/>
                  <a:lstStyle/>
                  <a:p>
                    <a:r>
                      <a:t>45.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92A-4B08-9A34-C6E85ACF9BE4}"/>
                </c:ext>
              </c:extLst>
            </c:dLbl>
            <c:dLbl>
              <c:idx val="3"/>
              <c:tx>
                <c:rich>
                  <a:bodyPr/>
                  <a:lstStyle/>
                  <a:p>
                    <a:r>
                      <a:t>22.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92A-4B08-9A34-C6E85ACF9BE4}"/>
                </c:ext>
              </c:extLst>
            </c:dLbl>
            <c:dLbl>
              <c:idx val="4"/>
              <c:tx>
                <c:rich>
                  <a:bodyPr/>
                  <a:lstStyle/>
                  <a:p>
                    <a:r>
                      <a:t>45.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92A-4B08-9A34-C6E85ACF9BE4}"/>
                </c:ext>
              </c:extLst>
            </c:dLbl>
            <c:dLbl>
              <c:idx val="5"/>
              <c:tx>
                <c:rich>
                  <a:bodyPr/>
                  <a:lstStyle/>
                  <a:p>
                    <a:r>
                      <a:t>57.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92A-4B08-9A34-C6E85ACF9BE4}"/>
                </c:ext>
              </c:extLst>
            </c:dLbl>
            <c:dLbl>
              <c:idx val="6"/>
              <c:tx>
                <c:rich>
                  <a:bodyPr/>
                  <a:lstStyle/>
                  <a:p>
                    <a:r>
                      <a:t>5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92A-4B08-9A34-C6E85ACF9BE4}"/>
                </c:ext>
              </c:extLst>
            </c:dLbl>
            <c:dLbl>
              <c:idx val="7"/>
              <c:tx>
                <c:rich>
                  <a:bodyPr/>
                  <a:lstStyle/>
                  <a:p>
                    <a:r>
                      <a:t>61.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92A-4B08-9A34-C6E85ACF9BE4}"/>
                </c:ext>
              </c:extLst>
            </c:dLbl>
            <c:dLbl>
              <c:idx val="8"/>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92A-4B08-9A34-C6E85ACF9BE4}"/>
                </c:ext>
              </c:extLst>
            </c:dLbl>
            <c:dLbl>
              <c:idx val="9"/>
              <c:tx>
                <c:rich>
                  <a:bodyPr/>
                  <a:lstStyle/>
                  <a:p>
                    <a:r>
                      <a:t>3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92A-4B08-9A34-C6E85ACF9BE4}"/>
                </c:ext>
              </c:extLst>
            </c:dLbl>
            <c:dLbl>
              <c:idx val="10"/>
              <c:tx>
                <c:rich>
                  <a:bodyPr/>
                  <a:lstStyle/>
                  <a:p>
                    <a:r>
                      <a:t>49.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92A-4B08-9A34-C6E85ACF9BE4}"/>
                </c:ext>
              </c:extLst>
            </c:dLbl>
            <c:dLbl>
              <c:idx val="11"/>
              <c:tx>
                <c:rich>
                  <a:bodyPr/>
                  <a:lstStyle/>
                  <a:p>
                    <a:r>
                      <a:t>59.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92A-4B08-9A34-C6E85ACF9BE4}"/>
                </c:ext>
              </c:extLst>
            </c:dLbl>
            <c:dLbl>
              <c:idx val="12"/>
              <c:tx>
                <c:rich>
                  <a:bodyPr/>
                  <a:lstStyle/>
                  <a:p>
                    <a:r>
                      <a:t>100.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92A-4B08-9A34-C6E85ACF9BE4}"/>
                </c:ext>
              </c:extLst>
            </c:dLbl>
            <c:dLbl>
              <c:idx val="13"/>
              <c:tx>
                <c:rich>
                  <a:bodyPr/>
                  <a:lstStyle/>
                  <a:p>
                    <a:r>
                      <a:t>28.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92A-4B08-9A34-C6E85ACF9BE4}"/>
                </c:ext>
              </c:extLst>
            </c:dLbl>
            <c:dLbl>
              <c:idx val="14"/>
              <c:tx>
                <c:rich>
                  <a:bodyPr/>
                  <a:lstStyle/>
                  <a:p>
                    <a:r>
                      <a:t>125.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92A-4B08-9A34-C6E85ACF9B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1</c:v>
                </c:pt>
                <c:pt idx="1">
                  <c:v>37.08</c:v>
                </c:pt>
                <c:pt idx="2">
                  <c:v>45.64</c:v>
                </c:pt>
                <c:pt idx="3">
                  <c:v>22.26</c:v>
                </c:pt>
                <c:pt idx="4">
                  <c:v>45.73</c:v>
                </c:pt>
                <c:pt idx="5">
                  <c:v>57.93</c:v>
                </c:pt>
                <c:pt idx="6">
                  <c:v>51.53</c:v>
                </c:pt>
                <c:pt idx="7">
                  <c:v>61.85</c:v>
                </c:pt>
                <c:pt idx="8">
                  <c:v>139.44999999999999</c:v>
                </c:pt>
                <c:pt idx="9">
                  <c:v>35.799999999999997</c:v>
                </c:pt>
                <c:pt idx="10">
                  <c:v>49.97</c:v>
                </c:pt>
                <c:pt idx="11">
                  <c:v>59.04</c:v>
                </c:pt>
                <c:pt idx="12">
                  <c:v>100.36</c:v>
                </c:pt>
                <c:pt idx="13">
                  <c:v>28.12</c:v>
                </c:pt>
                <c:pt idx="14">
                  <c:v>125.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4C7-4AFD-AC50-643CEAAEA66C}"/>
                </c:ext>
              </c:extLst>
            </c:dLbl>
            <c:dLbl>
              <c:idx val="1"/>
              <c:tx>
                <c:rich>
                  <a:bodyPr/>
                  <a:lstStyle/>
                  <a:p>
                    <a:r>
                      <a:t>37.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4C7-4AFD-AC50-643CEAAEA66C}"/>
                </c:ext>
              </c:extLst>
            </c:dLbl>
            <c:dLbl>
              <c:idx val="2"/>
              <c:tx>
                <c:rich>
                  <a:bodyPr/>
                  <a:lstStyle/>
                  <a:p>
                    <a:r>
                      <a:t>45.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4C7-4AFD-AC50-643CEAAEA66C}"/>
                </c:ext>
              </c:extLst>
            </c:dLbl>
            <c:dLbl>
              <c:idx val="3"/>
              <c:tx>
                <c:rich>
                  <a:bodyPr/>
                  <a:lstStyle/>
                  <a:p>
                    <a:r>
                      <a:t>22.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4C7-4AFD-AC50-643CEAAEA66C}"/>
                </c:ext>
              </c:extLst>
            </c:dLbl>
            <c:dLbl>
              <c:idx val="4"/>
              <c:tx>
                <c:rich>
                  <a:bodyPr/>
                  <a:lstStyle/>
                  <a:p>
                    <a:r>
                      <a:t>45.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4C7-4AFD-AC50-643CEAAEA66C}"/>
                </c:ext>
              </c:extLst>
            </c:dLbl>
            <c:dLbl>
              <c:idx val="5"/>
              <c:tx>
                <c:rich>
                  <a:bodyPr/>
                  <a:lstStyle/>
                  <a:p>
                    <a:r>
                      <a:t>35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4C7-4AFD-AC50-643CEAAEA66C}"/>
                </c:ext>
              </c:extLst>
            </c:dLbl>
            <c:dLbl>
              <c:idx val="6"/>
              <c:tx>
                <c:rich>
                  <a:bodyPr/>
                  <a:lstStyle/>
                  <a:p>
                    <a:r>
                      <a:t>5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4C7-4AFD-AC50-643CEAAEA66C}"/>
                </c:ext>
              </c:extLst>
            </c:dLbl>
            <c:dLbl>
              <c:idx val="7"/>
              <c:tx>
                <c:rich>
                  <a:bodyPr/>
                  <a:lstStyle/>
                  <a:p>
                    <a:r>
                      <a:t>6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4C7-4AFD-AC50-643CEAAEA66C}"/>
                </c:ext>
              </c:extLst>
            </c:dLbl>
            <c:dLbl>
              <c:idx val="8"/>
              <c:tx>
                <c:rich>
                  <a:bodyPr/>
                  <a:lstStyle/>
                  <a:p>
                    <a:r>
                      <a:t>138.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4C7-4AFD-AC50-643CEAAEA66C}"/>
                </c:ext>
              </c:extLst>
            </c:dLbl>
            <c:dLbl>
              <c:idx val="9"/>
              <c:tx>
                <c:rich>
                  <a:bodyPr/>
                  <a:lstStyle/>
                  <a:p>
                    <a:r>
                      <a:t>51.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4C7-4AFD-AC50-643CEAAEA66C}"/>
                </c:ext>
              </c:extLst>
            </c:dLbl>
            <c:dLbl>
              <c:idx val="10"/>
              <c:tx>
                <c:rich>
                  <a:bodyPr/>
                  <a:lstStyle/>
                  <a:p>
                    <a:r>
                      <a:t>5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4C7-4AFD-AC50-643CEAAEA66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ARMAND DE BRIGNAC 1CT X 750ML</c:v>
                </c:pt>
                <c:pt idx="6">
                  <c:v>RUINART BRUT (NUE) 1CT X 750ML</c:v>
                </c:pt>
                <c:pt idx="7">
                  <c:v>RUINART BRUT SECOND SKIN 1CT X 750ML</c:v>
                </c:pt>
                <c:pt idx="8">
                  <c:v>MG RUINART BRUT SECOND SKIN 1CT X 1500ML</c:v>
                </c:pt>
                <c:pt idx="9">
                  <c:v>VEUVE CLICQUOT RESERV CUVEE NB 1CT X 750ML</c:v>
                </c:pt>
                <c:pt idx="10">
                  <c:v>VEUVE CLICQUOT RES CUVEE ETUI 1CT X 750ML</c:v>
                </c:pt>
              </c:strCache>
            </c:strRef>
          </c:cat>
          <c:val>
            <c:numRef>
              <c:f>Sheet1!$B$2:$B$12</c:f>
              <c:numCache>
                <c:formatCode>General</c:formatCode>
                <c:ptCount val="11"/>
                <c:pt idx="0">
                  <c:v>21.81</c:v>
                </c:pt>
                <c:pt idx="1">
                  <c:v>37.07</c:v>
                </c:pt>
                <c:pt idx="2">
                  <c:v>45.08</c:v>
                </c:pt>
                <c:pt idx="3">
                  <c:v>22.34</c:v>
                </c:pt>
                <c:pt idx="4">
                  <c:v>45.65</c:v>
                </c:pt>
                <c:pt idx="5">
                  <c:v>350</c:v>
                </c:pt>
                <c:pt idx="6">
                  <c:v>57.7</c:v>
                </c:pt>
                <c:pt idx="7">
                  <c:v>61.53</c:v>
                </c:pt>
                <c:pt idx="8">
                  <c:v>138.58000000000001</c:v>
                </c:pt>
                <c:pt idx="9">
                  <c:v>51.23</c:v>
                </c:pt>
                <c:pt idx="10">
                  <c:v>5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19E-4723-8310-2BE3E2DB3688}"/>
                </c:ext>
              </c:extLst>
            </c:dLbl>
            <c:dLbl>
              <c:idx val="1"/>
              <c:tx>
                <c:rich>
                  <a:bodyPr/>
                  <a:lstStyle/>
                  <a:p>
                    <a:r>
                      <a:t>37.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19E-4723-8310-2BE3E2DB3688}"/>
                </c:ext>
              </c:extLst>
            </c:dLbl>
            <c:dLbl>
              <c:idx val="2"/>
              <c:tx>
                <c:rich>
                  <a:bodyPr/>
                  <a:lstStyle/>
                  <a:p>
                    <a:r>
                      <a:t>2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19E-4723-8310-2BE3E2DB3688}"/>
                </c:ext>
              </c:extLst>
            </c:dLbl>
            <c:dLbl>
              <c:idx val="3"/>
              <c:tx>
                <c:rich>
                  <a:bodyPr/>
                  <a:lstStyle/>
                  <a:p>
                    <a:r>
                      <a:t>46.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19E-4723-8310-2BE3E2DB3688}"/>
                </c:ext>
              </c:extLst>
            </c:dLbl>
            <c:dLbl>
              <c:idx val="4"/>
              <c:tx>
                <c:rich>
                  <a:bodyPr/>
                  <a:lstStyle/>
                  <a:p>
                    <a:r>
                      <a:t>45.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19E-4723-8310-2BE3E2DB3688}"/>
                </c:ext>
              </c:extLst>
            </c:dLbl>
            <c:dLbl>
              <c:idx val="5"/>
              <c:tx>
                <c:rich>
                  <a:bodyPr/>
                  <a:lstStyle/>
                  <a:p>
                    <a:r>
                      <a:t>5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19E-4723-8310-2BE3E2DB3688}"/>
                </c:ext>
              </c:extLst>
            </c:dLbl>
            <c:dLbl>
              <c:idx val="6"/>
              <c:tx>
                <c:rich>
                  <a:bodyPr/>
                  <a:lstStyle/>
                  <a:p>
                    <a:r>
                      <a:t>5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19E-4723-8310-2BE3E2DB3688}"/>
                </c:ext>
              </c:extLst>
            </c:dLbl>
            <c:dLbl>
              <c:idx val="7"/>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19E-4723-8310-2BE3E2DB3688}"/>
                </c:ext>
              </c:extLst>
            </c:dLbl>
            <c:dLbl>
              <c:idx val="8"/>
              <c:tx>
                <c:rich>
                  <a:bodyPr/>
                  <a:lstStyle/>
                  <a:p>
                    <a:r>
                      <a:t>139.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19E-4723-8310-2BE3E2DB3688}"/>
                </c:ext>
              </c:extLst>
            </c:dLbl>
            <c:dLbl>
              <c:idx val="9"/>
              <c:tx>
                <c:rich>
                  <a:bodyPr/>
                  <a:lstStyle/>
                  <a:p>
                    <a:r>
                      <a:t>35.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19E-4723-8310-2BE3E2DB3688}"/>
                </c:ext>
              </c:extLst>
            </c:dLbl>
            <c:dLbl>
              <c:idx val="10"/>
              <c:tx>
                <c:rich>
                  <a:bodyPr/>
                  <a:lstStyle/>
                  <a:p>
                    <a:r>
                      <a:t>4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19E-4723-8310-2BE3E2DB3688}"/>
                </c:ext>
              </c:extLst>
            </c:dLbl>
            <c:dLbl>
              <c:idx val="11"/>
              <c:tx>
                <c:rich>
                  <a:bodyPr/>
                  <a:lstStyle/>
                  <a:p>
                    <a:r>
                      <a:t>58.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19E-4723-8310-2BE3E2DB3688}"/>
                </c:ext>
              </c:extLst>
            </c:dLbl>
            <c:dLbl>
              <c:idx val="12"/>
              <c:tx>
                <c:rich>
                  <a:bodyPr/>
                  <a:lstStyle/>
                  <a:p>
                    <a:r>
                      <a:t>98.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19E-4723-8310-2BE3E2DB3688}"/>
                </c:ext>
              </c:extLst>
            </c:dLbl>
            <c:dLbl>
              <c:idx val="13"/>
              <c:tx>
                <c:rich>
                  <a:bodyPr/>
                  <a:lstStyle/>
                  <a:p>
                    <a:r>
                      <a:t>28.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19E-4723-8310-2BE3E2DB3688}"/>
                </c:ext>
              </c:extLst>
            </c:dLbl>
            <c:dLbl>
              <c:idx val="14"/>
              <c:tx>
                <c:rich>
                  <a:bodyPr/>
                  <a:lstStyle/>
                  <a:p>
                    <a:r>
                      <a:t>124.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19E-4723-8310-2BE3E2DB368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2</c:v>
                </c:pt>
                <c:pt idx="1">
                  <c:v>37.26</c:v>
                </c:pt>
                <c:pt idx="2">
                  <c:v>22.3</c:v>
                </c:pt>
                <c:pt idx="3">
                  <c:v>46.52</c:v>
                </c:pt>
                <c:pt idx="4">
                  <c:v>45.45</c:v>
                </c:pt>
                <c:pt idx="5">
                  <c:v>57.9</c:v>
                </c:pt>
                <c:pt idx="6">
                  <c:v>51.97</c:v>
                </c:pt>
                <c:pt idx="7">
                  <c:v>61.89</c:v>
                </c:pt>
                <c:pt idx="8">
                  <c:v>139.27000000000001</c:v>
                </c:pt>
                <c:pt idx="9">
                  <c:v>35.65</c:v>
                </c:pt>
                <c:pt idx="10">
                  <c:v>49.98</c:v>
                </c:pt>
                <c:pt idx="11">
                  <c:v>58.95</c:v>
                </c:pt>
                <c:pt idx="12">
                  <c:v>98.85</c:v>
                </c:pt>
                <c:pt idx="13">
                  <c:v>28.14</c:v>
                </c:pt>
                <c:pt idx="14">
                  <c:v>124.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B89-40DD-9EAD-45E376445648}"/>
                </c:ext>
              </c:extLst>
            </c:dLbl>
            <c:dLbl>
              <c:idx val="1"/>
              <c:tx>
                <c:rich>
                  <a:bodyPr/>
                  <a:lstStyle/>
                  <a:p>
                    <a:r>
                      <a:t>36.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B89-40DD-9EAD-45E376445648}"/>
                </c:ext>
              </c:extLst>
            </c:dLbl>
            <c:dLbl>
              <c:idx val="2"/>
              <c:tx>
                <c:rich>
                  <a:bodyPr/>
                  <a:lstStyle/>
                  <a:p>
                    <a:r>
                      <a:t>4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B89-40DD-9EAD-45E376445648}"/>
                </c:ext>
              </c:extLst>
            </c:dLbl>
            <c:dLbl>
              <c:idx val="3"/>
              <c:tx>
                <c:rich>
                  <a:bodyPr/>
                  <a:lstStyle/>
                  <a:p>
                    <a:r>
                      <a:t>23.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B89-40DD-9EAD-45E376445648}"/>
                </c:ext>
              </c:extLst>
            </c:dLbl>
            <c:dLbl>
              <c:idx val="4"/>
              <c:tx>
                <c:rich>
                  <a:bodyPr/>
                  <a:lstStyle/>
                  <a:p>
                    <a:r>
                      <a:t>44.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B89-40DD-9EAD-45E376445648}"/>
                </c:ext>
              </c:extLst>
            </c:dLbl>
            <c:dLbl>
              <c:idx val="5"/>
              <c:tx>
                <c:rich>
                  <a:bodyPr/>
                  <a:lstStyle/>
                  <a:p>
                    <a:r>
                      <a:t>8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B89-40DD-9EAD-45E376445648}"/>
                </c:ext>
              </c:extLst>
            </c:dLbl>
            <c:dLbl>
              <c:idx val="6"/>
              <c:tx>
                <c:rich>
                  <a:bodyPr/>
                  <a:lstStyle/>
                  <a:p>
                    <a:r>
                      <a:t>77.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B89-40DD-9EAD-45E376445648}"/>
                </c:ext>
              </c:extLst>
            </c:dLbl>
            <c:dLbl>
              <c:idx val="7"/>
              <c:tx>
                <c:rich>
                  <a:bodyPr/>
                  <a:lstStyle/>
                  <a:p>
                    <a:r>
                      <a:t>20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B89-40DD-9EAD-45E376445648}"/>
                </c:ext>
              </c:extLst>
            </c:dLbl>
            <c:dLbl>
              <c:idx val="8"/>
              <c:tx>
                <c:rich>
                  <a:bodyPr/>
                  <a:lstStyle/>
                  <a:p>
                    <a:r>
                      <a:t>58.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B89-40DD-9EAD-45E376445648}"/>
                </c:ext>
              </c:extLst>
            </c:dLbl>
            <c:dLbl>
              <c:idx val="9"/>
              <c:tx>
                <c:rich>
                  <a:bodyPr/>
                  <a:lstStyle/>
                  <a:p>
                    <a:r>
                      <a:t>5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B89-40DD-9EAD-45E376445648}"/>
                </c:ext>
              </c:extLst>
            </c:dLbl>
            <c:dLbl>
              <c:idx val="10"/>
              <c:tx>
                <c:rich>
                  <a:bodyPr/>
                  <a:lstStyle/>
                  <a:p>
                    <a:r>
                      <a:t>62.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B89-40DD-9EAD-45E376445648}"/>
                </c:ext>
              </c:extLst>
            </c:dLbl>
            <c:dLbl>
              <c:idx val="11"/>
              <c:tx>
                <c:rich>
                  <a:bodyPr/>
                  <a:lstStyle/>
                  <a:p>
                    <a:r>
                      <a:t>13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B89-40DD-9EAD-45E376445648}"/>
                </c:ext>
              </c:extLst>
            </c:dLbl>
            <c:dLbl>
              <c:idx val="12"/>
              <c:tx>
                <c:rich>
                  <a:bodyPr/>
                  <a:lstStyle/>
                  <a:p>
                    <a:r>
                      <a:t>35.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B89-40DD-9EAD-45E376445648}"/>
                </c:ext>
              </c:extLst>
            </c:dLbl>
            <c:dLbl>
              <c:idx val="13"/>
              <c:tx>
                <c:rich>
                  <a:bodyPr/>
                  <a:lstStyle/>
                  <a:p>
                    <a:r>
                      <a:t>50.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B89-40DD-9EAD-45E376445648}"/>
                </c:ext>
              </c:extLst>
            </c:dLbl>
            <c:dLbl>
              <c:idx val="14"/>
              <c:tx>
                <c:rich>
                  <a:bodyPr/>
                  <a:lstStyle/>
                  <a:p>
                    <a:r>
                      <a:t>58.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B89-40DD-9EAD-45E376445648}"/>
                </c:ext>
              </c:extLst>
            </c:dLbl>
            <c:dLbl>
              <c:idx val="15"/>
              <c:tx>
                <c:rich>
                  <a:bodyPr/>
                  <a:lstStyle/>
                  <a:p>
                    <a:r>
                      <a:t>101.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B89-40DD-9EAD-45E376445648}"/>
                </c:ext>
              </c:extLst>
            </c:dLbl>
            <c:dLbl>
              <c:idx val="16"/>
              <c:tx>
                <c:rich>
                  <a:bodyPr/>
                  <a:lstStyle/>
                  <a:p>
                    <a:r>
                      <a:t>28.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B89-40DD-9EAD-45E376445648}"/>
                </c:ext>
              </c:extLst>
            </c:dLbl>
            <c:dLbl>
              <c:idx val="17"/>
              <c:tx>
                <c:rich>
                  <a:bodyPr/>
                  <a:lstStyle/>
                  <a:p>
                    <a:r>
                      <a:t>32.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B89-40DD-9EAD-45E37644564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HAMPAGNE E.NICOLAS BRUT 1CT X 750ML</c:v>
                </c:pt>
                <c:pt idx="1">
                  <c:v>CHAMPAGNE NICOLAS 1ERE CUVEE 1CT X 750ML</c:v>
                </c:pt>
                <c:pt idx="2">
                  <c:v>MG CHAMPAGNE E.NICOLAS BRUT 1CT X 1500ML</c:v>
                </c:pt>
                <c:pt idx="3">
                  <c:v>1/2 CHAMPAGNE NICOLAS 1ERE CUV 1CT X 375ML</c:v>
                </c:pt>
                <c:pt idx="4">
                  <c:v>LAURENT PERRIER LA CUVEE BRUT 1CT X 750ML</c:v>
                </c:pt>
                <c:pt idx="5">
                  <c:v>MG LAURENT PERRIER LA CUVEE 1CT X 1500ML</c:v>
                </c:pt>
                <c:pt idx="6">
                  <c:v>LAURENT PERRIER BRUT CASHER 1CT X 750ML</c:v>
                </c:pt>
                <c:pt idx="7">
                  <c:v>MG LAURENT PERRIER ROSE 1CT X 1500ML</c:v>
                </c:pt>
                <c:pt idx="8">
                  <c:v>RUINART BRUT (NUE) 1CT X 750ML</c:v>
                </c:pt>
                <c:pt idx="9">
                  <c:v>VEUVE CLICQUOT RESERV CUVEE NB 1CT X 750ML</c:v>
                </c:pt>
                <c:pt idx="10">
                  <c:v>RUINART BRUT SECOND SKIN 1CT X 750ML</c:v>
                </c:pt>
                <c:pt idx="11">
                  <c:v>MG RUINART BRUT SECOND SKIN 1CT X 1500ML</c:v>
                </c:pt>
                <c:pt idx="12">
                  <c:v>1/2 RUINART BRUT (NUE) 1CT X 375ML</c:v>
                </c:pt>
                <c:pt idx="13">
                  <c:v>DEUTZ CLASSIC BRUT 1CT X 750ML</c:v>
                </c:pt>
                <c:pt idx="14">
                  <c:v>ROEDERER BRUT COLLECTION 245 1CT X 750ML</c:v>
                </c:pt>
                <c:pt idx="15">
                  <c:v>MG DEUTZ CLASSIC 1CT X 1500ML</c:v>
                </c:pt>
                <c:pt idx="16">
                  <c:v>1/2 DEUTZ CLASSIC BRUT 1CT X 375ML</c:v>
                </c:pt>
                <c:pt idx="17">
                  <c:v>1/2 ROEDERER BRUT COLLECT 246 1CT X 375ML</c:v>
                </c:pt>
              </c:strCache>
            </c:strRef>
          </c:cat>
          <c:val>
            <c:numRef>
              <c:f>Sheet1!$B$2:$B$19</c:f>
              <c:numCache>
                <c:formatCode>General</c:formatCode>
                <c:ptCount val="18"/>
                <c:pt idx="0">
                  <c:v>21.93</c:v>
                </c:pt>
                <c:pt idx="1">
                  <c:v>36.89</c:v>
                </c:pt>
                <c:pt idx="2">
                  <c:v>46.93</c:v>
                </c:pt>
                <c:pt idx="3">
                  <c:v>23.37</c:v>
                </c:pt>
                <c:pt idx="4">
                  <c:v>44.64</c:v>
                </c:pt>
                <c:pt idx="5">
                  <c:v>85.28</c:v>
                </c:pt>
                <c:pt idx="6">
                  <c:v>77.680000000000007</c:v>
                </c:pt>
                <c:pt idx="7">
                  <c:v>200</c:v>
                </c:pt>
                <c:pt idx="8">
                  <c:v>58.24</c:v>
                </c:pt>
                <c:pt idx="9">
                  <c:v>51.44</c:v>
                </c:pt>
                <c:pt idx="10">
                  <c:v>62.54</c:v>
                </c:pt>
                <c:pt idx="11">
                  <c:v>136.97</c:v>
                </c:pt>
                <c:pt idx="12">
                  <c:v>35.67</c:v>
                </c:pt>
                <c:pt idx="13">
                  <c:v>50.01</c:v>
                </c:pt>
                <c:pt idx="14">
                  <c:v>58.87</c:v>
                </c:pt>
                <c:pt idx="15">
                  <c:v>101.05</c:v>
                </c:pt>
                <c:pt idx="16">
                  <c:v>28.29</c:v>
                </c:pt>
                <c:pt idx="17">
                  <c:v>32.65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452-461D-8CB9-AD261299DC88}"/>
                </c:ext>
              </c:extLst>
            </c:dLbl>
            <c:dLbl>
              <c:idx val="1"/>
              <c:tx>
                <c:rich>
                  <a:bodyPr/>
                  <a:lstStyle/>
                  <a:p>
                    <a:r>
                      <a:rPr lang="en-CH"/>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452-461D-8CB9-AD261299DC88}"/>
                </c:ext>
              </c:extLst>
            </c:dLbl>
            <c:dLbl>
              <c:idx val="2"/>
              <c:tx>
                <c:rich>
                  <a:bodyPr/>
                  <a:lstStyle/>
                  <a:p>
                    <a:r>
                      <a:rPr lang="en-CH"/>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452-461D-8CB9-AD261299DC88}"/>
                </c:ext>
              </c:extLst>
            </c:dLbl>
            <c:dLbl>
              <c:idx val="3"/>
              <c:tx>
                <c:rich>
                  <a:bodyPr/>
                  <a:lstStyle/>
                  <a:p>
                    <a:r>
                      <a:rPr lang="en-CH"/>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452-461D-8CB9-AD261299DC88}"/>
                </c:ext>
              </c:extLst>
            </c:dLbl>
            <c:dLbl>
              <c:idx val="4"/>
              <c:tx>
                <c:rich>
                  <a:bodyPr/>
                  <a:lstStyle/>
                  <a:p>
                    <a:r>
                      <a:rPr lang="en-CH"/>
                      <a:t>2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452-461D-8CB9-AD261299DC88}"/>
                </c:ext>
              </c:extLst>
            </c:dLbl>
            <c:dLbl>
              <c:idx val="5"/>
              <c:tx>
                <c:rich>
                  <a:bodyPr/>
                  <a:lstStyle/>
                  <a:p>
                    <a:r>
                      <a:rPr lang="en-CH"/>
                      <a:t>4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452-461D-8CB9-AD261299DC88}"/>
                </c:ext>
              </c:extLst>
            </c:dLbl>
            <c:dLbl>
              <c:idx val="6"/>
              <c:tx>
                <c:rich>
                  <a:bodyPr/>
                  <a:lstStyle/>
                  <a:p>
                    <a:r>
                      <a:rPr lang="en-CH"/>
                      <a:t>4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452-461D-8CB9-AD261299DC88}"/>
                </c:ext>
              </c:extLst>
            </c:dLbl>
            <c:dLbl>
              <c:idx val="7"/>
              <c:tx>
                <c:rich>
                  <a:bodyPr/>
                  <a:lstStyle/>
                  <a:p>
                    <a:r>
                      <a:rPr lang="en-CH"/>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452-461D-8CB9-AD261299DC88}"/>
                </c:ext>
              </c:extLst>
            </c:dLbl>
            <c:dLbl>
              <c:idx val="8"/>
              <c:tx>
                <c:rich>
                  <a:bodyPr/>
                  <a:lstStyle/>
                  <a:p>
                    <a:r>
                      <a:rPr lang="en-CH"/>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452-461D-8CB9-AD261299DC88}"/>
                </c:ext>
              </c:extLst>
            </c:dLbl>
            <c:dLbl>
              <c:idx val="9"/>
              <c:tx>
                <c:rich>
                  <a:bodyPr/>
                  <a:lstStyle/>
                  <a:p>
                    <a:r>
                      <a:rPr lang="en-CH"/>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452-461D-8CB9-AD261299DC88}"/>
                </c:ext>
              </c:extLst>
            </c:dLbl>
            <c:dLbl>
              <c:idx val="10"/>
              <c:tx>
                <c:rich>
                  <a:bodyPr/>
                  <a:lstStyle/>
                  <a:p>
                    <a:r>
                      <a:rPr lang="en-CH"/>
                      <a:t>2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452-461D-8CB9-AD261299DC88}"/>
                </c:ext>
              </c:extLst>
            </c:dLbl>
            <c:dLbl>
              <c:idx val="11"/>
              <c:tx>
                <c:rich>
                  <a:bodyPr/>
                  <a:lstStyle/>
                  <a:p>
                    <a:r>
                      <a:rPr lang="en-CH"/>
                      <a:t>37.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452-461D-8CB9-AD261299DC88}"/>
                </c:ext>
              </c:extLst>
            </c:dLbl>
            <c:dLbl>
              <c:idx val="12"/>
              <c:tx>
                <c:rich>
                  <a:bodyPr/>
                  <a:lstStyle/>
                  <a:p>
                    <a:r>
                      <a:rPr lang="en-CH"/>
                      <a:t>36.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452-461D-8CB9-AD261299DC88}"/>
                </c:ext>
              </c:extLst>
            </c:dLbl>
            <c:dLbl>
              <c:idx val="13"/>
              <c:tx>
                <c:rich>
                  <a:bodyPr/>
                  <a:lstStyle/>
                  <a:p>
                    <a:r>
                      <a:rPr lang="en-CH"/>
                      <a:t>75.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452-461D-8CB9-AD261299DC88}"/>
                </c:ext>
              </c:extLst>
            </c:dLbl>
            <c:dLbl>
              <c:idx val="14"/>
              <c:tx>
                <c:rich>
                  <a:bodyPr/>
                  <a:lstStyle/>
                  <a:p>
                    <a:r>
                      <a:rPr lang="en-CH"/>
                      <a:t>3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452-461D-8CB9-AD261299DC8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8</c:v>
                </c:pt>
                <c:pt idx="1">
                  <c:v>39.03</c:v>
                </c:pt>
                <c:pt idx="2">
                  <c:v>24.98</c:v>
                </c:pt>
                <c:pt idx="3">
                  <c:v>37.18</c:v>
                </c:pt>
                <c:pt idx="4">
                  <c:v>22.36</c:v>
                </c:pt>
                <c:pt idx="5">
                  <c:v>45.06</c:v>
                </c:pt>
                <c:pt idx="6">
                  <c:v>41.53</c:v>
                </c:pt>
                <c:pt idx="7">
                  <c:v>46.38</c:v>
                </c:pt>
                <c:pt idx="8">
                  <c:v>23.87</c:v>
                </c:pt>
                <c:pt idx="9">
                  <c:v>85.35</c:v>
                </c:pt>
                <c:pt idx="10">
                  <c:v>24.05</c:v>
                </c:pt>
                <c:pt idx="11">
                  <c:v>37.549999999999997</c:v>
                </c:pt>
                <c:pt idx="12">
                  <c:v>36.96</c:v>
                </c:pt>
                <c:pt idx="13">
                  <c:v>75.78</c:v>
                </c:pt>
                <c:pt idx="14">
                  <c:v>36.6300000000000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7F7-427D-9C8B-13F065BB164E}"/>
                </c:ext>
              </c:extLst>
            </c:dLbl>
            <c:dLbl>
              <c:idx val="1"/>
              <c:tx>
                <c:rich>
                  <a:bodyPr/>
                  <a:lstStyle/>
                  <a:p>
                    <a:r>
                      <a:t>36.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7F7-427D-9C8B-13F065BB164E}"/>
                </c:ext>
              </c:extLst>
            </c:dLbl>
            <c:dLbl>
              <c:idx val="2"/>
              <c:tx>
                <c:rich>
                  <a:bodyPr/>
                  <a:lstStyle/>
                  <a:p>
                    <a:r>
                      <a:t>4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7F7-427D-9C8B-13F065BB164E}"/>
                </c:ext>
              </c:extLst>
            </c:dLbl>
            <c:dLbl>
              <c:idx val="3"/>
              <c:tx>
                <c:rich>
                  <a:bodyPr/>
                  <a:lstStyle/>
                  <a:p>
                    <a:r>
                      <a:t>34.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7F7-427D-9C8B-13F065BB164E}"/>
                </c:ext>
              </c:extLst>
            </c:dLbl>
            <c:dLbl>
              <c:idx val="4"/>
              <c:tx>
                <c:rich>
                  <a:bodyPr/>
                  <a:lstStyle/>
                  <a:p>
                    <a:r>
                      <a:t>57.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7F7-427D-9C8B-13F065BB164E}"/>
                </c:ext>
              </c:extLst>
            </c:dLbl>
            <c:dLbl>
              <c:idx val="5"/>
              <c:tx>
                <c:rich>
                  <a:bodyPr/>
                  <a:lstStyle/>
                  <a:p>
                    <a:r>
                      <a:t>61.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7F7-427D-9C8B-13F065BB164E}"/>
                </c:ext>
              </c:extLst>
            </c:dLbl>
            <c:dLbl>
              <c:idx val="6"/>
              <c:tx>
                <c:rich>
                  <a:bodyPr/>
                  <a:lstStyle/>
                  <a:p>
                    <a:r>
                      <a:t>138.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7F7-427D-9C8B-13F065BB164E}"/>
                </c:ext>
              </c:extLst>
            </c:dLbl>
            <c:dLbl>
              <c:idx val="7"/>
              <c:tx>
                <c:rich>
                  <a:bodyPr/>
                  <a:lstStyle/>
                  <a:p>
                    <a:r>
                      <a:t>51.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7F7-427D-9C8B-13F065BB164E}"/>
                </c:ext>
              </c:extLst>
            </c:dLbl>
            <c:dLbl>
              <c:idx val="8"/>
              <c:tx>
                <c:rich>
                  <a:bodyPr/>
                  <a:lstStyle/>
                  <a:p>
                    <a:r>
                      <a:t>37.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7F7-427D-9C8B-13F065BB164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1ERE CUVEE 1CT X 750ML</c:v>
                </c:pt>
                <c:pt idx="2">
                  <c:v>MG CHAMPAGNE E.NICOLAS BRUT 1CT X 1500ML</c:v>
                </c:pt>
                <c:pt idx="3">
                  <c:v>CHAMPAGNE CH DE BLIGNY BRUT 1CT X 750ML</c:v>
                </c:pt>
                <c:pt idx="4">
                  <c:v>RUINART BRUT (NUE) 1CT X 750ML</c:v>
                </c:pt>
                <c:pt idx="5">
                  <c:v>RUINART BRUT SECOND SKIN 1CT X 750ML</c:v>
                </c:pt>
                <c:pt idx="6">
                  <c:v>MG RUINART BRUT SECOND SKIN 1CT X 1500ML</c:v>
                </c:pt>
                <c:pt idx="7">
                  <c:v>VEUVE CLICQUOT RESERV CUVEE NB 1CT X 750ML</c:v>
                </c:pt>
                <c:pt idx="8">
                  <c:v>1/2 RUINART BRUT (NUE) 1CT X 375ML</c:v>
                </c:pt>
              </c:strCache>
            </c:strRef>
          </c:cat>
          <c:val>
            <c:numRef>
              <c:f>Sheet1!$B$2:$B$10</c:f>
              <c:numCache>
                <c:formatCode>General</c:formatCode>
                <c:ptCount val="9"/>
                <c:pt idx="0">
                  <c:v>21.94</c:v>
                </c:pt>
                <c:pt idx="1">
                  <c:v>36.22</c:v>
                </c:pt>
                <c:pt idx="2">
                  <c:v>44.21</c:v>
                </c:pt>
                <c:pt idx="3">
                  <c:v>34.94</c:v>
                </c:pt>
                <c:pt idx="4">
                  <c:v>57.67</c:v>
                </c:pt>
                <c:pt idx="5">
                  <c:v>61.84</c:v>
                </c:pt>
                <c:pt idx="6">
                  <c:v>138.33000000000001</c:v>
                </c:pt>
                <c:pt idx="7">
                  <c:v>51.86</c:v>
                </c:pt>
                <c:pt idx="8">
                  <c:v>37.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B2F-4250-A56D-31A601191E8C}"/>
                </c:ext>
              </c:extLst>
            </c:dLbl>
            <c:dLbl>
              <c:idx val="1"/>
              <c:tx>
                <c:rich>
                  <a:bodyPr/>
                  <a:lstStyle/>
                  <a:p>
                    <a:r>
                      <a:t>36.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B2F-4250-A56D-31A601191E8C}"/>
                </c:ext>
              </c:extLst>
            </c:dLbl>
            <c:dLbl>
              <c:idx val="2"/>
              <c:tx>
                <c:rich>
                  <a:bodyPr/>
                  <a:lstStyle/>
                  <a:p>
                    <a:r>
                      <a:t>46.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B2F-4250-A56D-31A601191E8C}"/>
                </c:ext>
              </c:extLst>
            </c:dLbl>
            <c:dLbl>
              <c:idx val="3"/>
              <c:tx>
                <c:rich>
                  <a:bodyPr/>
                  <a:lstStyle/>
                  <a:p>
                    <a:r>
                      <a:t>22.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B2F-4250-A56D-31A601191E8C}"/>
                </c:ext>
              </c:extLst>
            </c:dLbl>
            <c:dLbl>
              <c:idx val="4"/>
              <c:tx>
                <c:rich>
                  <a:bodyPr/>
                  <a:lstStyle/>
                  <a:p>
                    <a:r>
                      <a:t>46.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B2F-4250-A56D-31A601191E8C}"/>
                </c:ext>
              </c:extLst>
            </c:dLbl>
            <c:dLbl>
              <c:idx val="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B2F-4250-A56D-31A601191E8C}"/>
                </c:ext>
              </c:extLst>
            </c:dLbl>
            <c:dLbl>
              <c:idx val="6"/>
              <c:tx>
                <c:rich>
                  <a:bodyPr/>
                  <a:lstStyle/>
                  <a:p>
                    <a:r>
                      <a:t>51.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B2F-4250-A56D-31A601191E8C}"/>
                </c:ext>
              </c:extLst>
            </c:dLbl>
            <c:dLbl>
              <c:idx val="7"/>
              <c:tx>
                <c:rich>
                  <a:bodyPr/>
                  <a:lstStyle/>
                  <a:p>
                    <a:r>
                      <a:t>6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B2F-4250-A56D-31A601191E8C}"/>
                </c:ext>
              </c:extLst>
            </c:dLbl>
            <c:dLbl>
              <c:idx val="8"/>
              <c:tx>
                <c:rich>
                  <a:bodyPr/>
                  <a:lstStyle/>
                  <a:p>
                    <a:r>
                      <a:t>139.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B2F-4250-A56D-31A601191E8C}"/>
                </c:ext>
              </c:extLst>
            </c:dLbl>
            <c:dLbl>
              <c:idx val="9"/>
              <c:tx>
                <c:rich>
                  <a:bodyPr/>
                  <a:lstStyle/>
                  <a:p>
                    <a:r>
                      <a:t>35.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B2F-4250-A56D-31A601191E8C}"/>
                </c:ext>
              </c:extLst>
            </c:dLbl>
            <c:dLbl>
              <c:idx val="10"/>
              <c:tx>
                <c:rich>
                  <a:bodyPr/>
                  <a:lstStyle/>
                  <a:p>
                    <a:r>
                      <a:t>4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B2F-4250-A56D-31A601191E8C}"/>
                </c:ext>
              </c:extLst>
            </c:dLbl>
            <c:dLbl>
              <c:idx val="11"/>
              <c:tx>
                <c:rich>
                  <a:bodyPr/>
                  <a:lstStyle/>
                  <a:p>
                    <a:r>
                      <a:t>58.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B2F-4250-A56D-31A601191E8C}"/>
                </c:ext>
              </c:extLst>
            </c:dLbl>
            <c:dLbl>
              <c:idx val="12"/>
              <c:tx>
                <c:rich>
                  <a:bodyPr/>
                  <a:lstStyle/>
                  <a:p>
                    <a:r>
                      <a:t>100.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B2F-4250-A56D-31A601191E8C}"/>
                </c:ext>
              </c:extLst>
            </c:dLbl>
            <c:dLbl>
              <c:idx val="13"/>
              <c:tx>
                <c:rich>
                  <a:bodyPr/>
                  <a:lstStyle/>
                  <a:p>
                    <a:r>
                      <a:t>28.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B2F-4250-A56D-31A601191E8C}"/>
                </c:ext>
              </c:extLst>
            </c:dLbl>
            <c:dLbl>
              <c:idx val="14"/>
              <c:tx>
                <c:rich>
                  <a:bodyPr/>
                  <a:lstStyle/>
                  <a:p>
                    <a:r>
                      <a:t>125.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B2F-4250-A56D-31A601191E8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92</c:v>
                </c:pt>
                <c:pt idx="1">
                  <c:v>36.99</c:v>
                </c:pt>
                <c:pt idx="2">
                  <c:v>46.02</c:v>
                </c:pt>
                <c:pt idx="3">
                  <c:v>22.24</c:v>
                </c:pt>
                <c:pt idx="4">
                  <c:v>46.62</c:v>
                </c:pt>
                <c:pt idx="5">
                  <c:v>57.87</c:v>
                </c:pt>
                <c:pt idx="6">
                  <c:v>51.62</c:v>
                </c:pt>
                <c:pt idx="7">
                  <c:v>61.93</c:v>
                </c:pt>
                <c:pt idx="8">
                  <c:v>139.37</c:v>
                </c:pt>
                <c:pt idx="9">
                  <c:v>35.880000000000003</c:v>
                </c:pt>
                <c:pt idx="10">
                  <c:v>49.96</c:v>
                </c:pt>
                <c:pt idx="11">
                  <c:v>58.97</c:v>
                </c:pt>
                <c:pt idx="12">
                  <c:v>100.08</c:v>
                </c:pt>
                <c:pt idx="13">
                  <c:v>28.11</c:v>
                </c:pt>
                <c:pt idx="14">
                  <c:v>125.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DA0-4B81-97E9-35F215125DF8}"/>
                </c:ext>
              </c:extLst>
            </c:dLbl>
            <c:dLbl>
              <c:idx val="1"/>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DA0-4B81-97E9-35F215125DF8}"/>
                </c:ext>
              </c:extLst>
            </c:dLbl>
            <c:dLbl>
              <c:idx val="2"/>
              <c:tx>
                <c:rich>
                  <a:bodyPr/>
                  <a:lstStyle/>
                  <a:p>
                    <a:r>
                      <a:t>44.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DA0-4B81-97E9-35F215125DF8}"/>
                </c:ext>
              </c:extLst>
            </c:dLbl>
            <c:dLbl>
              <c:idx val="3"/>
              <c:tx>
                <c:rich>
                  <a:bodyPr/>
                  <a:lstStyle/>
                  <a:p>
                    <a:r>
                      <a:t>2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DA0-4B81-97E9-35F215125DF8}"/>
                </c:ext>
              </c:extLst>
            </c:dLbl>
            <c:dLbl>
              <c:idx val="4"/>
              <c:tx>
                <c:rich>
                  <a:bodyPr/>
                  <a:lstStyle/>
                  <a:p>
                    <a:r>
                      <a:t>48.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DA0-4B81-97E9-35F215125DF8}"/>
                </c:ext>
              </c:extLst>
            </c:dLbl>
            <c:dLbl>
              <c:idx val="5"/>
              <c:tx>
                <c:rich>
                  <a:bodyPr/>
                  <a:lstStyle/>
                  <a:p>
                    <a:r>
                      <a:t>57.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DA0-4B81-97E9-35F215125DF8}"/>
                </c:ext>
              </c:extLst>
            </c:dLbl>
            <c:dLbl>
              <c:idx val="6"/>
              <c:tx>
                <c:rich>
                  <a:bodyPr/>
                  <a:lstStyle/>
                  <a:p>
                    <a:r>
                      <a:t>6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DA0-4B81-97E9-35F215125DF8}"/>
                </c:ext>
              </c:extLst>
            </c:dLbl>
            <c:dLbl>
              <c:idx val="7"/>
              <c:tx>
                <c:rich>
                  <a:bodyPr/>
                  <a:lstStyle/>
                  <a:p>
                    <a:r>
                      <a:t>51.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DA0-4B81-97E9-35F215125DF8}"/>
                </c:ext>
              </c:extLst>
            </c:dLbl>
            <c:dLbl>
              <c:idx val="8"/>
              <c:tx>
                <c:rich>
                  <a:bodyPr/>
                  <a:lstStyle/>
                  <a:p>
                    <a:r>
                      <a:t>138.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DA0-4B81-97E9-35F215125DF8}"/>
                </c:ext>
              </c:extLst>
            </c:dLbl>
            <c:dLbl>
              <c:idx val="9"/>
              <c:tx>
                <c:rich>
                  <a:bodyPr/>
                  <a:lstStyle/>
                  <a:p>
                    <a:r>
                      <a:t>36.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DA0-4B81-97E9-35F215125DF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RUINART BRUT SECOND SKIN 1CT X 750ML</c:v>
                </c:pt>
                <c:pt idx="7">
                  <c:v>VEUVE CLICQUOT RESERV CUVEE NB 1CT X 750ML</c:v>
                </c:pt>
                <c:pt idx="8">
                  <c:v>MG RUINART BRUT SECOND SKIN 1CT X 1500ML</c:v>
                </c:pt>
                <c:pt idx="9">
                  <c:v>1/2 RUINART BRUT (NUE) 1CT X 375ML</c:v>
                </c:pt>
              </c:strCache>
            </c:strRef>
          </c:cat>
          <c:val>
            <c:numRef>
              <c:f>Sheet1!$B$2:$B$11</c:f>
              <c:numCache>
                <c:formatCode>General</c:formatCode>
                <c:ptCount val="10"/>
                <c:pt idx="0">
                  <c:v>21.92</c:v>
                </c:pt>
                <c:pt idx="1">
                  <c:v>37.29</c:v>
                </c:pt>
                <c:pt idx="2">
                  <c:v>44.86</c:v>
                </c:pt>
                <c:pt idx="3">
                  <c:v>22.42</c:v>
                </c:pt>
                <c:pt idx="4">
                  <c:v>48.33</c:v>
                </c:pt>
                <c:pt idx="5">
                  <c:v>57.77</c:v>
                </c:pt>
                <c:pt idx="6">
                  <c:v>62.43</c:v>
                </c:pt>
                <c:pt idx="7">
                  <c:v>51.01</c:v>
                </c:pt>
                <c:pt idx="8">
                  <c:v>138.61000000000001</c:v>
                </c:pt>
                <c:pt idx="9">
                  <c:v>36.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46C-4AF5-A0A7-4963CD5A99EB}"/>
                </c:ext>
              </c:extLst>
            </c:dLbl>
            <c:dLbl>
              <c:idx val="1"/>
              <c:tx>
                <c:rich>
                  <a:bodyPr/>
                  <a:lstStyle/>
                  <a:p>
                    <a:r>
                      <a:t>37.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46C-4AF5-A0A7-4963CD5A99EB}"/>
                </c:ext>
              </c:extLst>
            </c:dLbl>
            <c:dLbl>
              <c:idx val="2"/>
              <c:tx>
                <c:rich>
                  <a:bodyPr/>
                  <a:lstStyle/>
                  <a:p>
                    <a:r>
                      <a:t>43.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46C-4AF5-A0A7-4963CD5A99EB}"/>
                </c:ext>
              </c:extLst>
            </c:dLbl>
            <c:dLbl>
              <c:idx val="3"/>
              <c:tx>
                <c:rich>
                  <a:bodyPr/>
                  <a:lstStyle/>
                  <a:p>
                    <a:r>
                      <a:t>58.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46C-4AF5-A0A7-4963CD5A99EB}"/>
                </c:ext>
              </c:extLst>
            </c:dLbl>
            <c:dLbl>
              <c:idx val="4"/>
              <c:tx>
                <c:rich>
                  <a:bodyPr/>
                  <a:lstStyle/>
                  <a:p>
                    <a:r>
                      <a:t>6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46C-4AF5-A0A7-4963CD5A99EB}"/>
                </c:ext>
              </c:extLst>
            </c:dLbl>
            <c:dLbl>
              <c:idx val="5"/>
              <c:tx>
                <c:rich>
                  <a:bodyPr/>
                  <a:lstStyle/>
                  <a:p>
                    <a:r>
                      <a:t>141.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46C-4AF5-A0A7-4963CD5A99EB}"/>
                </c:ext>
              </c:extLst>
            </c:dLbl>
            <c:dLbl>
              <c:idx val="6"/>
              <c:tx>
                <c:rich>
                  <a:bodyPr/>
                  <a:lstStyle/>
                  <a:p>
                    <a:r>
                      <a:t>51.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46C-4AF5-A0A7-4963CD5A99EB}"/>
                </c:ext>
              </c:extLst>
            </c:dLbl>
            <c:dLbl>
              <c:idx val="7"/>
              <c:tx>
                <c:rich>
                  <a:bodyPr/>
                  <a:lstStyle/>
                  <a:p>
                    <a:r>
                      <a:t>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46C-4AF5-A0A7-4963CD5A99EB}"/>
                </c:ext>
              </c:extLst>
            </c:dLbl>
            <c:dLbl>
              <c:idx val="8"/>
              <c:tx>
                <c:rich>
                  <a:bodyPr/>
                  <a:lstStyle/>
                  <a:p>
                    <a:r>
                      <a:t>4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46C-4AF5-A0A7-4963CD5A99EB}"/>
                </c:ext>
              </c:extLst>
            </c:dLbl>
            <c:dLbl>
              <c:idx val="9"/>
              <c:tx>
                <c:rich>
                  <a:bodyPr/>
                  <a:lstStyle/>
                  <a:p>
                    <a:r>
                      <a:t>58.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46C-4AF5-A0A7-4963CD5A99EB}"/>
                </c:ext>
              </c:extLst>
            </c:dLbl>
            <c:dLbl>
              <c:idx val="10"/>
              <c:tx>
                <c:rich>
                  <a:bodyPr/>
                  <a:lstStyle/>
                  <a:p>
                    <a:r>
                      <a:t>10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46C-4AF5-A0A7-4963CD5A99EB}"/>
                </c:ext>
              </c:extLst>
            </c:dLbl>
            <c:dLbl>
              <c:idx val="11"/>
              <c:tx>
                <c:rich>
                  <a:bodyPr/>
                  <a:lstStyle/>
                  <a:p>
                    <a:r>
                      <a:t>116.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46C-4AF5-A0A7-4963CD5A99EB}"/>
                </c:ext>
              </c:extLst>
            </c:dLbl>
            <c:dLbl>
              <c:idx val="12"/>
              <c:tx>
                <c:rich>
                  <a:bodyPr/>
                  <a:lstStyle/>
                  <a:p>
                    <a:r>
                      <a:t>27.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46C-4AF5-A0A7-4963CD5A99E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MG CHAMPAGNE E.NICOLAS BRUT 1CT X 1500ML</c:v>
                </c:pt>
                <c:pt idx="3">
                  <c:v>RUINART BRUT (NUE) 1CT X 750ML</c:v>
                </c:pt>
                <c:pt idx="4">
                  <c:v>RUINART BRUT SECOND SKIN 1CT X 750ML</c:v>
                </c:pt>
                <c:pt idx="5">
                  <c:v>MG RUINART BRUT SECOND SKIN 1CT X 1500ML</c:v>
                </c:pt>
                <c:pt idx="6">
                  <c:v>VEUVE CLICQUOT RESERV CUVEE NB 1CT X 750ML</c:v>
                </c:pt>
                <c:pt idx="7">
                  <c:v>VEUVE CLICQUOT RES CUVEE ETUI 1CT X 750ML</c:v>
                </c:pt>
                <c:pt idx="8">
                  <c:v>DEUTZ CLASSIC BRUT 1CT X 750ML</c:v>
                </c:pt>
                <c:pt idx="9">
                  <c:v>ROEDERER BRUT COLLECTION 245 1CT X 750ML</c:v>
                </c:pt>
                <c:pt idx="10">
                  <c:v>MG DEUTZ CLASSIC 1CT X 1500ML</c:v>
                </c:pt>
                <c:pt idx="11">
                  <c:v>MG ROEDERER BRUT COLLECT 244 1CT X 1500ML</c:v>
                </c:pt>
                <c:pt idx="12">
                  <c:v>1/2 DEUTZ CLASSIC BRUT 1CT X 375ML</c:v>
                </c:pt>
              </c:strCache>
            </c:strRef>
          </c:cat>
          <c:val>
            <c:numRef>
              <c:f>Sheet1!$B$2:$B$14</c:f>
              <c:numCache>
                <c:formatCode>General</c:formatCode>
                <c:ptCount val="13"/>
                <c:pt idx="0">
                  <c:v>21.94</c:v>
                </c:pt>
                <c:pt idx="1">
                  <c:v>37.090000000000003</c:v>
                </c:pt>
                <c:pt idx="2">
                  <c:v>43.96</c:v>
                </c:pt>
                <c:pt idx="3">
                  <c:v>58.22</c:v>
                </c:pt>
                <c:pt idx="4">
                  <c:v>61.44</c:v>
                </c:pt>
                <c:pt idx="5">
                  <c:v>141.16999999999999</c:v>
                </c:pt>
                <c:pt idx="6">
                  <c:v>51.56</c:v>
                </c:pt>
                <c:pt idx="7">
                  <c:v>52.8</c:v>
                </c:pt>
                <c:pt idx="8">
                  <c:v>49.79</c:v>
                </c:pt>
                <c:pt idx="9">
                  <c:v>58.62</c:v>
                </c:pt>
                <c:pt idx="10">
                  <c:v>101.52</c:v>
                </c:pt>
                <c:pt idx="11">
                  <c:v>116.52</c:v>
                </c:pt>
                <c:pt idx="12">
                  <c:v>2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766-453A-92E0-FD5B01EDE35A}"/>
                </c:ext>
              </c:extLst>
            </c:dLbl>
            <c:dLbl>
              <c:idx val="1"/>
              <c:tx>
                <c:rich>
                  <a:bodyPr/>
                  <a:lstStyle/>
                  <a:p>
                    <a:r>
                      <a:t>36.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766-453A-92E0-FD5B01EDE35A}"/>
                </c:ext>
              </c:extLst>
            </c:dLbl>
            <c:dLbl>
              <c:idx val="2"/>
              <c:tx>
                <c:rich>
                  <a:bodyPr/>
                  <a:lstStyle/>
                  <a:p>
                    <a:r>
                      <a:t>57.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766-453A-92E0-FD5B01EDE35A}"/>
                </c:ext>
              </c:extLst>
            </c:dLbl>
            <c:dLbl>
              <c:idx val="3"/>
              <c:tx>
                <c:rich>
                  <a:bodyPr/>
                  <a:lstStyle/>
                  <a:p>
                    <a:r>
                      <a:t>13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766-453A-92E0-FD5B01EDE35A}"/>
                </c:ext>
              </c:extLst>
            </c:dLbl>
            <c:dLbl>
              <c:idx val="4"/>
              <c:tx>
                <c:rich>
                  <a:bodyPr/>
                  <a:lstStyle/>
                  <a:p>
                    <a:r>
                      <a:t>5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766-453A-92E0-FD5B01EDE35A}"/>
                </c:ext>
              </c:extLst>
            </c:dLbl>
            <c:dLbl>
              <c:idx val="5"/>
              <c:tx>
                <c:rich>
                  <a:bodyPr/>
                  <a:lstStyle/>
                  <a:p>
                    <a:r>
                      <a:t>60.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766-453A-92E0-FD5B01EDE35A}"/>
                </c:ext>
              </c:extLst>
            </c:dLbl>
            <c:dLbl>
              <c:idx val="6"/>
              <c:tx>
                <c:rich>
                  <a:bodyPr/>
                  <a:lstStyle/>
                  <a:p>
                    <a:r>
                      <a:t>5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766-453A-92E0-FD5B01EDE35A}"/>
                </c:ext>
              </c:extLst>
            </c:dLbl>
            <c:dLbl>
              <c:idx val="7"/>
              <c:tx>
                <c:rich>
                  <a:bodyPr/>
                  <a:lstStyle/>
                  <a:p>
                    <a:r>
                      <a:t>50.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766-453A-92E0-FD5B01EDE35A}"/>
                </c:ext>
              </c:extLst>
            </c:dLbl>
            <c:dLbl>
              <c:idx val="8"/>
              <c:tx>
                <c:rich>
                  <a:bodyPr/>
                  <a:lstStyle/>
                  <a:p>
                    <a:r>
                      <a:t>102.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766-453A-92E0-FD5B01EDE35A}"/>
                </c:ext>
              </c:extLst>
            </c:dLbl>
            <c:dLbl>
              <c:idx val="9"/>
              <c:tx>
                <c:rich>
                  <a:bodyPr/>
                  <a:lstStyle/>
                  <a:p>
                    <a:r>
                      <a:t>58.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766-453A-92E0-FD5B01EDE35A}"/>
                </c:ext>
              </c:extLst>
            </c:dLbl>
            <c:dLbl>
              <c:idx val="10"/>
              <c:tx>
                <c:rich>
                  <a:bodyPr/>
                  <a:lstStyle/>
                  <a:p>
                    <a:r>
                      <a:t>27.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766-453A-92E0-FD5B01EDE35A}"/>
                </c:ext>
              </c:extLst>
            </c:dLbl>
            <c:dLbl>
              <c:idx val="11"/>
              <c:tx>
                <c:rich>
                  <a:bodyPr/>
                  <a:lstStyle/>
                  <a:p>
                    <a:r>
                      <a:t>164.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766-453A-92E0-FD5B01EDE35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1ERE CUVEE 1CT X 750ML</c:v>
                </c:pt>
                <c:pt idx="2">
                  <c:v>RUINART BRUT (NUE) 1CT X 750ML</c:v>
                </c:pt>
                <c:pt idx="3">
                  <c:v>MG RUINART BRUT SECOND SKIN 1CT X 1500ML</c:v>
                </c:pt>
                <c:pt idx="4">
                  <c:v>VEUVE CLICQUOT RESERV CUVEE NB 1CT X 750ML</c:v>
                </c:pt>
                <c:pt idx="5">
                  <c:v>RUINART BRUT SECOND SKIN 1CT X 750ML</c:v>
                </c:pt>
                <c:pt idx="6">
                  <c:v>VEUVE CLICQUOT RES CUVEE ETUI 1CT X 750ML</c:v>
                </c:pt>
                <c:pt idx="7">
                  <c:v>DEUTZ CLASSIC BRUT 1CT X 750ML</c:v>
                </c:pt>
                <c:pt idx="8">
                  <c:v>MG DEUTZ CLASSIC 1CT X 1500ML</c:v>
                </c:pt>
                <c:pt idx="9">
                  <c:v>ROEDERER BRUT COLLECTION 245 1CT X 750ML</c:v>
                </c:pt>
                <c:pt idx="10">
                  <c:v>1/2 DEUTZ CLASSIC BRUT 1CT X 375ML</c:v>
                </c:pt>
                <c:pt idx="11">
                  <c:v>MG ROEDERER BRUT COLLECT 244 1CT X 1500ML</c:v>
                </c:pt>
              </c:strCache>
            </c:strRef>
          </c:cat>
          <c:val>
            <c:numRef>
              <c:f>Sheet1!$B$2:$B$13</c:f>
              <c:numCache>
                <c:formatCode>General</c:formatCode>
                <c:ptCount val="12"/>
                <c:pt idx="0">
                  <c:v>21.91</c:v>
                </c:pt>
                <c:pt idx="1">
                  <c:v>36.64</c:v>
                </c:pt>
                <c:pt idx="2">
                  <c:v>57.91</c:v>
                </c:pt>
                <c:pt idx="3">
                  <c:v>133.91</c:v>
                </c:pt>
                <c:pt idx="4">
                  <c:v>51.92</c:v>
                </c:pt>
                <c:pt idx="5">
                  <c:v>60.82</c:v>
                </c:pt>
                <c:pt idx="6">
                  <c:v>53</c:v>
                </c:pt>
                <c:pt idx="7">
                  <c:v>50.19</c:v>
                </c:pt>
                <c:pt idx="8">
                  <c:v>102.32</c:v>
                </c:pt>
                <c:pt idx="9">
                  <c:v>58.14</c:v>
                </c:pt>
                <c:pt idx="10">
                  <c:v>27.52</c:v>
                </c:pt>
                <c:pt idx="11">
                  <c:v>164.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1FD-4FDB-95F3-205C371B19D0}"/>
                </c:ext>
              </c:extLst>
            </c:dLbl>
            <c:dLbl>
              <c:idx val="1"/>
              <c:tx>
                <c:rich>
                  <a:bodyPr/>
                  <a:lstStyle/>
                  <a:p>
                    <a:r>
                      <a:t>34.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1FD-4FDB-95F3-205C371B19D0}"/>
                </c:ext>
              </c:extLst>
            </c:dLbl>
            <c:dLbl>
              <c:idx val="2"/>
              <c:tx>
                <c:rich>
                  <a:bodyPr/>
                  <a:lstStyle/>
                  <a:p>
                    <a:r>
                      <a:t>5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1FD-4FDB-95F3-205C371B19D0}"/>
                </c:ext>
              </c:extLst>
            </c:dLbl>
            <c:dLbl>
              <c:idx val="3"/>
              <c:tx>
                <c:rich>
                  <a:bodyPr/>
                  <a:lstStyle/>
                  <a:p>
                    <a:r>
                      <a:t>52.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1FD-4FDB-95F3-205C371B19D0}"/>
                </c:ext>
              </c:extLst>
            </c:dLbl>
            <c:dLbl>
              <c:idx val="4"/>
              <c:tx>
                <c:rich>
                  <a:bodyPr/>
                  <a:lstStyle/>
                  <a:p>
                    <a:r>
                      <a:t>14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1FD-4FDB-95F3-205C371B19D0}"/>
                </c:ext>
              </c:extLst>
            </c:dLbl>
            <c:dLbl>
              <c:idx val="5"/>
              <c:tx>
                <c:rich>
                  <a:bodyPr/>
                  <a:lstStyle/>
                  <a:p>
                    <a:r>
                      <a:t>6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1FD-4FDB-95F3-205C371B19D0}"/>
                </c:ext>
              </c:extLst>
            </c:dLbl>
            <c:dLbl>
              <c:idx val="6"/>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1FD-4FDB-95F3-205C371B19D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CH DE BLIGNY BRUT 1CT X 750ML</c:v>
                </c:pt>
                <c:pt idx="2">
                  <c:v>RUINART BRUT (NUE) 1CT X 750ML</c:v>
                </c:pt>
                <c:pt idx="3">
                  <c:v>VEUVE CLICQUOT RESERV CUVEE NB 1CT X 750ML</c:v>
                </c:pt>
                <c:pt idx="4">
                  <c:v>MG RUINART BRUT SECOND SKIN 1CT X 1500ML</c:v>
                </c:pt>
                <c:pt idx="5">
                  <c:v>RUINART BRUT SECOND SKIN 1CT X 750ML</c:v>
                </c:pt>
                <c:pt idx="6">
                  <c:v>1/2 RUINART BRUT (NUE) 1CT X 375ML</c:v>
                </c:pt>
              </c:strCache>
            </c:strRef>
          </c:cat>
          <c:val>
            <c:numRef>
              <c:f>Sheet1!$B$2:$B$8</c:f>
              <c:numCache>
                <c:formatCode>General</c:formatCode>
                <c:ptCount val="7"/>
                <c:pt idx="0">
                  <c:v>21.4</c:v>
                </c:pt>
                <c:pt idx="1">
                  <c:v>34.81</c:v>
                </c:pt>
                <c:pt idx="2">
                  <c:v>57.71</c:v>
                </c:pt>
                <c:pt idx="3">
                  <c:v>52.21</c:v>
                </c:pt>
                <c:pt idx="4">
                  <c:v>141.91</c:v>
                </c:pt>
                <c:pt idx="5">
                  <c:v>61.02</c:v>
                </c:pt>
                <c:pt idx="6">
                  <c:v>36.97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9C5-4D41-9F88-BF1195471752}"/>
                </c:ext>
              </c:extLst>
            </c:dLbl>
            <c:dLbl>
              <c:idx val="1"/>
              <c:tx>
                <c:rich>
                  <a:bodyPr/>
                  <a:lstStyle/>
                  <a:p>
                    <a:r>
                      <a:t>36.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9C5-4D41-9F88-BF1195471752}"/>
                </c:ext>
              </c:extLst>
            </c:dLbl>
            <c:dLbl>
              <c:idx val="2"/>
              <c:tx>
                <c:rich>
                  <a:bodyPr/>
                  <a:lstStyle/>
                  <a:p>
                    <a:r>
                      <a:t>45.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9C5-4D41-9F88-BF1195471752}"/>
                </c:ext>
              </c:extLst>
            </c:dLbl>
            <c:dLbl>
              <c:idx val="3"/>
              <c:tx>
                <c:rich>
                  <a:bodyPr/>
                  <a:lstStyle/>
                  <a:p>
                    <a:r>
                      <a:t>22.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9C5-4D41-9F88-BF1195471752}"/>
                </c:ext>
              </c:extLst>
            </c:dLbl>
            <c:dLbl>
              <c:idx val="4"/>
              <c:tx>
                <c:rich>
                  <a:bodyPr/>
                  <a:lstStyle/>
                  <a:p>
                    <a:r>
                      <a:t>45.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9C5-4D41-9F88-BF1195471752}"/>
                </c:ext>
              </c:extLst>
            </c:dLbl>
            <c:dLbl>
              <c:idx val="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9C5-4D41-9F88-BF1195471752}"/>
                </c:ext>
              </c:extLst>
            </c:dLbl>
            <c:dLbl>
              <c:idx val="6"/>
              <c:tx>
                <c:rich>
                  <a:bodyPr/>
                  <a:lstStyle/>
                  <a:p>
                    <a:r>
                      <a:t>51.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9C5-4D41-9F88-BF1195471752}"/>
                </c:ext>
              </c:extLst>
            </c:dLbl>
            <c:dLbl>
              <c:idx val="7"/>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9C5-4D41-9F88-BF1195471752}"/>
                </c:ext>
              </c:extLst>
            </c:dLbl>
            <c:dLbl>
              <c:idx val="8"/>
              <c:tx>
                <c:rich>
                  <a:bodyPr/>
                  <a:lstStyle/>
                  <a:p>
                    <a:r>
                      <a:t>139.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9C5-4D41-9F88-BF1195471752}"/>
                </c:ext>
              </c:extLst>
            </c:dLbl>
            <c:dLbl>
              <c:idx val="9"/>
              <c:tx>
                <c:rich>
                  <a:bodyPr/>
                  <a:lstStyle/>
                  <a:p>
                    <a:r>
                      <a:t>35.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9C5-4D41-9F88-BF1195471752}"/>
                </c:ext>
              </c:extLst>
            </c:dLbl>
            <c:dLbl>
              <c:idx val="10"/>
              <c:tx>
                <c:rich>
                  <a:bodyPr/>
                  <a:lstStyle/>
                  <a:p>
                    <a:r>
                      <a:t>49.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9C5-4D41-9F88-BF1195471752}"/>
                </c:ext>
              </c:extLst>
            </c:dLbl>
            <c:dLbl>
              <c:idx val="11"/>
              <c:tx>
                <c:rich>
                  <a:bodyPr/>
                  <a:lstStyle/>
                  <a:p>
                    <a:r>
                      <a:t>58.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9C5-4D41-9F88-BF1195471752}"/>
                </c:ext>
              </c:extLst>
            </c:dLbl>
            <c:dLbl>
              <c:idx val="12"/>
              <c:tx>
                <c:rich>
                  <a:bodyPr/>
                  <a:lstStyle/>
                  <a:p>
                    <a:r>
                      <a:t>99.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9C5-4D41-9F88-BF1195471752}"/>
                </c:ext>
              </c:extLst>
            </c:dLbl>
            <c:dLbl>
              <c:idx val="13"/>
              <c:tx>
                <c:rich>
                  <a:bodyPr/>
                  <a:lstStyle/>
                  <a:p>
                    <a:r>
                      <a:t>28.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9C5-4D41-9F88-BF1195471752}"/>
                </c:ext>
              </c:extLst>
            </c:dLbl>
            <c:dLbl>
              <c:idx val="14"/>
              <c:tx>
                <c:rich>
                  <a:bodyPr/>
                  <a:lstStyle/>
                  <a:p>
                    <a:r>
                      <a:t>126.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9C5-4D41-9F88-BF119547175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87</c:v>
                </c:pt>
                <c:pt idx="1">
                  <c:v>36.840000000000003</c:v>
                </c:pt>
                <c:pt idx="2">
                  <c:v>45.39</c:v>
                </c:pt>
                <c:pt idx="3">
                  <c:v>22.31</c:v>
                </c:pt>
                <c:pt idx="4">
                  <c:v>45.04</c:v>
                </c:pt>
                <c:pt idx="5">
                  <c:v>57.87</c:v>
                </c:pt>
                <c:pt idx="6">
                  <c:v>51.38</c:v>
                </c:pt>
                <c:pt idx="7">
                  <c:v>61.89</c:v>
                </c:pt>
                <c:pt idx="8">
                  <c:v>139.36000000000001</c:v>
                </c:pt>
                <c:pt idx="9">
                  <c:v>35.92</c:v>
                </c:pt>
                <c:pt idx="10">
                  <c:v>49.92</c:v>
                </c:pt>
                <c:pt idx="11">
                  <c:v>58.79</c:v>
                </c:pt>
                <c:pt idx="12">
                  <c:v>99.89</c:v>
                </c:pt>
                <c:pt idx="13">
                  <c:v>28.13</c:v>
                </c:pt>
                <c:pt idx="14">
                  <c:v>126.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D6A-45CF-A1DF-5BCAF2F29D2F}"/>
                </c:ext>
              </c:extLst>
            </c:dLbl>
            <c:dLbl>
              <c:idx val="1"/>
              <c:tx>
                <c:rich>
                  <a:bodyPr/>
                  <a:lstStyle/>
                  <a:p>
                    <a:r>
                      <a:t>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D6A-45CF-A1DF-5BCAF2F29D2F}"/>
                </c:ext>
              </c:extLst>
            </c:dLbl>
            <c:dLbl>
              <c:idx val="2"/>
              <c:tx>
                <c:rich>
                  <a:bodyPr/>
                  <a:lstStyle/>
                  <a:p>
                    <a:r>
                      <a:t>2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D6A-45CF-A1DF-5BCAF2F29D2F}"/>
                </c:ext>
              </c:extLst>
            </c:dLbl>
            <c:dLbl>
              <c:idx val="3"/>
              <c:tx>
                <c:rich>
                  <a:bodyPr/>
                  <a:lstStyle/>
                  <a:p>
                    <a:r>
                      <a:t>48.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D6A-45CF-A1DF-5BCAF2F29D2F}"/>
                </c:ext>
              </c:extLst>
            </c:dLbl>
            <c:dLbl>
              <c:idx val="4"/>
              <c:tx>
                <c:rich>
                  <a:bodyPr/>
                  <a:lstStyle/>
                  <a:p>
                    <a:r>
                      <a:t>46.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D6A-45CF-A1DF-5BCAF2F29D2F}"/>
                </c:ext>
              </c:extLst>
            </c:dLbl>
            <c:dLbl>
              <c:idx val="5"/>
              <c:tx>
                <c:rich>
                  <a:bodyPr/>
                  <a:lstStyle/>
                  <a:p>
                    <a:r>
                      <a:t>35.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D6A-45CF-A1DF-5BCAF2F29D2F}"/>
                </c:ext>
              </c:extLst>
            </c:dLbl>
            <c:dLbl>
              <c:idx val="6"/>
              <c:tx>
                <c:rich>
                  <a:bodyPr/>
                  <a:lstStyle/>
                  <a:p>
                    <a:r>
                      <a:t>58.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D6A-45CF-A1DF-5BCAF2F29D2F}"/>
                </c:ext>
              </c:extLst>
            </c:dLbl>
            <c:dLbl>
              <c:idx val="7"/>
              <c:tx>
                <c:rich>
                  <a:bodyPr/>
                  <a:lstStyle/>
                  <a:p>
                    <a:r>
                      <a:t>5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D6A-45CF-A1DF-5BCAF2F29D2F}"/>
                </c:ext>
              </c:extLst>
            </c:dLbl>
            <c:dLbl>
              <c:idx val="8"/>
              <c:tx>
                <c:rich>
                  <a:bodyPr/>
                  <a:lstStyle/>
                  <a:p>
                    <a:r>
                      <a:t>61.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D6A-45CF-A1DF-5BCAF2F29D2F}"/>
                </c:ext>
              </c:extLst>
            </c:dLbl>
            <c:dLbl>
              <c:idx val="9"/>
              <c:tx>
                <c:rich>
                  <a:bodyPr/>
                  <a:lstStyle/>
                  <a:p>
                    <a:r>
                      <a:t>141.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D6A-45CF-A1DF-5BCAF2F29D2F}"/>
                </c:ext>
              </c:extLst>
            </c:dLbl>
            <c:dLbl>
              <c:idx val="10"/>
              <c:tx>
                <c:rich>
                  <a:bodyPr/>
                  <a:lstStyle/>
                  <a:p>
                    <a:r>
                      <a:t>3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D6A-45CF-A1DF-5BCAF2F29D2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CHAMPAGNE CH DE BLIGNY BRUT 1CT X 750ML</c:v>
                </c:pt>
                <c:pt idx="6">
                  <c:v>RUINART BRUT (NUE) 1CT X 750ML</c:v>
                </c:pt>
                <c:pt idx="7">
                  <c:v>VEUVE CLICQUOT RESERV CUVEE NB 1CT X 750ML</c:v>
                </c:pt>
                <c:pt idx="8">
                  <c:v>RUINART BRUT SECOND SKIN 1CT X 750ML</c:v>
                </c:pt>
                <c:pt idx="9">
                  <c:v>MG RUINART BRUT SECOND SKIN 1CT X 1500ML</c:v>
                </c:pt>
                <c:pt idx="10">
                  <c:v>1/2 RUINART BRUT (NUE) 1CT X 375ML</c:v>
                </c:pt>
              </c:strCache>
            </c:strRef>
          </c:cat>
          <c:val>
            <c:numRef>
              <c:f>Sheet1!$B$2:$B$12</c:f>
              <c:numCache>
                <c:formatCode>General</c:formatCode>
                <c:ptCount val="11"/>
                <c:pt idx="0">
                  <c:v>21.91</c:v>
                </c:pt>
                <c:pt idx="1">
                  <c:v>37.6</c:v>
                </c:pt>
                <c:pt idx="2">
                  <c:v>22.41</c:v>
                </c:pt>
                <c:pt idx="3">
                  <c:v>48.77</c:v>
                </c:pt>
                <c:pt idx="4">
                  <c:v>46.69</c:v>
                </c:pt>
                <c:pt idx="5">
                  <c:v>35.090000000000003</c:v>
                </c:pt>
                <c:pt idx="6">
                  <c:v>58.06</c:v>
                </c:pt>
                <c:pt idx="7">
                  <c:v>51.5</c:v>
                </c:pt>
                <c:pt idx="8">
                  <c:v>61.67</c:v>
                </c:pt>
                <c:pt idx="9">
                  <c:v>141.83000000000001</c:v>
                </c:pt>
                <c:pt idx="10">
                  <c:v>3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B78-4942-B137-CA720AAE086B}"/>
                </c:ext>
              </c:extLst>
            </c:dLbl>
            <c:dLbl>
              <c:idx val="1"/>
              <c:tx>
                <c:rich>
                  <a:bodyPr/>
                  <a:lstStyle/>
                  <a:p>
                    <a:r>
                      <a:t>36.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B78-4942-B137-CA720AAE086B}"/>
                </c:ext>
              </c:extLst>
            </c:dLbl>
            <c:dLbl>
              <c:idx val="2"/>
              <c:tx>
                <c:rich>
                  <a:bodyPr/>
                  <a:lstStyle/>
                  <a:p>
                    <a:r>
                      <a:t>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B78-4942-B137-CA720AAE086B}"/>
                </c:ext>
              </c:extLst>
            </c:dLbl>
            <c:dLbl>
              <c:idx val="3"/>
              <c:tx>
                <c:rich>
                  <a:bodyPr/>
                  <a:lstStyle/>
                  <a:p>
                    <a:r>
                      <a:t>22.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B78-4942-B137-CA720AAE086B}"/>
                </c:ext>
              </c:extLst>
            </c:dLbl>
            <c:dLbl>
              <c:idx val="4"/>
              <c:tx>
                <c:rich>
                  <a:bodyPr/>
                  <a:lstStyle/>
                  <a:p>
                    <a:r>
                      <a:t>4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B78-4942-B137-CA720AAE086B}"/>
                </c:ext>
              </c:extLst>
            </c:dLbl>
            <c:dLbl>
              <c:idx val="5"/>
              <c:tx>
                <c:rich>
                  <a:bodyPr/>
                  <a:lstStyle/>
                  <a:p>
                    <a:r>
                      <a:t>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B78-4942-B137-CA720AAE086B}"/>
                </c:ext>
              </c:extLst>
            </c:dLbl>
            <c:dLbl>
              <c:idx val="6"/>
              <c:tx>
                <c:rich>
                  <a:bodyPr/>
                  <a:lstStyle/>
                  <a:p>
                    <a:r>
                      <a:t>51.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B78-4942-B137-CA720AAE086B}"/>
                </c:ext>
              </c:extLst>
            </c:dLbl>
            <c:dLbl>
              <c:idx val="7"/>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B78-4942-B137-CA720AAE086B}"/>
                </c:ext>
              </c:extLst>
            </c:dLbl>
            <c:dLbl>
              <c:idx val="8"/>
              <c:tx>
                <c:rich>
                  <a:bodyPr/>
                  <a:lstStyle/>
                  <a:p>
                    <a:r>
                      <a:t>139.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B78-4942-B137-CA720AAE086B}"/>
                </c:ext>
              </c:extLst>
            </c:dLbl>
            <c:dLbl>
              <c:idx val="9"/>
              <c:tx>
                <c:rich>
                  <a:bodyPr/>
                  <a:lstStyle/>
                  <a:p>
                    <a:r>
                      <a:t>3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B78-4942-B137-CA720AAE086B}"/>
                </c:ext>
              </c:extLst>
            </c:dLbl>
            <c:dLbl>
              <c:idx val="10"/>
              <c:tx>
                <c:rich>
                  <a:bodyPr/>
                  <a:lstStyle/>
                  <a:p>
                    <a:r>
                      <a:t>49.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B78-4942-B137-CA720AAE086B}"/>
                </c:ext>
              </c:extLst>
            </c:dLbl>
            <c:dLbl>
              <c:idx val="11"/>
              <c:tx>
                <c:rich>
                  <a:bodyPr/>
                  <a:lstStyle/>
                  <a:p>
                    <a:r>
                      <a:t>5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B78-4942-B137-CA720AAE086B}"/>
                </c:ext>
              </c:extLst>
            </c:dLbl>
            <c:dLbl>
              <c:idx val="12"/>
              <c:tx>
                <c:rich>
                  <a:bodyPr/>
                  <a:lstStyle/>
                  <a:p>
                    <a:r>
                      <a:t>100.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B78-4942-B137-CA720AAE086B}"/>
                </c:ext>
              </c:extLst>
            </c:dLbl>
            <c:dLbl>
              <c:idx val="13"/>
              <c:tx>
                <c:rich>
                  <a:bodyPr/>
                  <a:lstStyle/>
                  <a:p>
                    <a:r>
                      <a:t>28.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B78-4942-B137-CA720AAE086B}"/>
                </c:ext>
              </c:extLst>
            </c:dLbl>
            <c:dLbl>
              <c:idx val="14"/>
              <c:tx>
                <c:rich>
                  <a:bodyPr/>
                  <a:lstStyle/>
                  <a:p>
                    <a:r>
                      <a:t>126.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B78-4942-B137-CA720AAE086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VEUVE CLICQUOT RESERV CUVEE NB 1CT X 750ML</c:v>
                </c:pt>
                <c:pt idx="7">
                  <c:v>RUINART BRUT SECOND SKIN 1CT X 750ML</c:v>
                </c:pt>
                <c:pt idx="8">
                  <c:v>MG RUINART BRUT SECOND SKIN 1CT X 1500ML</c:v>
                </c:pt>
                <c:pt idx="9">
                  <c:v>1/2 RUINART BRUT (NUE) 1CT X 375ML</c:v>
                </c:pt>
                <c:pt idx="10">
                  <c:v>DEUTZ CLASSIC BRUT 1CT X 750ML</c:v>
                </c:pt>
                <c:pt idx="11">
                  <c:v>ROEDERER BRUT COLLECTION 245 1CT X 750ML</c:v>
                </c:pt>
                <c:pt idx="12">
                  <c:v>MG DEUTZ CLASSIC 1CT X 1500ML</c:v>
                </c:pt>
                <c:pt idx="13">
                  <c:v>1/2 DEUTZ CLASSIC BRUT 1CT X 375ML</c:v>
                </c:pt>
                <c:pt idx="14">
                  <c:v>MG ROEDERER BRUT COLLECT 244 1CT X 1500ML</c:v>
                </c:pt>
              </c:strCache>
            </c:strRef>
          </c:cat>
          <c:val>
            <c:numRef>
              <c:f>Sheet1!$B$2:$B$16</c:f>
              <c:numCache>
                <c:formatCode>General</c:formatCode>
                <c:ptCount val="15"/>
                <c:pt idx="0">
                  <c:v>21.89</c:v>
                </c:pt>
                <c:pt idx="1">
                  <c:v>36.950000000000003</c:v>
                </c:pt>
                <c:pt idx="2">
                  <c:v>45</c:v>
                </c:pt>
                <c:pt idx="3">
                  <c:v>22.25</c:v>
                </c:pt>
                <c:pt idx="4">
                  <c:v>46.31</c:v>
                </c:pt>
                <c:pt idx="5">
                  <c:v>57.8</c:v>
                </c:pt>
                <c:pt idx="6">
                  <c:v>51.88</c:v>
                </c:pt>
                <c:pt idx="7">
                  <c:v>62.03</c:v>
                </c:pt>
                <c:pt idx="8">
                  <c:v>139.83000000000001</c:v>
                </c:pt>
                <c:pt idx="9">
                  <c:v>35.799999999999997</c:v>
                </c:pt>
                <c:pt idx="10">
                  <c:v>49.95</c:v>
                </c:pt>
                <c:pt idx="11">
                  <c:v>58.7</c:v>
                </c:pt>
                <c:pt idx="12">
                  <c:v>100.41</c:v>
                </c:pt>
                <c:pt idx="13">
                  <c:v>28.13</c:v>
                </c:pt>
                <c:pt idx="14">
                  <c:v>126.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B26-4835-B1F1-31D11E71C1B9}"/>
                </c:ext>
              </c:extLst>
            </c:dLbl>
            <c:dLbl>
              <c:idx val="1"/>
              <c:tx>
                <c:rich>
                  <a:bodyPr/>
                  <a:lstStyle/>
                  <a:p>
                    <a:r>
                      <a:t>36.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B26-4835-B1F1-31D11E71C1B9}"/>
                </c:ext>
              </c:extLst>
            </c:dLbl>
            <c:dLbl>
              <c:idx val="2"/>
              <c:tx>
                <c:rich>
                  <a:bodyPr/>
                  <a:lstStyle/>
                  <a:p>
                    <a:r>
                      <a:t>45.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B26-4835-B1F1-31D11E71C1B9}"/>
                </c:ext>
              </c:extLst>
            </c:dLbl>
            <c:dLbl>
              <c:idx val="3"/>
              <c:tx>
                <c:rich>
                  <a:bodyPr/>
                  <a:lstStyle/>
                  <a:p>
                    <a:r>
                      <a:t>22.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B26-4835-B1F1-31D11E71C1B9}"/>
                </c:ext>
              </c:extLst>
            </c:dLbl>
            <c:dLbl>
              <c:idx val="4"/>
              <c:tx>
                <c:rich>
                  <a:bodyPr/>
                  <a:lstStyle/>
                  <a:p>
                    <a:r>
                      <a:t>46.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B26-4835-B1F1-31D11E71C1B9}"/>
                </c:ext>
              </c:extLst>
            </c:dLbl>
            <c:dLbl>
              <c:idx val="5"/>
              <c:tx>
                <c:rich>
                  <a:bodyPr/>
                  <a:lstStyle/>
                  <a:p>
                    <a:r>
                      <a:t>3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B26-4835-B1F1-31D11E71C1B9}"/>
                </c:ext>
              </c:extLst>
            </c:dLbl>
            <c:dLbl>
              <c:idx val="6"/>
              <c:tx>
                <c:rich>
                  <a:bodyPr/>
                  <a:lstStyle/>
                  <a:p>
                    <a:r>
                      <a:t>5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B26-4835-B1F1-31D11E71C1B9}"/>
                </c:ext>
              </c:extLst>
            </c:dLbl>
            <c:dLbl>
              <c:idx val="7"/>
              <c:tx>
                <c:rich>
                  <a:bodyPr/>
                  <a:lstStyle/>
                  <a:p>
                    <a:r>
                      <a:t>51.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B26-4835-B1F1-31D11E71C1B9}"/>
                </c:ext>
              </c:extLst>
            </c:dLbl>
            <c:dLbl>
              <c:idx val="8"/>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B26-4835-B1F1-31D11E71C1B9}"/>
                </c:ext>
              </c:extLst>
            </c:dLbl>
            <c:dLbl>
              <c:idx val="9"/>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B26-4835-B1F1-31D11E71C1B9}"/>
                </c:ext>
              </c:extLst>
            </c:dLbl>
            <c:dLbl>
              <c:idx val="10"/>
              <c:tx>
                <c:rich>
                  <a:bodyPr/>
                  <a:lstStyle/>
                  <a:p>
                    <a:r>
                      <a:t>35.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B26-4835-B1F1-31D11E71C1B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CH DE BLIGNY BRUT 1CT X 750ML</c:v>
                </c:pt>
                <c:pt idx="6">
                  <c:v>RUINART BRUT (NUE) 1CT X 750ML</c:v>
                </c:pt>
                <c:pt idx="7">
                  <c:v>VEUVE CLICQUOT RESERV CUVEE NB 1CT X 750ML</c:v>
                </c:pt>
                <c:pt idx="8">
                  <c:v>RUINART BRUT SECOND SKIN 1CT X 750ML</c:v>
                </c:pt>
                <c:pt idx="9">
                  <c:v>MG RUINART BRUT SECOND SKIN 1CT X 1500ML</c:v>
                </c:pt>
                <c:pt idx="10">
                  <c:v>1/2 RUINART BRUT (NUE) 1CT X 375ML</c:v>
                </c:pt>
              </c:strCache>
            </c:strRef>
          </c:cat>
          <c:val>
            <c:numRef>
              <c:f>Sheet1!$B$2:$B$12</c:f>
              <c:numCache>
                <c:formatCode>General</c:formatCode>
                <c:ptCount val="11"/>
                <c:pt idx="0">
                  <c:v>21.92</c:v>
                </c:pt>
                <c:pt idx="1">
                  <c:v>36.92</c:v>
                </c:pt>
                <c:pt idx="2">
                  <c:v>45.55</c:v>
                </c:pt>
                <c:pt idx="3">
                  <c:v>22.34</c:v>
                </c:pt>
                <c:pt idx="4">
                  <c:v>46.56</c:v>
                </c:pt>
                <c:pt idx="5">
                  <c:v>35.020000000000003</c:v>
                </c:pt>
                <c:pt idx="6">
                  <c:v>57.75</c:v>
                </c:pt>
                <c:pt idx="7">
                  <c:v>51.83</c:v>
                </c:pt>
                <c:pt idx="8">
                  <c:v>62.03</c:v>
                </c:pt>
                <c:pt idx="9">
                  <c:v>139.44999999999999</c:v>
                </c:pt>
                <c:pt idx="10">
                  <c:v>35.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0AC-4DB7-A99E-712849BF0489}"/>
                </c:ext>
              </c:extLst>
            </c:dLbl>
            <c:dLbl>
              <c:idx val="1"/>
              <c:tx>
                <c:rich>
                  <a:bodyPr/>
                  <a:lstStyle/>
                  <a:p>
                    <a:r>
                      <a:rPr lang="en-US"/>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0AC-4DB7-A99E-712849BF0489}"/>
                </c:ext>
              </c:extLst>
            </c:dLbl>
            <c:dLbl>
              <c:idx val="2"/>
              <c:tx>
                <c:rich>
                  <a:bodyPr/>
                  <a:lstStyle/>
                  <a:p>
                    <a:r>
                      <a:rPr lang="en-US"/>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0AC-4DB7-A99E-712849BF0489}"/>
                </c:ext>
              </c:extLst>
            </c:dLbl>
            <c:dLbl>
              <c:idx val="3"/>
              <c:tx>
                <c:rich>
                  <a:bodyPr/>
                  <a:lstStyle/>
                  <a:p>
                    <a:r>
                      <a:rPr lang="en-US"/>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0AC-4DB7-A99E-712849BF0489}"/>
                </c:ext>
              </c:extLst>
            </c:dLbl>
            <c:dLbl>
              <c:idx val="4"/>
              <c:tx>
                <c:rich>
                  <a:bodyPr/>
                  <a:lstStyle/>
                  <a:p>
                    <a:r>
                      <a:rPr lang="en-US"/>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0AC-4DB7-A99E-712849BF0489}"/>
                </c:ext>
              </c:extLst>
            </c:dLbl>
            <c:dLbl>
              <c:idx val="5"/>
              <c:tx>
                <c:rich>
                  <a:bodyPr/>
                  <a:lstStyle/>
                  <a:p>
                    <a:r>
                      <a:rPr lang="en-US"/>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0AC-4DB7-A99E-712849BF0489}"/>
                </c:ext>
              </c:extLst>
            </c:dLbl>
            <c:dLbl>
              <c:idx val="6"/>
              <c:tx>
                <c:rich>
                  <a:bodyPr/>
                  <a:lstStyle/>
                  <a:p>
                    <a:r>
                      <a:rPr lang="en-US"/>
                      <a:t>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0AC-4DB7-A99E-712849BF0489}"/>
                </c:ext>
              </c:extLst>
            </c:dLbl>
            <c:dLbl>
              <c:idx val="7"/>
              <c:tx>
                <c:rich>
                  <a:bodyPr/>
                  <a:lstStyle/>
                  <a:p>
                    <a:r>
                      <a:rPr lang="en-US"/>
                      <a:t>3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0AC-4DB7-A99E-712849BF0489}"/>
                </c:ext>
              </c:extLst>
            </c:dLbl>
            <c:dLbl>
              <c:idx val="8"/>
              <c:tx>
                <c:rich>
                  <a:bodyPr/>
                  <a:lstStyle/>
                  <a:p>
                    <a:r>
                      <a:rPr lang="en-US"/>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0AC-4DB7-A99E-712849BF0489}"/>
                </c:ext>
              </c:extLst>
            </c:dLbl>
            <c:dLbl>
              <c:idx val="9"/>
              <c:tx>
                <c:rich>
                  <a:bodyPr/>
                  <a:lstStyle/>
                  <a:p>
                    <a:r>
                      <a:rPr lang="en-US"/>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0AC-4DB7-A99E-712849BF0489}"/>
                </c:ext>
              </c:extLst>
            </c:dLbl>
            <c:dLbl>
              <c:idx val="10"/>
              <c:tx>
                <c:rich>
                  <a:bodyPr/>
                  <a:lstStyle/>
                  <a:p>
                    <a:r>
                      <a:rPr lang="en-US"/>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0AC-4DB7-A99E-712849BF0489}"/>
                </c:ext>
              </c:extLst>
            </c:dLbl>
            <c:dLbl>
              <c:idx val="11"/>
              <c:tx>
                <c:rich>
                  <a:bodyPr/>
                  <a:lstStyle/>
                  <a:p>
                    <a:r>
                      <a:rPr lang="en-US"/>
                      <a:t>85.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0AC-4DB7-A99E-712849BF0489}"/>
                </c:ext>
              </c:extLst>
            </c:dLbl>
            <c:dLbl>
              <c:idx val="12"/>
              <c:tx>
                <c:rich>
                  <a:bodyPr/>
                  <a:lstStyle/>
                  <a:p>
                    <a:r>
                      <a:rPr lang="en-US"/>
                      <a:t>7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0AC-4DB7-A99E-712849BF0489}"/>
                </c:ext>
              </c:extLst>
            </c:dLbl>
            <c:dLbl>
              <c:idx val="13"/>
              <c:tx>
                <c:rich>
                  <a:bodyPr/>
                  <a:lstStyle/>
                  <a:p>
                    <a:r>
                      <a:rPr lang="en-US"/>
                      <a:t>38.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0AC-4DB7-A99E-712849BF0489}"/>
                </c:ext>
              </c:extLst>
            </c:dLbl>
            <c:dLbl>
              <c:idx val="14"/>
              <c:tx>
                <c:rich>
                  <a:bodyPr/>
                  <a:lstStyle/>
                  <a:p>
                    <a:r>
                      <a:rPr lang="en-US"/>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0AC-4DB7-A99E-712849BF048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c:v>
                </c:pt>
                <c:pt idx="1">
                  <c:v>39.090000000000003</c:v>
                </c:pt>
                <c:pt idx="2">
                  <c:v>24.99</c:v>
                </c:pt>
                <c:pt idx="3">
                  <c:v>37.1</c:v>
                </c:pt>
                <c:pt idx="4">
                  <c:v>41.37</c:v>
                </c:pt>
                <c:pt idx="5">
                  <c:v>45.58</c:v>
                </c:pt>
                <c:pt idx="6">
                  <c:v>22.29</c:v>
                </c:pt>
                <c:pt idx="7">
                  <c:v>36.74</c:v>
                </c:pt>
                <c:pt idx="8">
                  <c:v>45.64</c:v>
                </c:pt>
                <c:pt idx="9">
                  <c:v>24.03</c:v>
                </c:pt>
                <c:pt idx="10">
                  <c:v>23.96</c:v>
                </c:pt>
                <c:pt idx="11">
                  <c:v>85.88</c:v>
                </c:pt>
                <c:pt idx="12">
                  <c:v>76.05</c:v>
                </c:pt>
                <c:pt idx="13">
                  <c:v>38.03</c:v>
                </c:pt>
                <c:pt idx="14">
                  <c:v>4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5E3-4804-B652-3956BD78342E}"/>
                </c:ext>
              </c:extLst>
            </c:dLbl>
            <c:dLbl>
              <c:idx val="1"/>
              <c:tx>
                <c:rich>
                  <a:bodyPr/>
                  <a:lstStyle/>
                  <a:p>
                    <a:r>
                      <a:rPr lang="en-US"/>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5E3-4804-B652-3956BD78342E}"/>
                </c:ext>
              </c:extLst>
            </c:dLbl>
            <c:dLbl>
              <c:idx val="2"/>
              <c:tx>
                <c:rich>
                  <a:bodyPr/>
                  <a:lstStyle/>
                  <a:p>
                    <a:r>
                      <a:rPr lang="en-US"/>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5E3-4804-B652-3956BD78342E}"/>
                </c:ext>
              </c:extLst>
            </c:dLbl>
            <c:dLbl>
              <c:idx val="3"/>
              <c:tx>
                <c:rich>
                  <a:bodyPr/>
                  <a:lstStyle/>
                  <a:p>
                    <a:r>
                      <a:rPr lang="en-US"/>
                      <a:t>3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5E3-4804-B652-3956BD78342E}"/>
                </c:ext>
              </c:extLst>
            </c:dLbl>
            <c:dLbl>
              <c:idx val="4"/>
              <c:tx>
                <c:rich>
                  <a:bodyPr/>
                  <a:lstStyle/>
                  <a:p>
                    <a:r>
                      <a:rPr lang="en-US"/>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5E3-4804-B652-3956BD78342E}"/>
                </c:ext>
              </c:extLst>
            </c:dLbl>
            <c:dLbl>
              <c:idx val="5"/>
              <c:tx>
                <c:rich>
                  <a:bodyPr/>
                  <a:lstStyle/>
                  <a:p>
                    <a:r>
                      <a:rPr lang="en-US"/>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5E3-4804-B652-3956BD78342E}"/>
                </c:ext>
              </c:extLst>
            </c:dLbl>
            <c:dLbl>
              <c:idx val="6"/>
              <c:tx>
                <c:rich>
                  <a:bodyPr/>
                  <a:lstStyle/>
                  <a:p>
                    <a:r>
                      <a:rPr lang="en-US"/>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5E3-4804-B652-3956BD78342E}"/>
                </c:ext>
              </c:extLst>
            </c:dLbl>
            <c:dLbl>
              <c:idx val="7"/>
              <c:tx>
                <c:rich>
                  <a:bodyPr/>
                  <a:lstStyle/>
                  <a:p>
                    <a:r>
                      <a:rPr lang="en-US"/>
                      <a:t>4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5E3-4804-B652-3956BD78342E}"/>
                </c:ext>
              </c:extLst>
            </c:dLbl>
            <c:dLbl>
              <c:idx val="8"/>
              <c:tx>
                <c:rich>
                  <a:bodyPr/>
                  <a:lstStyle/>
                  <a:p>
                    <a:r>
                      <a:rPr lang="en-US"/>
                      <a:t>8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5E3-4804-B652-3956BD78342E}"/>
                </c:ext>
              </c:extLst>
            </c:dLbl>
            <c:dLbl>
              <c:idx val="9"/>
              <c:tx>
                <c:rich>
                  <a:bodyPr/>
                  <a:lstStyle/>
                  <a:p>
                    <a:r>
                      <a:rPr lang="en-US"/>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5E3-4804-B652-3956BD78342E}"/>
                </c:ext>
              </c:extLst>
            </c:dLbl>
            <c:dLbl>
              <c:idx val="10"/>
              <c:tx>
                <c:rich>
                  <a:bodyPr/>
                  <a:lstStyle/>
                  <a:p>
                    <a:r>
                      <a:rPr lang="en-US"/>
                      <a:t>24.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5E3-4804-B652-3956BD78342E}"/>
                </c:ext>
              </c:extLst>
            </c:dLbl>
            <c:dLbl>
              <c:idx val="11"/>
              <c:tx>
                <c:rich>
                  <a:bodyPr/>
                  <a:lstStyle/>
                  <a:p>
                    <a:r>
                      <a:rPr lang="en-US"/>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5E3-4804-B652-3956BD78342E}"/>
                </c:ext>
              </c:extLst>
            </c:dLbl>
            <c:dLbl>
              <c:idx val="12"/>
              <c:tx>
                <c:rich>
                  <a:bodyPr/>
                  <a:lstStyle/>
                  <a:p>
                    <a:r>
                      <a:rPr lang="en-US"/>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5E3-4804-B652-3956BD78342E}"/>
                </c:ext>
              </c:extLst>
            </c:dLbl>
            <c:dLbl>
              <c:idx val="13"/>
              <c:tx>
                <c:rich>
                  <a:bodyPr/>
                  <a:lstStyle/>
                  <a:p>
                    <a:r>
                      <a:rPr lang="en-US"/>
                      <a:t>7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5E3-4804-B652-3956BD78342E}"/>
                </c:ext>
              </c:extLst>
            </c:dLbl>
            <c:dLbl>
              <c:idx val="14"/>
              <c:tx>
                <c:rich>
                  <a:bodyPr/>
                  <a:lstStyle/>
                  <a:p>
                    <a:r>
                      <a:rPr lang="en-US"/>
                      <a:t>3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5E3-4804-B652-3956BD78342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020000000000003</c:v>
                </c:pt>
                <c:pt idx="2">
                  <c:v>24.99</c:v>
                </c:pt>
                <c:pt idx="3">
                  <c:v>36.94</c:v>
                </c:pt>
                <c:pt idx="4">
                  <c:v>22.28</c:v>
                </c:pt>
                <c:pt idx="5">
                  <c:v>45.15</c:v>
                </c:pt>
                <c:pt idx="6">
                  <c:v>46.21</c:v>
                </c:pt>
                <c:pt idx="7">
                  <c:v>41.52</c:v>
                </c:pt>
                <c:pt idx="8">
                  <c:v>85.57</c:v>
                </c:pt>
                <c:pt idx="9">
                  <c:v>23.99</c:v>
                </c:pt>
                <c:pt idx="10">
                  <c:v>24.01</c:v>
                </c:pt>
                <c:pt idx="11">
                  <c:v>37.119999999999997</c:v>
                </c:pt>
                <c:pt idx="12">
                  <c:v>37.29</c:v>
                </c:pt>
                <c:pt idx="13">
                  <c:v>76.41</c:v>
                </c:pt>
                <c:pt idx="14">
                  <c:v>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E26-4FB9-B9A0-D280C9939EF3}"/>
                </c:ext>
              </c:extLst>
            </c:dLbl>
            <c:dLbl>
              <c:idx val="1"/>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E26-4FB9-B9A0-D280C9939EF3}"/>
                </c:ext>
              </c:extLst>
            </c:dLbl>
            <c:dLbl>
              <c:idx val="2"/>
              <c:tx>
                <c:rich>
                  <a:bodyPr/>
                  <a:lstStyle/>
                  <a:p>
                    <a:r>
                      <a:t>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E26-4FB9-B9A0-D280C9939EF3}"/>
                </c:ext>
              </c:extLst>
            </c:dLbl>
            <c:dLbl>
              <c:idx val="3"/>
              <c:tx>
                <c:rich>
                  <a:bodyPr/>
                  <a:lstStyle/>
                  <a:p>
                    <a:r>
                      <a:t>22.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E26-4FB9-B9A0-D280C9939EF3}"/>
                </c:ext>
              </c:extLst>
            </c:dLbl>
            <c:dLbl>
              <c:idx val="4"/>
              <c:tx>
                <c:rich>
                  <a:bodyPr/>
                  <a:lstStyle/>
                  <a:p>
                    <a:r>
                      <a:t>46.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E26-4FB9-B9A0-D280C9939EF3}"/>
                </c:ext>
              </c:extLst>
            </c:dLbl>
            <c:dLbl>
              <c:idx val="5"/>
              <c:tx>
                <c:rich>
                  <a:bodyPr/>
                  <a:lstStyle/>
                  <a:p>
                    <a:r>
                      <a:t>35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E26-4FB9-B9A0-D280C9939EF3}"/>
                </c:ext>
              </c:extLst>
            </c:dLbl>
            <c:dLbl>
              <c:idx val="6"/>
              <c:tx>
                <c:rich>
                  <a:bodyPr/>
                  <a:lstStyle/>
                  <a:p>
                    <a:r>
                      <a:t>5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E26-4FB9-B9A0-D280C9939EF3}"/>
                </c:ext>
              </c:extLst>
            </c:dLbl>
            <c:dLbl>
              <c:idx val="7"/>
              <c:tx>
                <c:rich>
                  <a:bodyPr/>
                  <a:lstStyle/>
                  <a:p>
                    <a:r>
                      <a:t>61.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E26-4FB9-B9A0-D280C9939EF3}"/>
                </c:ext>
              </c:extLst>
            </c:dLbl>
            <c:dLbl>
              <c:idx val="8"/>
              <c:tx>
                <c:rich>
                  <a:bodyPr/>
                  <a:lstStyle/>
                  <a:p>
                    <a:r>
                      <a:t>13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E26-4FB9-B9A0-D280C9939EF3}"/>
                </c:ext>
              </c:extLst>
            </c:dLbl>
            <c:dLbl>
              <c:idx val="9"/>
              <c:tx>
                <c:rich>
                  <a:bodyPr/>
                  <a:lstStyle/>
                  <a:p>
                    <a:r>
                      <a:t>51.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E26-4FB9-B9A0-D280C9939EF3}"/>
                </c:ext>
              </c:extLst>
            </c:dLbl>
            <c:dLbl>
              <c:idx val="10"/>
              <c:tx>
                <c:rich>
                  <a:bodyPr/>
                  <a:lstStyle/>
                  <a:p>
                    <a:r>
                      <a:t>52.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E26-4FB9-B9A0-D280C9939EF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ARMAND DE BRIGNAC 1CT X 750ML</c:v>
                </c:pt>
                <c:pt idx="6">
                  <c:v>RUINART BRUT (NUE) 1CT X 750ML</c:v>
                </c:pt>
                <c:pt idx="7">
                  <c:v>RUINART BRUT SECOND SKIN 1CT X 750ML</c:v>
                </c:pt>
                <c:pt idx="8">
                  <c:v>MG RUINART BRUT SECOND SKIN 1CT X 1500ML</c:v>
                </c:pt>
                <c:pt idx="9">
                  <c:v>VEUVE CLICQUOT RESERV CUVEE NB 1CT X 750ML</c:v>
                </c:pt>
                <c:pt idx="10">
                  <c:v>VEUVE CLICQUOT RES CUVEE ETUI 1CT X 750ML</c:v>
                </c:pt>
              </c:strCache>
            </c:strRef>
          </c:cat>
          <c:val>
            <c:numRef>
              <c:f>Sheet1!$B$2:$B$12</c:f>
              <c:numCache>
                <c:formatCode>General</c:formatCode>
                <c:ptCount val="11"/>
                <c:pt idx="0">
                  <c:v>21.93</c:v>
                </c:pt>
                <c:pt idx="1">
                  <c:v>36.979999999999997</c:v>
                </c:pt>
                <c:pt idx="2">
                  <c:v>45.8</c:v>
                </c:pt>
                <c:pt idx="3">
                  <c:v>22.31</c:v>
                </c:pt>
                <c:pt idx="4">
                  <c:v>46.69</c:v>
                </c:pt>
                <c:pt idx="5">
                  <c:v>350</c:v>
                </c:pt>
                <c:pt idx="6">
                  <c:v>57.84</c:v>
                </c:pt>
                <c:pt idx="7">
                  <c:v>61.47</c:v>
                </c:pt>
                <c:pt idx="8">
                  <c:v>137.4</c:v>
                </c:pt>
                <c:pt idx="9">
                  <c:v>51.19</c:v>
                </c:pt>
                <c:pt idx="10">
                  <c:v>52.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4C-4EF6-9308-3F56AB45283E}"/>
                </c:ext>
              </c:extLst>
            </c:dLbl>
            <c:dLbl>
              <c:idx val="1"/>
              <c:tx>
                <c:rich>
                  <a:bodyPr/>
                  <a:lstStyle/>
                  <a:p>
                    <a:r>
                      <a:t>35.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4C-4EF6-9308-3F56AB45283E}"/>
                </c:ext>
              </c:extLst>
            </c:dLbl>
            <c:dLbl>
              <c:idx val="2"/>
              <c:tx>
                <c:rich>
                  <a:bodyPr/>
                  <a:lstStyle/>
                  <a:p>
                    <a:r>
                      <a:t>31.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74C-4EF6-9308-3F56AB45283E}"/>
                </c:ext>
              </c:extLst>
            </c:dLbl>
            <c:dLbl>
              <c:idx val="3"/>
              <c:tx>
                <c:rich>
                  <a:bodyPr/>
                  <a:lstStyle/>
                  <a:p>
                    <a:r>
                      <a:t>32.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74C-4EF6-9308-3F56AB45283E}"/>
                </c:ext>
              </c:extLst>
            </c:dLbl>
            <c:dLbl>
              <c:idx val="4"/>
              <c:tx>
                <c:rich>
                  <a:bodyPr/>
                  <a:lstStyle/>
                  <a:p>
                    <a:r>
                      <a:t>33.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74C-4EF6-9308-3F56AB45283E}"/>
                </c:ext>
              </c:extLst>
            </c:dLbl>
            <c:dLbl>
              <c:idx val="5"/>
              <c:tx>
                <c:rich>
                  <a:bodyPr/>
                  <a:lstStyle/>
                  <a:p>
                    <a:r>
                      <a:t>3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74C-4EF6-9308-3F56AB45283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8.03</c:v>
                </c:pt>
                <c:pt idx="1">
                  <c:v>35.979999999999997</c:v>
                </c:pt>
                <c:pt idx="2">
                  <c:v>31.99</c:v>
                </c:pt>
                <c:pt idx="3">
                  <c:v>32.979999999999997</c:v>
                </c:pt>
                <c:pt idx="4">
                  <c:v>33.32</c:v>
                </c:pt>
                <c:pt idx="5">
                  <c:v>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727-4BED-BEEA-FD07E76A499A}"/>
                </c:ext>
              </c:extLst>
            </c:dLbl>
            <c:dLbl>
              <c:idx val="1"/>
              <c:tx>
                <c:rich>
                  <a:bodyPr/>
                  <a:lstStyle/>
                  <a:p>
                    <a:r>
                      <a:t>3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727-4BED-BEEA-FD07E76A499A}"/>
                </c:ext>
              </c:extLst>
            </c:dLbl>
            <c:dLbl>
              <c:idx val="2"/>
              <c:tx>
                <c:rich>
                  <a:bodyPr/>
                  <a:lstStyle/>
                  <a:p>
                    <a:r>
                      <a:t>33.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727-4BED-BEEA-FD07E76A499A}"/>
                </c:ext>
              </c:extLst>
            </c:dLbl>
            <c:dLbl>
              <c:idx val="3"/>
              <c:tx>
                <c:rich>
                  <a:bodyPr/>
                  <a:lstStyle/>
                  <a:p>
                    <a:r>
                      <a:t>33.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727-4BED-BEEA-FD07E76A499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8.92</c:v>
                </c:pt>
                <c:pt idx="1">
                  <c:v>32</c:v>
                </c:pt>
                <c:pt idx="2">
                  <c:v>33.11</c:v>
                </c:pt>
                <c:pt idx="3">
                  <c:v>33.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97A-4DF7-A634-991C28A3762F}"/>
                </c:ext>
              </c:extLst>
            </c:dLbl>
            <c:dLbl>
              <c:idx val="1"/>
              <c:tx>
                <c:rich>
                  <a:bodyPr/>
                  <a:lstStyle/>
                  <a:p>
                    <a:r>
                      <a:t>3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7A-4DF7-A634-991C28A3762F}"/>
                </c:ext>
              </c:extLst>
            </c:dLbl>
            <c:dLbl>
              <c:idx val="2"/>
              <c:tx>
                <c:rich>
                  <a:bodyPr/>
                  <a:lstStyle/>
                  <a:p>
                    <a:r>
                      <a:t>33.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97A-4DF7-A634-991C28A3762F}"/>
                </c:ext>
              </c:extLst>
            </c:dLbl>
            <c:dLbl>
              <c:idx val="3"/>
              <c:tx>
                <c:rich>
                  <a:bodyPr/>
                  <a:lstStyle/>
                  <a:p>
                    <a:r>
                      <a:t>33.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7A-4DF7-A634-991C28A3762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9.96</c:v>
                </c:pt>
                <c:pt idx="1">
                  <c:v>31.89</c:v>
                </c:pt>
                <c:pt idx="2">
                  <c:v>33.14</c:v>
                </c:pt>
                <c:pt idx="3">
                  <c:v>33.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4C-4905-A567-18B46759CC14}"/>
                </c:ext>
              </c:extLst>
            </c:dLbl>
            <c:dLbl>
              <c:idx val="1"/>
              <c:tx>
                <c:rich>
                  <a:bodyPr/>
                  <a:lstStyle/>
                  <a:p>
                    <a:r>
                      <a:t>38.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4C-4905-A567-18B46759CC14}"/>
                </c:ext>
              </c:extLst>
            </c:dLbl>
            <c:dLbl>
              <c:idx val="2"/>
              <c:tx>
                <c:rich>
                  <a:bodyPr/>
                  <a:lstStyle/>
                  <a:p>
                    <a:r>
                      <a:t>31.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04C-4905-A567-18B46759CC14}"/>
                </c:ext>
              </c:extLst>
            </c:dLbl>
            <c:dLbl>
              <c:idx val="3"/>
              <c:tx>
                <c:rich>
                  <a:bodyPr/>
                  <a:lstStyle/>
                  <a:p>
                    <a:r>
                      <a:t>3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4C-4905-A567-18B46759CC14}"/>
                </c:ext>
              </c:extLst>
            </c:dLbl>
            <c:dLbl>
              <c:idx val="4"/>
              <c:tx>
                <c:rich>
                  <a:bodyPr/>
                  <a:lstStyle/>
                  <a:p>
                    <a:r>
                      <a:t>33.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04C-4905-A567-18B46759CC14}"/>
                </c:ext>
              </c:extLst>
            </c:dLbl>
            <c:dLbl>
              <c:idx val="5"/>
              <c:tx>
                <c:rich>
                  <a:bodyPr/>
                  <a:lstStyle/>
                  <a:p>
                    <a:r>
                      <a:t>3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4C-4905-A567-18B46759CC1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6.11</c:v>
                </c:pt>
                <c:pt idx="1">
                  <c:v>38.11</c:v>
                </c:pt>
                <c:pt idx="2">
                  <c:v>31.98</c:v>
                </c:pt>
                <c:pt idx="3">
                  <c:v>32.93</c:v>
                </c:pt>
                <c:pt idx="4">
                  <c:v>33.19</c:v>
                </c:pt>
                <c:pt idx="5">
                  <c:v>3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3AE-4022-887C-70B58E89D0C0}"/>
                </c:ext>
              </c:extLst>
            </c:dLbl>
            <c:dLbl>
              <c:idx val="1"/>
              <c:tx>
                <c:rich>
                  <a:bodyPr/>
                  <a:lstStyle/>
                  <a:p>
                    <a:r>
                      <a:t>39.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3AE-4022-887C-70B58E89D0C0}"/>
                </c:ext>
              </c:extLst>
            </c:dLbl>
            <c:dLbl>
              <c:idx val="2"/>
              <c:tx>
                <c:rich>
                  <a:bodyPr/>
                  <a:lstStyle/>
                  <a:p>
                    <a:r>
                      <a:t>32.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AE-4022-887C-70B58E89D0C0}"/>
                </c:ext>
              </c:extLst>
            </c:dLbl>
            <c:dLbl>
              <c:idx val="3"/>
              <c:tx>
                <c:rich>
                  <a:bodyPr/>
                  <a:lstStyle/>
                  <a:p>
                    <a:r>
                      <a:t>32.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AE-4022-887C-70B58E89D0C0}"/>
                </c:ext>
              </c:extLst>
            </c:dLbl>
            <c:dLbl>
              <c:idx val="4"/>
              <c:tx>
                <c:rich>
                  <a:bodyPr/>
                  <a:lstStyle/>
                  <a:p>
                    <a:r>
                      <a:t>33.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3AE-4022-887C-70B58E89D0C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strCache>
            </c:strRef>
          </c:cat>
          <c:val>
            <c:numRef>
              <c:f>Sheet1!$B$2:$B$6</c:f>
              <c:numCache>
                <c:formatCode>General</c:formatCode>
                <c:ptCount val="5"/>
                <c:pt idx="0">
                  <c:v>35.53</c:v>
                </c:pt>
                <c:pt idx="1">
                  <c:v>39.35</c:v>
                </c:pt>
                <c:pt idx="2">
                  <c:v>32.04</c:v>
                </c:pt>
                <c:pt idx="3">
                  <c:v>32.89</c:v>
                </c:pt>
                <c:pt idx="4">
                  <c:v>33.3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333-4031-BE02-52C750505A19}"/>
                </c:ext>
              </c:extLst>
            </c:dLbl>
            <c:dLbl>
              <c:idx val="1"/>
              <c:tx>
                <c:rich>
                  <a:bodyPr/>
                  <a:lstStyle/>
                  <a:p>
                    <a:r>
                      <a:t>3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333-4031-BE02-52C750505A19}"/>
                </c:ext>
              </c:extLst>
            </c:dLbl>
            <c:dLbl>
              <c:idx val="2"/>
              <c:tx>
                <c:rich>
                  <a:bodyPr/>
                  <a:lstStyle/>
                  <a:p>
                    <a:r>
                      <a:t>33.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333-4031-BE02-52C750505A19}"/>
                </c:ext>
              </c:extLst>
            </c:dLbl>
            <c:dLbl>
              <c:idx val="3"/>
              <c:tx>
                <c:rich>
                  <a:bodyPr/>
                  <a:lstStyle/>
                  <a:p>
                    <a:r>
                      <a:t>33.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333-4031-BE02-52C750505A1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7.69</c:v>
                </c:pt>
                <c:pt idx="1">
                  <c:v>31.87</c:v>
                </c:pt>
                <c:pt idx="2">
                  <c:v>33.06</c:v>
                </c:pt>
                <c:pt idx="3">
                  <c:v>33.47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7ED-4852-8FF7-563B8255A38E}"/>
                </c:ext>
              </c:extLst>
            </c:dLbl>
            <c:dLbl>
              <c:idx val="1"/>
              <c:tx>
                <c:rich>
                  <a:bodyPr/>
                  <a:lstStyle/>
                  <a:p>
                    <a:r>
                      <a:t>32.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7ED-4852-8FF7-563B8255A38E}"/>
                </c:ext>
              </c:extLst>
            </c:dLbl>
            <c:dLbl>
              <c:idx val="2"/>
              <c:tx>
                <c:rich>
                  <a:bodyPr/>
                  <a:lstStyle/>
                  <a:p>
                    <a:r>
                      <a:t>3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7ED-4852-8FF7-563B8255A38E}"/>
                </c:ext>
              </c:extLst>
            </c:dLbl>
            <c:dLbl>
              <c:idx val="3"/>
              <c:tx>
                <c:rich>
                  <a:bodyPr/>
                  <a:lstStyle/>
                  <a:p>
                    <a:r>
                      <a:t>32.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7ED-4852-8FF7-563B8255A38E}"/>
                </c:ext>
              </c:extLst>
            </c:dLbl>
            <c:dLbl>
              <c:idx val="4"/>
              <c:tx>
                <c:rich>
                  <a:bodyPr/>
                  <a:lstStyle/>
                  <a:p>
                    <a:r>
                      <a:t>38.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7ED-4852-8FF7-563B8255A38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MALARD PREMIER CRU BRUT 1CT X 750ML</c:v>
                </c:pt>
                <c:pt idx="2">
                  <c:v>GEORGES VESSELLE GRD CRU BRUT 1CT X 750ML</c:v>
                </c:pt>
                <c:pt idx="3">
                  <c:v>LOUIS MARTIN BRUT PREMIER CRU 1CT X 750ML</c:v>
                </c:pt>
                <c:pt idx="4">
                  <c:v>LOUIS MARTIN BRUT GRAND CRU 1CT X 750ML</c:v>
                </c:pt>
              </c:strCache>
            </c:strRef>
          </c:cat>
          <c:val>
            <c:numRef>
              <c:f>Sheet1!$B$2:$B$6</c:f>
              <c:numCache>
                <c:formatCode>General</c:formatCode>
                <c:ptCount val="5"/>
                <c:pt idx="0">
                  <c:v>35.979999999999997</c:v>
                </c:pt>
                <c:pt idx="1">
                  <c:v>32.049999999999997</c:v>
                </c:pt>
                <c:pt idx="2">
                  <c:v>32.880000000000003</c:v>
                </c:pt>
                <c:pt idx="3">
                  <c:v>32.909999999999997</c:v>
                </c:pt>
                <c:pt idx="4">
                  <c:v>3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B02-4547-BA67-CB1EBEDBB7E4}"/>
                </c:ext>
              </c:extLst>
            </c:dLbl>
            <c:dLbl>
              <c:idx val="1"/>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B02-4547-BA67-CB1EBEDBB7E4}"/>
                </c:ext>
              </c:extLst>
            </c:dLbl>
            <c:dLbl>
              <c:idx val="2"/>
              <c:tx>
                <c:rich>
                  <a:bodyPr/>
                  <a:lstStyle/>
                  <a:p>
                    <a:r>
                      <a:t>24.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B02-4547-BA67-CB1EBEDBB7E4}"/>
                </c:ext>
              </c:extLst>
            </c:dLbl>
            <c:dLbl>
              <c:idx val="3"/>
              <c:tx>
                <c:rich>
                  <a:bodyPr/>
                  <a:lstStyle/>
                  <a:p>
                    <a:r>
                      <a:t>4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B02-4547-BA67-CB1EBEDBB7E4}"/>
                </c:ext>
              </c:extLst>
            </c:dLbl>
            <c:dLbl>
              <c:idx val="4"/>
              <c:tx>
                <c:rich>
                  <a:bodyPr/>
                  <a:lstStyle/>
                  <a:p>
                    <a:r>
                      <a:t>41.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B02-4547-BA67-CB1EBEDBB7E4}"/>
                </c:ext>
              </c:extLst>
            </c:dLbl>
            <c:dLbl>
              <c:idx val="5"/>
              <c:tx>
                <c:rich>
                  <a:bodyPr/>
                  <a:lstStyle/>
                  <a:p>
                    <a:r>
                      <a:t>90.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B02-4547-BA67-CB1EBEDBB7E4}"/>
                </c:ext>
              </c:extLst>
            </c:dLbl>
            <c:dLbl>
              <c:idx val="6"/>
              <c:tx>
                <c:rich>
                  <a:bodyPr/>
                  <a:lstStyle/>
                  <a:p>
                    <a:r>
                      <a:t>95.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B02-4547-BA67-CB1EBEDBB7E4}"/>
                </c:ext>
              </c:extLst>
            </c:dLbl>
            <c:dLbl>
              <c:idx val="7"/>
              <c:tx>
                <c:rich>
                  <a:bodyPr/>
                  <a:lstStyle/>
                  <a:p>
                    <a:r>
                      <a:t>22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B02-4547-BA67-CB1EBEDBB7E4}"/>
                </c:ext>
              </c:extLst>
            </c:dLbl>
            <c:dLbl>
              <c:idx val="8"/>
              <c:tx>
                <c:rich>
                  <a:bodyPr/>
                  <a:lstStyle/>
                  <a:p>
                    <a:r>
                      <a:t>629.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B02-4547-BA67-CB1EBEDBB7E4}"/>
                </c:ext>
              </c:extLst>
            </c:dLbl>
            <c:dLbl>
              <c:idx val="9"/>
              <c:tx>
                <c:rich>
                  <a:bodyPr/>
                  <a:lstStyle/>
                  <a:p>
                    <a:r>
                      <a:t>54.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B02-4547-BA67-CB1EBEDBB7E4}"/>
                </c:ext>
              </c:extLst>
            </c:dLbl>
            <c:dLbl>
              <c:idx val="10"/>
              <c:tx>
                <c:rich>
                  <a:bodyPr/>
                  <a:lstStyle/>
                  <a:p>
                    <a:r>
                      <a:t>6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B02-4547-BA67-CB1EBEDBB7E4}"/>
                </c:ext>
              </c:extLst>
            </c:dLbl>
            <c:dLbl>
              <c:idx val="11"/>
              <c:tx>
                <c:rich>
                  <a:bodyPr/>
                  <a:lstStyle/>
                  <a:p>
                    <a:r>
                      <a:t>620.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02-4547-BA67-CB1EBEDBB7E4}"/>
                </c:ext>
              </c:extLst>
            </c:dLbl>
            <c:dLbl>
              <c:idx val="12"/>
              <c:tx>
                <c:rich>
                  <a:bodyPr/>
                  <a:lstStyle/>
                  <a:p>
                    <a:r>
                      <a:t>35.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B02-4547-BA67-CB1EBEDBB7E4}"/>
                </c:ext>
              </c:extLst>
            </c:dLbl>
            <c:dLbl>
              <c:idx val="13"/>
              <c:tx>
                <c:rich>
                  <a:bodyPr/>
                  <a:lstStyle/>
                  <a:p>
                    <a:r>
                      <a:t>224.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B02-4547-BA67-CB1EBEDBB7E4}"/>
                </c:ext>
              </c:extLst>
            </c:dLbl>
            <c:dLbl>
              <c:idx val="14"/>
              <c:tx>
                <c:rich>
                  <a:bodyPr/>
                  <a:lstStyle/>
                  <a:p>
                    <a:r>
                      <a:t>145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B02-4547-BA67-CB1EBEDBB7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RUINART ROSE SECOND SKIN 1CT X 750ML</c:v>
                </c:pt>
                <c:pt idx="7">
                  <c:v>MG RUINART ROSE SECOND SKIN 1CT X 1500ML</c:v>
                </c:pt>
                <c:pt idx="8">
                  <c:v>DOM PERIGNON ROSE 2009 1CT X 750ML</c:v>
                </c:pt>
                <c:pt idx="9">
                  <c:v>1/2 RUINART ROSE (NUE) 1CT X 375ML</c:v>
                </c:pt>
                <c:pt idx="10">
                  <c:v>DEUTZ ROSE 1CT X 750ML</c:v>
                </c:pt>
                <c:pt idx="11">
                  <c:v>ROEDERER CRISTAL ROSE 2014 1CT X 750ML</c:v>
                </c:pt>
                <c:pt idx="12">
                  <c:v>1/2 DEUTZ ROSE 1CT X 375ML</c:v>
                </c:pt>
                <c:pt idx="13">
                  <c:v>DEUTZ "AMOUR DEUTZ" ROSE 2009 1CT X 750ML</c:v>
                </c:pt>
                <c:pt idx="14">
                  <c:v>MG ROEDERER CRISTAL ROSE 2013 1CT X 1500ML</c:v>
                </c:pt>
              </c:strCache>
            </c:strRef>
          </c:cat>
          <c:val>
            <c:numRef>
              <c:f>Sheet1!$B$2:$B$16</c:f>
              <c:numCache>
                <c:formatCode>General</c:formatCode>
                <c:ptCount val="15"/>
                <c:pt idx="0">
                  <c:v>24.99</c:v>
                </c:pt>
                <c:pt idx="1">
                  <c:v>41.37</c:v>
                </c:pt>
                <c:pt idx="2">
                  <c:v>24.03</c:v>
                </c:pt>
                <c:pt idx="3">
                  <c:v>42.42</c:v>
                </c:pt>
                <c:pt idx="4">
                  <c:v>41.46</c:v>
                </c:pt>
                <c:pt idx="5">
                  <c:v>90.54</c:v>
                </c:pt>
                <c:pt idx="6">
                  <c:v>95.96</c:v>
                </c:pt>
                <c:pt idx="7">
                  <c:v>220.8</c:v>
                </c:pt>
                <c:pt idx="8">
                  <c:v>629.54</c:v>
                </c:pt>
                <c:pt idx="9">
                  <c:v>54.41</c:v>
                </c:pt>
                <c:pt idx="10">
                  <c:v>62.42</c:v>
                </c:pt>
                <c:pt idx="11">
                  <c:v>620.66999999999996</c:v>
                </c:pt>
                <c:pt idx="12">
                  <c:v>35.07</c:v>
                </c:pt>
                <c:pt idx="13">
                  <c:v>224.25</c:v>
                </c:pt>
                <c:pt idx="14">
                  <c:v>14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1A1-4D11-8408-D7BCE32431F9}"/>
                </c:ext>
              </c:extLst>
            </c:dLbl>
            <c:dLbl>
              <c:idx val="1"/>
              <c:tx>
                <c:rich>
                  <a:bodyPr/>
                  <a:lstStyle/>
                  <a:p>
                    <a:r>
                      <a:t>41.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1A1-4D11-8408-D7BCE32431F9}"/>
                </c:ext>
              </c:extLst>
            </c:dLbl>
            <c:dLbl>
              <c:idx val="2"/>
              <c:tx>
                <c:rich>
                  <a:bodyPr/>
                  <a:lstStyle/>
                  <a:p>
                    <a:r>
                      <a:t>24.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1A1-4D11-8408-D7BCE32431F9}"/>
                </c:ext>
              </c:extLst>
            </c:dLbl>
            <c:dLbl>
              <c:idx val="3"/>
              <c:tx>
                <c:rich>
                  <a:bodyPr/>
                  <a:lstStyle/>
                  <a:p>
                    <a:r>
                      <a:t>4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1A1-4D11-8408-D7BCE32431F9}"/>
                </c:ext>
              </c:extLst>
            </c:dLbl>
            <c:dLbl>
              <c:idx val="4"/>
              <c:tx>
                <c:rich>
                  <a:bodyPr/>
                  <a:lstStyle/>
                  <a:p>
                    <a:r>
                      <a:t>41.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1A1-4D11-8408-D7BCE32431F9}"/>
                </c:ext>
              </c:extLst>
            </c:dLbl>
            <c:dLbl>
              <c:idx val="5"/>
              <c:tx>
                <c:rich>
                  <a:bodyPr/>
                  <a:lstStyle/>
                  <a:p>
                    <a:r>
                      <a:t>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1A1-4D11-8408-D7BCE32431F9}"/>
                </c:ext>
              </c:extLst>
            </c:dLbl>
            <c:dLbl>
              <c:idx val="6"/>
              <c:tx>
                <c:rich>
                  <a:bodyPr/>
                  <a:lstStyle/>
                  <a:p>
                    <a:r>
                      <a:t>95.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1A1-4D11-8408-D7BCE32431F9}"/>
                </c:ext>
              </c:extLst>
            </c:dLbl>
            <c:dLbl>
              <c:idx val="7"/>
              <c:tx>
                <c:rich>
                  <a:bodyPr/>
                  <a:lstStyle/>
                  <a:p>
                    <a:r>
                      <a:t>631.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1A1-4D11-8408-D7BCE32431F9}"/>
                </c:ext>
              </c:extLst>
            </c:dLbl>
            <c:dLbl>
              <c:idx val="8"/>
              <c:tx>
                <c:rich>
                  <a:bodyPr/>
                  <a:lstStyle/>
                  <a:p>
                    <a:r>
                      <a:t>5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1A1-4D11-8408-D7BCE32431F9}"/>
                </c:ext>
              </c:extLst>
            </c:dLbl>
            <c:dLbl>
              <c:idx val="9"/>
              <c:tx>
                <c:rich>
                  <a:bodyPr/>
                  <a:lstStyle/>
                  <a:p>
                    <a:r>
                      <a:t>341.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1A1-4D11-8408-D7BCE32431F9}"/>
                </c:ext>
              </c:extLst>
            </c:dLbl>
            <c:dLbl>
              <c:idx val="10"/>
              <c:tx>
                <c:rich>
                  <a:bodyPr/>
                  <a:lstStyle/>
                  <a:p>
                    <a:r>
                      <a:t>62.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1A1-4D11-8408-D7BCE32431F9}"/>
                </c:ext>
              </c:extLst>
            </c:dLbl>
            <c:dLbl>
              <c:idx val="11"/>
              <c:tx>
                <c:rich>
                  <a:bodyPr/>
                  <a:lstStyle/>
                  <a:p>
                    <a:r>
                      <a:t>622.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1A1-4D11-8408-D7BCE32431F9}"/>
                </c:ext>
              </c:extLst>
            </c:dLbl>
            <c:dLbl>
              <c:idx val="12"/>
              <c:tx>
                <c:rich>
                  <a:bodyPr/>
                  <a:lstStyle/>
                  <a:p>
                    <a:r>
                      <a:t>34.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1A1-4D11-8408-D7BCE32431F9}"/>
                </c:ext>
              </c:extLst>
            </c:dLbl>
            <c:dLbl>
              <c:idx val="13"/>
              <c:tx>
                <c:rich>
                  <a:bodyPr/>
                  <a:lstStyle/>
                  <a:p>
                    <a:r>
                      <a:t>40.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1A1-4D11-8408-D7BCE32431F9}"/>
                </c:ext>
              </c:extLst>
            </c:dLbl>
            <c:dLbl>
              <c:idx val="14"/>
              <c:tx>
                <c:rich>
                  <a:bodyPr/>
                  <a:lstStyle/>
                  <a:p>
                    <a:r>
                      <a:t>55.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1A1-4D11-8408-D7BCE32431F9}"/>
                </c:ext>
              </c:extLst>
            </c:dLbl>
            <c:dLbl>
              <c:idx val="15"/>
              <c:tx>
                <c:rich>
                  <a:bodyPr/>
                  <a:lstStyle/>
                  <a:p>
                    <a:r>
                      <a:t>4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1A1-4D11-8408-D7BCE32431F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RUINART ROSE SECOND SKIN 1CT X 750ML</c:v>
                </c:pt>
                <c:pt idx="7">
                  <c:v>DOM PERIGNON ROSE 2009 1CT X 750ML</c:v>
                </c:pt>
                <c:pt idx="8">
                  <c:v>1/2 RUINART ROSE (NUE) 1CT X 375ML</c:v>
                </c:pt>
                <c:pt idx="9">
                  <c:v>VEUVE CLICQUOT DAME ROS E 2015 1CT X 750ML</c:v>
                </c:pt>
                <c:pt idx="10">
                  <c:v>DEUTZ ROSE 1CT X 750ML</c:v>
                </c:pt>
                <c:pt idx="11">
                  <c:v>ROEDERER CRISTAL ROSE 2014 1CT X 750ML</c:v>
                </c:pt>
                <c:pt idx="12">
                  <c:v>1/2 DEUTZ ROSE 1CT X 375ML</c:v>
                </c:pt>
                <c:pt idx="13">
                  <c:v>DEMOISELLE ROSE PRES SPECIALE 1CT X 750ML</c:v>
                </c:pt>
                <c:pt idx="14">
                  <c:v>POMMERY SILVER ROSE BRUT 1CT X 750ML</c:v>
                </c:pt>
                <c:pt idx="15">
                  <c:v>DEMOISELLE ROSE BRUT 1CT X 750ML</c:v>
                </c:pt>
              </c:strCache>
            </c:strRef>
          </c:cat>
          <c:val>
            <c:numRef>
              <c:f>Sheet1!$B$2:$B$17</c:f>
              <c:numCache>
                <c:formatCode>General</c:formatCode>
                <c:ptCount val="16"/>
                <c:pt idx="0">
                  <c:v>25.02</c:v>
                </c:pt>
                <c:pt idx="1">
                  <c:v>41.04</c:v>
                </c:pt>
                <c:pt idx="2">
                  <c:v>24.08</c:v>
                </c:pt>
                <c:pt idx="3">
                  <c:v>43.15</c:v>
                </c:pt>
                <c:pt idx="4">
                  <c:v>41.78</c:v>
                </c:pt>
                <c:pt idx="5">
                  <c:v>90.3</c:v>
                </c:pt>
                <c:pt idx="6">
                  <c:v>95.25</c:v>
                </c:pt>
                <c:pt idx="7">
                  <c:v>631.41</c:v>
                </c:pt>
                <c:pt idx="8">
                  <c:v>54.7</c:v>
                </c:pt>
                <c:pt idx="9">
                  <c:v>341.26</c:v>
                </c:pt>
                <c:pt idx="10">
                  <c:v>62.64</c:v>
                </c:pt>
                <c:pt idx="11">
                  <c:v>622.28</c:v>
                </c:pt>
                <c:pt idx="12">
                  <c:v>34.75</c:v>
                </c:pt>
                <c:pt idx="13">
                  <c:v>40.04</c:v>
                </c:pt>
                <c:pt idx="14">
                  <c:v>55.99</c:v>
                </c:pt>
                <c:pt idx="15">
                  <c:v>4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D51-47B0-8AAB-93A588A0D525}"/>
                </c:ext>
              </c:extLst>
            </c:dLbl>
            <c:dLbl>
              <c:idx val="1"/>
              <c:tx>
                <c:rich>
                  <a:bodyPr/>
                  <a:lstStyle/>
                  <a:p>
                    <a:r>
                      <a:rPr lang="en-CH"/>
                      <a:t>39.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D51-47B0-8AAB-93A588A0D525}"/>
                </c:ext>
              </c:extLst>
            </c:dLbl>
            <c:dLbl>
              <c:idx val="2"/>
              <c:tx>
                <c:rich>
                  <a:bodyPr/>
                  <a:lstStyle/>
                  <a:p>
                    <a:r>
                      <a:rPr lang="en-CH"/>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D51-47B0-8AAB-93A588A0D525}"/>
                </c:ext>
              </c:extLst>
            </c:dLbl>
            <c:dLbl>
              <c:idx val="3"/>
              <c:tx>
                <c:rich>
                  <a:bodyPr/>
                  <a:lstStyle/>
                  <a:p>
                    <a:r>
                      <a:rPr lang="en-CH"/>
                      <a:t>3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D51-47B0-8AAB-93A588A0D525}"/>
                </c:ext>
              </c:extLst>
            </c:dLbl>
            <c:dLbl>
              <c:idx val="4"/>
              <c:tx>
                <c:rich>
                  <a:bodyPr/>
                  <a:lstStyle/>
                  <a:p>
                    <a:r>
                      <a:rPr lang="en-CH"/>
                      <a:t>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D51-47B0-8AAB-93A588A0D525}"/>
                </c:ext>
              </c:extLst>
            </c:dLbl>
            <c:dLbl>
              <c:idx val="5"/>
              <c:tx>
                <c:rich>
                  <a:bodyPr/>
                  <a:lstStyle/>
                  <a:p>
                    <a:r>
                      <a:rPr lang="en-CH"/>
                      <a:t>2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D51-47B0-8AAB-93A588A0D525}"/>
                </c:ext>
              </c:extLst>
            </c:dLbl>
            <c:dLbl>
              <c:idx val="6"/>
              <c:tx>
                <c:rich>
                  <a:bodyPr/>
                  <a:lstStyle/>
                  <a:p>
                    <a:r>
                      <a:rPr lang="en-CH"/>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D51-47B0-8AAB-93A588A0D525}"/>
                </c:ext>
              </c:extLst>
            </c:dLbl>
            <c:dLbl>
              <c:idx val="7"/>
              <c:tx>
                <c:rich>
                  <a:bodyPr/>
                  <a:lstStyle/>
                  <a:p>
                    <a:r>
                      <a:rPr lang="en-CH"/>
                      <a:t>4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D51-47B0-8AAB-93A588A0D525}"/>
                </c:ext>
              </c:extLst>
            </c:dLbl>
            <c:dLbl>
              <c:idx val="8"/>
              <c:tx>
                <c:rich>
                  <a:bodyPr/>
                  <a:lstStyle/>
                  <a:p>
                    <a:r>
                      <a:rPr lang="en-CH"/>
                      <a:t>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D51-47B0-8AAB-93A588A0D525}"/>
                </c:ext>
              </c:extLst>
            </c:dLbl>
            <c:dLbl>
              <c:idx val="9"/>
              <c:tx>
                <c:rich>
                  <a:bodyPr/>
                  <a:lstStyle/>
                  <a:p>
                    <a:r>
                      <a:rPr lang="en-CH"/>
                      <a:t>2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D51-47B0-8AAB-93A588A0D525}"/>
                </c:ext>
              </c:extLst>
            </c:dLbl>
            <c:dLbl>
              <c:idx val="10"/>
              <c:tx>
                <c:rich>
                  <a:bodyPr/>
                  <a:lstStyle/>
                  <a:p>
                    <a:r>
                      <a:rPr lang="en-CH"/>
                      <a:t>46.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D51-47B0-8AAB-93A588A0D525}"/>
                </c:ext>
              </c:extLst>
            </c:dLbl>
            <c:dLbl>
              <c:idx val="11"/>
              <c:tx>
                <c:rich>
                  <a:bodyPr/>
                  <a:lstStyle/>
                  <a:p>
                    <a:r>
                      <a:rPr lang="en-CH"/>
                      <a:t>36.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D51-47B0-8AAB-93A588A0D525}"/>
                </c:ext>
              </c:extLst>
            </c:dLbl>
            <c:dLbl>
              <c:idx val="12"/>
              <c:tx>
                <c:rich>
                  <a:bodyPr/>
                  <a:lstStyle/>
                  <a:p>
                    <a:r>
                      <a:rPr lang="en-CH"/>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D51-47B0-8AAB-93A588A0D525}"/>
                </c:ext>
              </c:extLst>
            </c:dLbl>
            <c:dLbl>
              <c:idx val="13"/>
              <c:tx>
                <c:rich>
                  <a:bodyPr/>
                  <a:lstStyle/>
                  <a:p>
                    <a:r>
                      <a:rPr lang="en-CH"/>
                      <a:t>7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D51-47B0-8AAB-93A588A0D525}"/>
                </c:ext>
              </c:extLst>
            </c:dLbl>
            <c:dLbl>
              <c:idx val="14"/>
              <c:tx>
                <c:rich>
                  <a:bodyPr/>
                  <a:lstStyle/>
                  <a:p>
                    <a:r>
                      <a:rPr lang="en-CH"/>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D51-47B0-8AAB-93A588A0D52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strCache>
            </c:strRef>
          </c:cat>
          <c:val>
            <c:numRef>
              <c:f>Sheet1!$B$2:$B$16</c:f>
              <c:numCache>
                <c:formatCode>General</c:formatCode>
                <c:ptCount val="15"/>
                <c:pt idx="0">
                  <c:v>21.81</c:v>
                </c:pt>
                <c:pt idx="1">
                  <c:v>39.01</c:v>
                </c:pt>
                <c:pt idx="2">
                  <c:v>24.97</c:v>
                </c:pt>
                <c:pt idx="3">
                  <c:v>38.47</c:v>
                </c:pt>
                <c:pt idx="4">
                  <c:v>45.3</c:v>
                </c:pt>
                <c:pt idx="5">
                  <c:v>22.32</c:v>
                </c:pt>
                <c:pt idx="6">
                  <c:v>85.63</c:v>
                </c:pt>
                <c:pt idx="7">
                  <c:v>42.14</c:v>
                </c:pt>
                <c:pt idx="8">
                  <c:v>37.4</c:v>
                </c:pt>
                <c:pt idx="9">
                  <c:v>24.21</c:v>
                </c:pt>
                <c:pt idx="10">
                  <c:v>46.58</c:v>
                </c:pt>
                <c:pt idx="11">
                  <c:v>36.82</c:v>
                </c:pt>
                <c:pt idx="12">
                  <c:v>23.92</c:v>
                </c:pt>
                <c:pt idx="13">
                  <c:v>76.33</c:v>
                </c:pt>
                <c:pt idx="14">
                  <c:v>40.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AA2-496F-8389-E0D610369B0E}"/>
                </c:ext>
              </c:extLst>
            </c:dLbl>
            <c:dLbl>
              <c:idx val="1"/>
              <c:tx>
                <c:rich>
                  <a:bodyPr/>
                  <a:lstStyle/>
                  <a:p>
                    <a:r>
                      <a:t>42.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AA2-496F-8389-E0D610369B0E}"/>
                </c:ext>
              </c:extLst>
            </c:dLbl>
            <c:dLbl>
              <c:idx val="2"/>
              <c:tx>
                <c:rich>
                  <a:bodyPr/>
                  <a:lstStyle/>
                  <a:p>
                    <a:r>
                      <a:t>23.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AA2-496F-8389-E0D610369B0E}"/>
                </c:ext>
              </c:extLst>
            </c:dLbl>
            <c:dLbl>
              <c:idx val="3"/>
              <c:tx>
                <c:rich>
                  <a:bodyPr/>
                  <a:lstStyle/>
                  <a:p>
                    <a:r>
                      <a:t>6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AA2-496F-8389-E0D610369B0E}"/>
                </c:ext>
              </c:extLst>
            </c:dLbl>
            <c:dLbl>
              <c:idx val="4"/>
              <c:tx>
                <c:rich>
                  <a:bodyPr/>
                  <a:lstStyle/>
                  <a:p>
                    <a:r>
                      <a:t>9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AA2-496F-8389-E0D610369B0E}"/>
                </c:ext>
              </c:extLst>
            </c:dLbl>
            <c:dLbl>
              <c:idx val="5"/>
              <c:tx>
                <c:rich>
                  <a:bodyPr/>
                  <a:lstStyle/>
                  <a:p>
                    <a:r>
                      <a:t>40.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AA2-496F-8389-E0D610369B0E}"/>
                </c:ext>
              </c:extLst>
            </c:dLbl>
            <c:dLbl>
              <c:idx val="6"/>
              <c:tx>
                <c:rich>
                  <a:bodyPr/>
                  <a:lstStyle/>
                  <a:p>
                    <a:r>
                      <a:t>97.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AA2-496F-8389-E0D610369B0E}"/>
                </c:ext>
              </c:extLst>
            </c:dLbl>
            <c:dLbl>
              <c:idx val="7"/>
              <c:tx>
                <c:rich>
                  <a:bodyPr/>
                  <a:lstStyle/>
                  <a:p>
                    <a:r>
                      <a:t>54.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AA2-496F-8389-E0D610369B0E}"/>
                </c:ext>
              </c:extLst>
            </c:dLbl>
            <c:dLbl>
              <c:idx val="8"/>
              <c:tx>
                <c:rich>
                  <a:bodyPr/>
                  <a:lstStyle/>
                  <a:p>
                    <a:r>
                      <a:t>195.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AA2-496F-8389-E0D610369B0E}"/>
                </c:ext>
              </c:extLst>
            </c:dLbl>
            <c:dLbl>
              <c:idx val="9"/>
              <c:tx>
                <c:rich>
                  <a:bodyPr/>
                  <a:lstStyle/>
                  <a:p>
                    <a:r>
                      <a:t>53.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AA2-496F-8389-E0D610369B0E}"/>
                </c:ext>
              </c:extLst>
            </c:dLbl>
            <c:dLbl>
              <c:idx val="10"/>
              <c:tx>
                <c:rich>
                  <a:bodyPr/>
                  <a:lstStyle/>
                  <a:p>
                    <a:r>
                      <a:t>34.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AA2-496F-8389-E0D610369B0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DEUTZ ROSE 1CT X 750ML</c:v>
                </c:pt>
                <c:pt idx="4">
                  <c:v>RUINART ROSE (NUE) 1CT X 750ML</c:v>
                </c:pt>
                <c:pt idx="5">
                  <c:v>DEMOISELLE ROSE PRES SPECIALE 1CT X 750ML</c:v>
                </c:pt>
                <c:pt idx="6">
                  <c:v>RUINART ROSE SECOND SKIN 1CT X 750ML</c:v>
                </c:pt>
                <c:pt idx="7">
                  <c:v>POMMERY SILVER ROSE BRUT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4.91</c:v>
                </c:pt>
                <c:pt idx="1">
                  <c:v>42.78</c:v>
                </c:pt>
                <c:pt idx="2">
                  <c:v>23.87</c:v>
                </c:pt>
                <c:pt idx="3">
                  <c:v>62.41</c:v>
                </c:pt>
                <c:pt idx="4">
                  <c:v>90.6</c:v>
                </c:pt>
                <c:pt idx="5">
                  <c:v>40.01</c:v>
                </c:pt>
                <c:pt idx="6">
                  <c:v>97.38</c:v>
                </c:pt>
                <c:pt idx="7">
                  <c:v>54.61</c:v>
                </c:pt>
                <c:pt idx="8">
                  <c:v>195.96</c:v>
                </c:pt>
                <c:pt idx="9">
                  <c:v>53.64</c:v>
                </c:pt>
                <c:pt idx="10">
                  <c:v>3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38B-4E0D-8C8A-A261F2D60F65}"/>
                </c:ext>
              </c:extLst>
            </c:dLbl>
            <c:dLbl>
              <c:idx val="1"/>
              <c:tx>
                <c:rich>
                  <a:bodyPr/>
                  <a:lstStyle/>
                  <a:p>
                    <a:r>
                      <a:t>39.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8B-4E0D-8C8A-A261F2D60F65}"/>
                </c:ext>
              </c:extLst>
            </c:dLbl>
            <c:dLbl>
              <c:idx val="2"/>
              <c:tx>
                <c:rich>
                  <a:bodyPr/>
                  <a:lstStyle/>
                  <a:p>
                    <a:r>
                      <a:t>23.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38B-4E0D-8C8A-A261F2D60F65}"/>
                </c:ext>
              </c:extLst>
            </c:dLbl>
            <c:dLbl>
              <c:idx val="3"/>
              <c:tx>
                <c:rich>
                  <a:bodyPr/>
                  <a:lstStyle/>
                  <a:p>
                    <a:r>
                      <a:t>79.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8B-4E0D-8C8A-A261F2D60F65}"/>
                </c:ext>
              </c:extLst>
            </c:dLbl>
            <c:dLbl>
              <c:idx val="4"/>
              <c:tx>
                <c:rich>
                  <a:bodyPr/>
                  <a:lstStyle/>
                  <a:p>
                    <a:r>
                      <a:t>62.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38B-4E0D-8C8A-A261F2D60F65}"/>
                </c:ext>
              </c:extLst>
            </c:dLbl>
            <c:dLbl>
              <c:idx val="5"/>
              <c:tx>
                <c:rich>
                  <a:bodyPr/>
                  <a:lstStyle/>
                  <a:p>
                    <a:r>
                      <a:t>90.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8B-4E0D-8C8A-A261F2D60F65}"/>
                </c:ext>
              </c:extLst>
            </c:dLbl>
            <c:dLbl>
              <c:idx val="6"/>
              <c:tx>
                <c:rich>
                  <a:bodyPr/>
                  <a:lstStyle/>
                  <a:p>
                    <a:r>
                      <a:t>94.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38B-4E0D-8C8A-A261F2D60F65}"/>
                </c:ext>
              </c:extLst>
            </c:dLbl>
            <c:dLbl>
              <c:idx val="7"/>
              <c:tx>
                <c:rich>
                  <a:bodyPr/>
                  <a:lstStyle/>
                  <a:p>
                    <a:r>
                      <a:t>244.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8B-4E0D-8C8A-A261F2D60F65}"/>
                </c:ext>
              </c:extLst>
            </c:dLbl>
            <c:dLbl>
              <c:idx val="8"/>
              <c:tx>
                <c:rich>
                  <a:bodyPr/>
                  <a:lstStyle/>
                  <a:p>
                    <a:r>
                      <a:t>54.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38B-4E0D-8C8A-A261F2D60F65}"/>
                </c:ext>
              </c:extLst>
            </c:dLbl>
            <c:dLbl>
              <c:idx val="9"/>
              <c:tx>
                <c:rich>
                  <a:bodyPr/>
                  <a:lstStyle/>
                  <a:p>
                    <a:r>
                      <a:t>36.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8B-4E0D-8C8A-A261F2D60F6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ROSE 1CT X 750ML</c:v>
                </c:pt>
                <c:pt idx="1">
                  <c:v>CHAMPAGNE NICOLAS ROSE 1ERE CU 1CT X 750ML</c:v>
                </c:pt>
                <c:pt idx="2">
                  <c:v>1/2 CHAMP NICOLAS ROSE 1E C BS 1CT X 375ML</c:v>
                </c:pt>
                <c:pt idx="3">
                  <c:v>LAURENT PERRIER ROSE 1CT X 750ML</c:v>
                </c:pt>
                <c:pt idx="4">
                  <c:v>DEUTZ ROSE 1CT X 750ML</c:v>
                </c:pt>
                <c:pt idx="5">
                  <c:v>RUINART ROSE (NUE) 1CT X 750ML</c:v>
                </c:pt>
                <c:pt idx="6">
                  <c:v>RUINART ROSE SECOND SKIN 1CT X 750ML</c:v>
                </c:pt>
                <c:pt idx="7">
                  <c:v>MG RUINART ROSE SECOND SKIN 1CT X 1500ML</c:v>
                </c:pt>
                <c:pt idx="8">
                  <c:v>1/2 RUINART ROSE (NUE) 1CT X 375ML</c:v>
                </c:pt>
                <c:pt idx="9">
                  <c:v>1/2 DEUTZ ROSE 1CT X 375ML</c:v>
                </c:pt>
              </c:strCache>
            </c:strRef>
          </c:cat>
          <c:val>
            <c:numRef>
              <c:f>Sheet1!$B$2:$B$11</c:f>
              <c:numCache>
                <c:formatCode>General</c:formatCode>
                <c:ptCount val="10"/>
                <c:pt idx="0">
                  <c:v>25.01</c:v>
                </c:pt>
                <c:pt idx="1">
                  <c:v>39.56</c:v>
                </c:pt>
                <c:pt idx="2">
                  <c:v>23.74</c:v>
                </c:pt>
                <c:pt idx="3">
                  <c:v>79.989999999999995</c:v>
                </c:pt>
                <c:pt idx="4">
                  <c:v>62.13</c:v>
                </c:pt>
                <c:pt idx="5">
                  <c:v>90.81</c:v>
                </c:pt>
                <c:pt idx="6">
                  <c:v>94.82</c:v>
                </c:pt>
                <c:pt idx="7">
                  <c:v>244.83</c:v>
                </c:pt>
                <c:pt idx="8">
                  <c:v>54.38</c:v>
                </c:pt>
                <c:pt idx="9">
                  <c:v>36.11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9B1-4782-B4CE-2E9CB07A90E4}"/>
                </c:ext>
              </c:extLst>
            </c:dLbl>
            <c:dLbl>
              <c:idx val="1"/>
              <c:tx>
                <c:rich>
                  <a:bodyPr/>
                  <a:lstStyle/>
                  <a:p>
                    <a:r>
                      <a:t>45.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9B1-4782-B4CE-2E9CB07A90E4}"/>
                </c:ext>
              </c:extLst>
            </c:dLbl>
            <c:dLbl>
              <c:idx val="2"/>
              <c:tx>
                <c:rich>
                  <a:bodyPr/>
                  <a:lstStyle/>
                  <a:p>
                    <a:r>
                      <a:t>37.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9B1-4782-B4CE-2E9CB07A90E4}"/>
                </c:ext>
              </c:extLst>
            </c:dLbl>
            <c:dLbl>
              <c:idx val="3"/>
              <c:tx>
                <c:rich>
                  <a:bodyPr/>
                  <a:lstStyle/>
                  <a:p>
                    <a:r>
                      <a:t>90.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9B1-4782-B4CE-2E9CB07A90E4}"/>
                </c:ext>
              </c:extLst>
            </c:dLbl>
            <c:dLbl>
              <c:idx val="4"/>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9B1-4782-B4CE-2E9CB07A90E4}"/>
                </c:ext>
              </c:extLst>
            </c:dLbl>
            <c:dLbl>
              <c:idx val="5"/>
              <c:tx>
                <c:rich>
                  <a:bodyPr/>
                  <a:lstStyle/>
                  <a:p>
                    <a:r>
                      <a:t>6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9B1-4782-B4CE-2E9CB07A90E4}"/>
                </c:ext>
              </c:extLst>
            </c:dLbl>
            <c:dLbl>
              <c:idx val="6"/>
              <c:tx>
                <c:rich>
                  <a:bodyPr/>
                  <a:lstStyle/>
                  <a:p>
                    <a:r>
                      <a:t>54.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9B1-4782-B4CE-2E9CB07A90E4}"/>
                </c:ext>
              </c:extLst>
            </c:dLbl>
            <c:dLbl>
              <c:idx val="7"/>
              <c:tx>
                <c:rich>
                  <a:bodyPr/>
                  <a:lstStyle/>
                  <a:p>
                    <a:r>
                      <a:t>210.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9B1-4782-B4CE-2E9CB07A90E4}"/>
                </c:ext>
              </c:extLst>
            </c:dLbl>
            <c:dLbl>
              <c:idx val="8"/>
              <c:tx>
                <c:rich>
                  <a:bodyPr/>
                  <a:lstStyle/>
                  <a:p>
                    <a:r>
                      <a:t>62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9B1-4782-B4CE-2E9CB07A90E4}"/>
                </c:ext>
              </c:extLst>
            </c:dLbl>
            <c:dLbl>
              <c:idx val="9"/>
              <c:tx>
                <c:rich>
                  <a:bodyPr/>
                  <a:lstStyle/>
                  <a:p>
                    <a:r>
                      <a:t>62.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9B1-4782-B4CE-2E9CB07A90E4}"/>
                </c:ext>
              </c:extLst>
            </c:dLbl>
            <c:dLbl>
              <c:idx val="10"/>
              <c:tx>
                <c:rich>
                  <a:bodyPr/>
                  <a:lstStyle/>
                  <a:p>
                    <a:r>
                      <a:t>34.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9B1-4782-B4CE-2E9CB07A90E4}"/>
                </c:ext>
              </c:extLst>
            </c:dLbl>
            <c:dLbl>
              <c:idx val="11"/>
              <c:tx>
                <c:rich>
                  <a:bodyPr/>
                  <a:lstStyle/>
                  <a:p>
                    <a:r>
                      <a:t>145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9B1-4782-B4CE-2E9CB07A90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ROSE 1CT X 750ML</c:v>
                </c:pt>
                <c:pt idx="1">
                  <c:v>CHAMPAGNE NICOLAS ROSE 1ERE CU 1CT X 750ML</c:v>
                </c:pt>
                <c:pt idx="2">
                  <c:v>MALARD ROSE 1ER CRU 1CT X 750ML</c:v>
                </c:pt>
                <c:pt idx="3">
                  <c:v>RUINART ROSE (NUE) 1CT X 750ML</c:v>
                </c:pt>
                <c:pt idx="4">
                  <c:v>RUINART ROSE SECOND SKIN 1CT X 750ML</c:v>
                </c:pt>
                <c:pt idx="5">
                  <c:v>DOM PERIGNON ROSE 2009 1CT X 750ML</c:v>
                </c:pt>
                <c:pt idx="6">
                  <c:v>1/2 RUINART ROSE (NUE) 1CT X 375ML</c:v>
                </c:pt>
                <c:pt idx="7">
                  <c:v>MG RUINART ROSE SECOND SKIN 1CT X 1500ML</c:v>
                </c:pt>
                <c:pt idx="8">
                  <c:v>ROEDERER CRISTAL ROSE 2014 1CT X 750ML</c:v>
                </c:pt>
                <c:pt idx="9">
                  <c:v>DEUTZ ROSE 1CT X 750ML</c:v>
                </c:pt>
                <c:pt idx="10">
                  <c:v>1/2 DEUTZ ROSE 1CT X 375ML</c:v>
                </c:pt>
                <c:pt idx="11">
                  <c:v>MG ROEDERER CRISTAL ROSE 2013 1CT X 1500ML</c:v>
                </c:pt>
              </c:strCache>
            </c:strRef>
          </c:cat>
          <c:val>
            <c:numRef>
              <c:f>Sheet1!$B$2:$B$13</c:f>
              <c:numCache>
                <c:formatCode>General</c:formatCode>
                <c:ptCount val="12"/>
                <c:pt idx="0">
                  <c:v>25.02</c:v>
                </c:pt>
                <c:pt idx="1">
                  <c:v>45.18</c:v>
                </c:pt>
                <c:pt idx="2">
                  <c:v>37.659999999999997</c:v>
                </c:pt>
                <c:pt idx="3">
                  <c:v>90.65</c:v>
                </c:pt>
                <c:pt idx="4">
                  <c:v>95.19</c:v>
                </c:pt>
                <c:pt idx="5">
                  <c:v>694.5</c:v>
                </c:pt>
                <c:pt idx="6">
                  <c:v>54.79</c:v>
                </c:pt>
                <c:pt idx="7">
                  <c:v>210.27</c:v>
                </c:pt>
                <c:pt idx="8">
                  <c:v>620</c:v>
                </c:pt>
                <c:pt idx="9">
                  <c:v>62.17</c:v>
                </c:pt>
                <c:pt idx="10">
                  <c:v>34.380000000000003</c:v>
                </c:pt>
                <c:pt idx="11">
                  <c:v>14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F60-4178-B327-705419724E9C}"/>
                </c:ext>
              </c:extLst>
            </c:dLbl>
            <c:dLbl>
              <c:idx val="1"/>
              <c:tx>
                <c:rich>
                  <a:bodyPr/>
                  <a:lstStyle/>
                  <a:p>
                    <a:r>
                      <a:t>4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F60-4178-B327-705419724E9C}"/>
                </c:ext>
              </c:extLst>
            </c:dLbl>
            <c:dLbl>
              <c:idx val="2"/>
              <c:tx>
                <c:rich>
                  <a:bodyPr/>
                  <a:lstStyle/>
                  <a:p>
                    <a:r>
                      <a:t>89.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F60-4178-B327-705419724E9C}"/>
                </c:ext>
              </c:extLst>
            </c:dLbl>
            <c:dLbl>
              <c:idx val="3"/>
              <c:tx>
                <c:rich>
                  <a:bodyPr/>
                  <a:lstStyle/>
                  <a:p>
                    <a:r>
                      <a:t>41.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F60-4178-B327-705419724E9C}"/>
                </c:ext>
              </c:extLst>
            </c:dLbl>
            <c:dLbl>
              <c:idx val="4"/>
              <c:tx>
                <c:rich>
                  <a:bodyPr/>
                  <a:lstStyle/>
                  <a:p>
                    <a:r>
                      <a:t>9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F60-4178-B327-705419724E9C}"/>
                </c:ext>
              </c:extLst>
            </c:dLbl>
            <c:dLbl>
              <c:idx val="5"/>
              <c:tx>
                <c:rich>
                  <a:bodyPr/>
                  <a:lstStyle/>
                  <a:p>
                    <a:r>
                      <a:t>23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F60-4178-B327-705419724E9C}"/>
                </c:ext>
              </c:extLst>
            </c:dLbl>
            <c:dLbl>
              <c:idx val="6"/>
              <c:tx>
                <c:rich>
                  <a:bodyPr/>
                  <a:lstStyle/>
                  <a:p>
                    <a:r>
                      <a:t>52.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F60-4178-B327-705419724E9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ROSE 1CT X 750ML</c:v>
                </c:pt>
                <c:pt idx="1">
                  <c:v>CHAMPAGNE NICOLAS ROSE 1ERE CU 1CT X 750ML</c:v>
                </c:pt>
                <c:pt idx="2">
                  <c:v>RUINART ROSE (NUE) 1CT X 750ML</c:v>
                </c:pt>
                <c:pt idx="3">
                  <c:v>DEMOISELLE ROSE PRES SPECIALE 1CT X 750ML</c:v>
                </c:pt>
                <c:pt idx="4">
                  <c:v>RUINART ROSE SECOND SKIN 1CT X 750ML</c:v>
                </c:pt>
                <c:pt idx="5">
                  <c:v>MG RUINART ROSE SECOND SKIN 1CT X 1500ML</c:v>
                </c:pt>
                <c:pt idx="6">
                  <c:v>1/2 RUINART ROSE (NUE) 1CT X 375ML</c:v>
                </c:pt>
              </c:strCache>
            </c:strRef>
          </c:cat>
          <c:val>
            <c:numRef>
              <c:f>Sheet1!$B$2:$B$8</c:f>
              <c:numCache>
                <c:formatCode>General</c:formatCode>
                <c:ptCount val="7"/>
                <c:pt idx="0">
                  <c:v>25.1</c:v>
                </c:pt>
                <c:pt idx="1">
                  <c:v>41.44</c:v>
                </c:pt>
                <c:pt idx="2">
                  <c:v>89.63</c:v>
                </c:pt>
                <c:pt idx="3">
                  <c:v>41.06</c:v>
                </c:pt>
                <c:pt idx="4">
                  <c:v>91.91</c:v>
                </c:pt>
                <c:pt idx="5">
                  <c:v>239.5</c:v>
                </c:pt>
                <c:pt idx="6">
                  <c:v>5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973-4ACB-9E96-2DF7500E9311}"/>
                </c:ext>
              </c:extLst>
            </c:dLbl>
            <c:dLbl>
              <c:idx val="1"/>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973-4ACB-9E96-2DF7500E9311}"/>
                </c:ext>
              </c:extLst>
            </c:dLbl>
            <c:dLbl>
              <c:idx val="2"/>
              <c:tx>
                <c:rich>
                  <a:bodyPr/>
                  <a:lstStyle/>
                  <a:p>
                    <a:r>
                      <a:t>23.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973-4ACB-9E96-2DF7500E9311}"/>
                </c:ext>
              </c:extLst>
            </c:dLbl>
            <c:dLbl>
              <c:idx val="3"/>
              <c:tx>
                <c:rich>
                  <a:bodyPr/>
                  <a:lstStyle/>
                  <a:p>
                    <a:r>
                      <a:t>4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973-4ACB-9E96-2DF7500E9311}"/>
                </c:ext>
              </c:extLst>
            </c:dLbl>
            <c:dLbl>
              <c:idx val="4"/>
              <c:tx>
                <c:rich>
                  <a:bodyPr/>
                  <a:lstStyle/>
                  <a:p>
                    <a:r>
                      <a:t>41.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973-4ACB-9E96-2DF7500E9311}"/>
                </c:ext>
              </c:extLst>
            </c:dLbl>
            <c:dLbl>
              <c:idx val="5"/>
              <c:tx>
                <c:rich>
                  <a:bodyPr/>
                  <a:lstStyle/>
                  <a:p>
                    <a:r>
                      <a:t>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973-4ACB-9E96-2DF7500E9311}"/>
                </c:ext>
              </c:extLst>
            </c:dLbl>
            <c:dLbl>
              <c:idx val="6"/>
              <c:tx>
                <c:rich>
                  <a:bodyPr/>
                  <a:lstStyle/>
                  <a:p>
                    <a:r>
                      <a:t>95.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973-4ACB-9E96-2DF7500E9311}"/>
                </c:ext>
              </c:extLst>
            </c:dLbl>
            <c:dLbl>
              <c:idx val="7"/>
              <c:tx>
                <c:rich>
                  <a:bodyPr/>
                  <a:lstStyle/>
                  <a:p>
                    <a:r>
                      <a:t>623.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973-4ACB-9E96-2DF7500E9311}"/>
                </c:ext>
              </c:extLst>
            </c:dLbl>
            <c:dLbl>
              <c:idx val="8"/>
              <c:tx>
                <c:rich>
                  <a:bodyPr/>
                  <a:lstStyle/>
                  <a:p>
                    <a:r>
                      <a:t>208.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973-4ACB-9E96-2DF7500E9311}"/>
                </c:ext>
              </c:extLst>
            </c:dLbl>
            <c:dLbl>
              <c:idx val="9"/>
              <c:tx>
                <c:rich>
                  <a:bodyPr/>
                  <a:lstStyle/>
                  <a:p>
                    <a:r>
                      <a:t>54.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973-4ACB-9E96-2DF7500E9311}"/>
                </c:ext>
              </c:extLst>
            </c:dLbl>
            <c:dLbl>
              <c:idx val="10"/>
              <c:tx>
                <c:rich>
                  <a:bodyPr/>
                  <a:lstStyle/>
                  <a:p>
                    <a:r>
                      <a:t>62.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973-4ACB-9E96-2DF7500E9311}"/>
                </c:ext>
              </c:extLst>
            </c:dLbl>
            <c:dLbl>
              <c:idx val="11"/>
              <c:tx>
                <c:rich>
                  <a:bodyPr/>
                  <a:lstStyle/>
                  <a:p>
                    <a:r>
                      <a:t>625.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973-4ACB-9E96-2DF7500E9311}"/>
                </c:ext>
              </c:extLst>
            </c:dLbl>
            <c:dLbl>
              <c:idx val="12"/>
              <c:tx>
                <c:rich>
                  <a:bodyPr/>
                  <a:lstStyle/>
                  <a:p>
                    <a:r>
                      <a:t>34.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973-4ACB-9E96-2DF7500E9311}"/>
                </c:ext>
              </c:extLst>
            </c:dLbl>
            <c:dLbl>
              <c:idx val="13"/>
              <c:tx>
                <c:rich>
                  <a:bodyPr/>
                  <a:lstStyle/>
                  <a:p>
                    <a:r>
                      <a:t>145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973-4ACB-9E96-2DF7500E931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RUINART ROSE SECOND SKIN 1CT X 750ML</c:v>
                </c:pt>
                <c:pt idx="7">
                  <c:v>DOM PERIGNON ROSE 2009 1CT X 750ML</c:v>
                </c:pt>
                <c:pt idx="8">
                  <c:v>MG RUINART ROSE SECOND SKIN 1CT X 1500ML</c:v>
                </c:pt>
                <c:pt idx="9">
                  <c:v>1/2 RUINART ROSE (NUE) 1CT X 375ML</c:v>
                </c:pt>
                <c:pt idx="10">
                  <c:v>DEUTZ ROSE 1CT X 750ML</c:v>
                </c:pt>
                <c:pt idx="11">
                  <c:v>ROEDERER CRISTAL ROSE 2014 1CT X 750ML</c:v>
                </c:pt>
                <c:pt idx="12">
                  <c:v>1/2 DEUTZ ROSE 1CT X 375ML</c:v>
                </c:pt>
                <c:pt idx="13">
                  <c:v>MG ROEDERER CRISTAL ROSE 2013 1CT X 1500ML</c:v>
                </c:pt>
              </c:strCache>
            </c:strRef>
          </c:cat>
          <c:val>
            <c:numRef>
              <c:f>Sheet1!$B$2:$B$15</c:f>
              <c:numCache>
                <c:formatCode>General</c:formatCode>
                <c:ptCount val="14"/>
                <c:pt idx="0">
                  <c:v>25</c:v>
                </c:pt>
                <c:pt idx="1">
                  <c:v>41.37</c:v>
                </c:pt>
                <c:pt idx="2">
                  <c:v>23.95</c:v>
                </c:pt>
                <c:pt idx="3">
                  <c:v>41.36</c:v>
                </c:pt>
                <c:pt idx="4">
                  <c:v>41.14</c:v>
                </c:pt>
                <c:pt idx="5">
                  <c:v>90.5</c:v>
                </c:pt>
                <c:pt idx="6">
                  <c:v>95.58</c:v>
                </c:pt>
                <c:pt idx="7">
                  <c:v>623.73</c:v>
                </c:pt>
                <c:pt idx="8">
                  <c:v>208.36</c:v>
                </c:pt>
                <c:pt idx="9">
                  <c:v>54.72</c:v>
                </c:pt>
                <c:pt idx="10">
                  <c:v>62.66</c:v>
                </c:pt>
                <c:pt idx="11">
                  <c:v>625.27</c:v>
                </c:pt>
                <c:pt idx="12">
                  <c:v>34.950000000000003</c:v>
                </c:pt>
                <c:pt idx="13">
                  <c:v>14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EC4-4877-9542-632449D22905}"/>
                </c:ext>
              </c:extLst>
            </c:dLbl>
            <c:dLbl>
              <c:idx val="1"/>
              <c:tx>
                <c:rich>
                  <a:bodyPr/>
                  <a:lstStyle/>
                  <a:p>
                    <a:r>
                      <a:t>4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EC4-4877-9542-632449D22905}"/>
                </c:ext>
              </c:extLst>
            </c:dLbl>
            <c:dLbl>
              <c:idx val="2"/>
              <c:tx>
                <c:rich>
                  <a:bodyPr/>
                  <a:lstStyle/>
                  <a:p>
                    <a:r>
                      <a:t>90.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EC4-4877-9542-632449D22905}"/>
                </c:ext>
              </c:extLst>
            </c:dLbl>
            <c:dLbl>
              <c:idx val="3"/>
              <c:tx>
                <c:rich>
                  <a:bodyPr/>
                  <a:lstStyle/>
                  <a:p>
                    <a:r>
                      <a:t>78.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EC4-4877-9542-632449D22905}"/>
                </c:ext>
              </c:extLst>
            </c:dLbl>
            <c:dLbl>
              <c:idx val="4"/>
              <c:tx>
                <c:rich>
                  <a:bodyPr/>
                  <a:lstStyle/>
                  <a:p>
                    <a:r>
                      <a:t>96.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EC4-4877-9542-632449D22905}"/>
                </c:ext>
              </c:extLst>
            </c:dLbl>
            <c:dLbl>
              <c:idx val="5"/>
              <c:tx>
                <c:rich>
                  <a:bodyPr/>
                  <a:lstStyle/>
                  <a:p>
                    <a:r>
                      <a:t>51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EC4-4877-9542-632449D22905}"/>
                </c:ext>
              </c:extLst>
            </c:dLbl>
            <c:dLbl>
              <c:idx val="6"/>
              <c:tx>
                <c:rich>
                  <a:bodyPr/>
                  <a:lstStyle/>
                  <a:p>
                    <a:r>
                      <a:t>20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EC4-4877-9542-632449D22905}"/>
                </c:ext>
              </c:extLst>
            </c:dLbl>
            <c:dLbl>
              <c:idx val="7"/>
              <c:tx>
                <c:rich>
                  <a:bodyPr/>
                  <a:lstStyle/>
                  <a:p>
                    <a:r>
                      <a:t>5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EC4-4877-9542-632449D2290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E.NICOLAS ROSE 1CT X 750ML</c:v>
                </c:pt>
                <c:pt idx="1">
                  <c:v>CHAMPAGNE NICOLAS ROSE 1ERE CU 1CT X 750ML</c:v>
                </c:pt>
                <c:pt idx="2">
                  <c:v>RUINART ROSE (NUE) 1CT X 750ML</c:v>
                </c:pt>
                <c:pt idx="3">
                  <c:v>LAURENT PERRIER ROSE 1CT X 750ML</c:v>
                </c:pt>
                <c:pt idx="4">
                  <c:v>RUINART ROSE SECOND SKIN 1CT X 750ML</c:v>
                </c:pt>
                <c:pt idx="5">
                  <c:v>DOM PERIGNON ROSE 2009 1CT X 750ML</c:v>
                </c:pt>
                <c:pt idx="6">
                  <c:v>MG RUINART ROSE SECOND SKIN 1CT X 1500ML</c:v>
                </c:pt>
                <c:pt idx="7">
                  <c:v>1/2 RUINART ROSE (NUE) 1CT X 375ML</c:v>
                </c:pt>
              </c:strCache>
            </c:strRef>
          </c:cat>
          <c:val>
            <c:numRef>
              <c:f>Sheet1!$B$2:$B$9</c:f>
              <c:numCache>
                <c:formatCode>General</c:formatCode>
                <c:ptCount val="8"/>
                <c:pt idx="0">
                  <c:v>25.16</c:v>
                </c:pt>
                <c:pt idx="1">
                  <c:v>40.729999999999997</c:v>
                </c:pt>
                <c:pt idx="2">
                  <c:v>90.74</c:v>
                </c:pt>
                <c:pt idx="3">
                  <c:v>78.650000000000006</c:v>
                </c:pt>
                <c:pt idx="4">
                  <c:v>96.53</c:v>
                </c:pt>
                <c:pt idx="5">
                  <c:v>512</c:v>
                </c:pt>
                <c:pt idx="6">
                  <c:v>201.2</c:v>
                </c:pt>
                <c:pt idx="7">
                  <c:v>5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11-4352-B83C-0493D07B7F9D}"/>
                </c:ext>
              </c:extLst>
            </c:dLbl>
            <c:dLbl>
              <c:idx val="1"/>
              <c:tx>
                <c:rich>
                  <a:bodyPr/>
                  <a:lstStyle/>
                  <a:p>
                    <a:r>
                      <a:t>42.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611-4352-B83C-0493D07B7F9D}"/>
                </c:ext>
              </c:extLst>
            </c:dLbl>
            <c:dLbl>
              <c:idx val="2"/>
              <c:tx>
                <c:rich>
                  <a:bodyPr/>
                  <a:lstStyle/>
                  <a:p>
                    <a:r>
                      <a:t>64.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611-4352-B83C-0493D07B7F9D}"/>
                </c:ext>
              </c:extLst>
            </c:dLbl>
            <c:dLbl>
              <c:idx val="3"/>
              <c:tx>
                <c:rich>
                  <a:bodyPr/>
                  <a:lstStyle/>
                  <a:p>
                    <a:r>
                      <a:t>90.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611-4352-B83C-0493D07B7F9D}"/>
                </c:ext>
              </c:extLst>
            </c:dLbl>
            <c:dLbl>
              <c:idx val="4"/>
              <c:tx>
                <c:rich>
                  <a:bodyPr/>
                  <a:lstStyle/>
                  <a:p>
                    <a:r>
                      <a:t>100.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611-4352-B83C-0493D07B7F9D}"/>
                </c:ext>
              </c:extLst>
            </c:dLbl>
            <c:dLbl>
              <c:idx val="5"/>
              <c:tx>
                <c:rich>
                  <a:bodyPr/>
                  <a:lstStyle/>
                  <a:p>
                    <a:r>
                      <a:t>4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611-4352-B83C-0493D07B7F9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ROSE 1CT X 750ML</c:v>
                </c:pt>
                <c:pt idx="1">
                  <c:v>CHAMPAGNE NICOLAS ROSE 1ERE CU 1CT X 750ML</c:v>
                </c:pt>
                <c:pt idx="2">
                  <c:v>DEUTZ ROSE 1CT X 750ML</c:v>
                </c:pt>
                <c:pt idx="3">
                  <c:v>RUINART ROSE (NUE) 1CT X 750ML</c:v>
                </c:pt>
                <c:pt idx="4">
                  <c:v>RUINART ROSE SECOND SKIN 1CT X 750ML</c:v>
                </c:pt>
                <c:pt idx="5">
                  <c:v>MALARD ROSE 1ER CRU 1CT X 750ML</c:v>
                </c:pt>
              </c:strCache>
            </c:strRef>
          </c:cat>
          <c:val>
            <c:numRef>
              <c:f>Sheet1!$B$2:$B$7</c:f>
              <c:numCache>
                <c:formatCode>General</c:formatCode>
                <c:ptCount val="6"/>
                <c:pt idx="0">
                  <c:v>25.28</c:v>
                </c:pt>
                <c:pt idx="1">
                  <c:v>42.73</c:v>
                </c:pt>
                <c:pt idx="2">
                  <c:v>64.53</c:v>
                </c:pt>
                <c:pt idx="3">
                  <c:v>90.46</c:v>
                </c:pt>
                <c:pt idx="4">
                  <c:v>100.03</c:v>
                </c:pt>
                <c:pt idx="5">
                  <c:v>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CA5-4BE9-B1C6-4B89367F37E7}"/>
                </c:ext>
              </c:extLst>
            </c:dLbl>
            <c:dLbl>
              <c:idx val="1"/>
              <c:tx>
                <c:rich>
                  <a:bodyPr/>
                  <a:lstStyle/>
                  <a:p>
                    <a:r>
                      <a:t>3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A5-4BE9-B1C6-4B89367F37E7}"/>
                </c:ext>
              </c:extLst>
            </c:dLbl>
            <c:dLbl>
              <c:idx val="2"/>
              <c:tx>
                <c:rich>
                  <a:bodyPr/>
                  <a:lstStyle/>
                  <a:p>
                    <a:r>
                      <a:t>6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CA5-4BE9-B1C6-4B89367F37E7}"/>
                </c:ext>
              </c:extLst>
            </c:dLbl>
            <c:dLbl>
              <c:idx val="3"/>
              <c:tx>
                <c:rich>
                  <a:bodyPr/>
                  <a:lstStyle/>
                  <a:p>
                    <a:r>
                      <a:t>89.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A5-4BE9-B1C6-4B89367F37E7}"/>
                </c:ext>
              </c:extLst>
            </c:dLbl>
            <c:dLbl>
              <c:idx val="4"/>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CA5-4BE9-B1C6-4B89367F37E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ROSE 1CT X 750ML</c:v>
                </c:pt>
                <c:pt idx="1">
                  <c:v>CHAMPAGNE NICOLAS ROSE 1ERE CU 1CT X 750ML</c:v>
                </c:pt>
                <c:pt idx="2">
                  <c:v>DEUTZ ROSE 1CT X 750ML</c:v>
                </c:pt>
                <c:pt idx="3">
                  <c:v>RUINART ROSE (NUE) 1CT X 750ML</c:v>
                </c:pt>
                <c:pt idx="4">
                  <c:v>MALARD ROSE 1ER CRU 1CT X 750ML</c:v>
                </c:pt>
              </c:strCache>
            </c:strRef>
          </c:cat>
          <c:val>
            <c:numRef>
              <c:f>Sheet1!$B$2:$B$6</c:f>
              <c:numCache>
                <c:formatCode>General</c:formatCode>
                <c:ptCount val="5"/>
                <c:pt idx="0">
                  <c:v>25.19</c:v>
                </c:pt>
                <c:pt idx="1">
                  <c:v>36</c:v>
                </c:pt>
                <c:pt idx="2">
                  <c:v>61.97</c:v>
                </c:pt>
                <c:pt idx="3">
                  <c:v>89.13</c:v>
                </c:pt>
                <c:pt idx="4">
                  <c:v>37.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0A0-4315-B9D9-A07CB378E143}"/>
                </c:ext>
              </c:extLst>
            </c:dLbl>
            <c:dLbl>
              <c:idx val="1"/>
              <c:tx>
                <c:rich>
                  <a:bodyPr/>
                  <a:lstStyle/>
                  <a:p>
                    <a:r>
                      <a:t>60.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0A0-4315-B9D9-A07CB378E143}"/>
                </c:ext>
              </c:extLst>
            </c:dLbl>
            <c:dLbl>
              <c:idx val="2"/>
              <c:tx>
                <c:rich>
                  <a:bodyPr/>
                  <a:lstStyle/>
                  <a:p>
                    <a:r>
                      <a:t>98.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0A0-4315-B9D9-A07CB378E143}"/>
                </c:ext>
              </c:extLst>
            </c:dLbl>
            <c:dLbl>
              <c:idx val="3"/>
              <c:tx>
                <c:rich>
                  <a:bodyPr/>
                  <a:lstStyle/>
                  <a:p>
                    <a:r>
                      <a:t>103.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0A0-4315-B9D9-A07CB378E14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E.NICOLAS ROSE 1CT X 750ML</c:v>
                </c:pt>
                <c:pt idx="1">
                  <c:v>DEUTZ ROSE 1CT X 750ML</c:v>
                </c:pt>
                <c:pt idx="2">
                  <c:v>RUINART ROSE (NUE) 1CT X 750ML</c:v>
                </c:pt>
                <c:pt idx="3">
                  <c:v>RUINART ROSE SECOND SKIN 1CT X 750ML</c:v>
                </c:pt>
              </c:strCache>
            </c:strRef>
          </c:cat>
          <c:val>
            <c:numRef>
              <c:f>Sheet1!$B$2:$B$5</c:f>
              <c:numCache>
                <c:formatCode>General</c:formatCode>
                <c:ptCount val="4"/>
                <c:pt idx="0">
                  <c:v>24.99</c:v>
                </c:pt>
                <c:pt idx="1">
                  <c:v>60.64</c:v>
                </c:pt>
                <c:pt idx="2">
                  <c:v>98.89</c:v>
                </c:pt>
                <c:pt idx="3">
                  <c:v>103.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DC1-4E5E-8BEC-849B3FD314FD}"/>
                </c:ext>
              </c:extLst>
            </c:dLbl>
            <c:dLbl>
              <c:idx val="1"/>
              <c:tx>
                <c:rich>
                  <a:bodyPr/>
                  <a:lstStyle/>
                  <a:p>
                    <a:r>
                      <a:t>40.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DC1-4E5E-8BEC-849B3FD314FD}"/>
                </c:ext>
              </c:extLst>
            </c:dLbl>
            <c:dLbl>
              <c:idx val="2"/>
              <c:tx>
                <c:rich>
                  <a:bodyPr/>
                  <a:lstStyle/>
                  <a:p>
                    <a:r>
                      <a:t>2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DC1-4E5E-8BEC-849B3FD314FD}"/>
                </c:ext>
              </c:extLst>
            </c:dLbl>
            <c:dLbl>
              <c:idx val="3"/>
              <c:tx>
                <c:rich>
                  <a:bodyPr/>
                  <a:lstStyle/>
                  <a:p>
                    <a:r>
                      <a:t>42.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DC1-4E5E-8BEC-849B3FD314FD}"/>
                </c:ext>
              </c:extLst>
            </c:dLbl>
            <c:dLbl>
              <c:idx val="4"/>
              <c:tx>
                <c:rich>
                  <a:bodyPr/>
                  <a:lstStyle/>
                  <a:p>
                    <a:r>
                      <a:t>79.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DC1-4E5E-8BEC-849B3FD314FD}"/>
                </c:ext>
              </c:extLst>
            </c:dLbl>
            <c:dLbl>
              <c:idx val="5"/>
              <c:tx>
                <c:rich>
                  <a:bodyPr/>
                  <a:lstStyle/>
                  <a:p>
                    <a:r>
                      <a:t>9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DC1-4E5E-8BEC-849B3FD314FD}"/>
                </c:ext>
              </c:extLst>
            </c:dLbl>
            <c:dLbl>
              <c:idx val="6"/>
              <c:tx>
                <c:rich>
                  <a:bodyPr/>
                  <a:lstStyle/>
                  <a:p>
                    <a:r>
                      <a:t>598.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DC1-4E5E-8BEC-849B3FD314FD}"/>
                </c:ext>
              </c:extLst>
            </c:dLbl>
            <c:dLbl>
              <c:idx val="7"/>
              <c:tx>
                <c:rich>
                  <a:bodyPr/>
                  <a:lstStyle/>
                  <a:p>
                    <a:r>
                      <a:t>95.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DC1-4E5E-8BEC-849B3FD314FD}"/>
                </c:ext>
              </c:extLst>
            </c:dLbl>
            <c:dLbl>
              <c:idx val="8"/>
              <c:tx>
                <c:rich>
                  <a:bodyPr/>
                  <a:lstStyle/>
                  <a:p>
                    <a:r>
                      <a:t>3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DC1-4E5E-8BEC-849B3FD314FD}"/>
                </c:ext>
              </c:extLst>
            </c:dLbl>
            <c:dLbl>
              <c:idx val="9"/>
              <c:tx>
                <c:rich>
                  <a:bodyPr/>
                  <a:lstStyle/>
                  <a:p>
                    <a:r>
                      <a:t>54.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DC1-4E5E-8BEC-849B3FD314FD}"/>
                </c:ext>
              </c:extLst>
            </c:dLbl>
            <c:dLbl>
              <c:idx val="10"/>
              <c:tx>
                <c:rich>
                  <a:bodyPr/>
                  <a:lstStyle/>
                  <a:p>
                    <a:r>
                      <a:t>6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DC1-4E5E-8BEC-849B3FD314FD}"/>
                </c:ext>
              </c:extLst>
            </c:dLbl>
            <c:dLbl>
              <c:idx val="11"/>
              <c:tx>
                <c:rich>
                  <a:bodyPr/>
                  <a:lstStyle/>
                  <a:p>
                    <a:r>
                      <a:t>625.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DC1-4E5E-8BEC-849B3FD314FD}"/>
                </c:ext>
              </c:extLst>
            </c:dLbl>
            <c:dLbl>
              <c:idx val="12"/>
              <c:tx>
                <c:rich>
                  <a:bodyPr/>
                  <a:lstStyle/>
                  <a:p>
                    <a:r>
                      <a:t>35.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DC1-4E5E-8BEC-849B3FD314F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ROSE 1CT X 750ML</c:v>
                </c:pt>
                <c:pt idx="1">
                  <c:v>CHAMPAGNE NICOLAS ROSE 1ERE CU 1CT X 750ML</c:v>
                </c:pt>
                <c:pt idx="2">
                  <c:v>1/2 CHAMP NICOLAS ROSE 1E C BS 1CT X 375ML</c:v>
                </c:pt>
                <c:pt idx="3">
                  <c:v>CHAMPAGNE NICOLAS ROSE 1ERE ET 1CT X 750ML</c:v>
                </c:pt>
                <c:pt idx="4">
                  <c:v>LAURENT PERRIER ROSE 1CT X 750ML</c:v>
                </c:pt>
                <c:pt idx="5">
                  <c:v>RUINART ROSE (NUE) 1CT X 750ML</c:v>
                </c:pt>
                <c:pt idx="6">
                  <c:v>DOM PERIGNON ROSE 2009 1CT X 750ML</c:v>
                </c:pt>
                <c:pt idx="7">
                  <c:v>RUINART ROSE SECOND SKIN 1CT X 750ML</c:v>
                </c:pt>
                <c:pt idx="8">
                  <c:v>VEUVE CLICQUOT DAME ROS E 2015 1CT X 750ML</c:v>
                </c:pt>
                <c:pt idx="9">
                  <c:v>1/2 RUINART ROSE (NUE) 1CT X 375ML</c:v>
                </c:pt>
                <c:pt idx="10">
                  <c:v>DEUTZ ROSE 1CT X 750ML</c:v>
                </c:pt>
                <c:pt idx="11">
                  <c:v>ROEDERER CRISTAL ROSE 2014 1CT X 750ML</c:v>
                </c:pt>
                <c:pt idx="12">
                  <c:v>1/2 DEUTZ ROSE 1CT X 375ML</c:v>
                </c:pt>
              </c:strCache>
            </c:strRef>
          </c:cat>
          <c:val>
            <c:numRef>
              <c:f>Sheet1!$B$2:$B$14</c:f>
              <c:numCache>
                <c:formatCode>General</c:formatCode>
                <c:ptCount val="13"/>
                <c:pt idx="0">
                  <c:v>24.94</c:v>
                </c:pt>
                <c:pt idx="1">
                  <c:v>40.71</c:v>
                </c:pt>
                <c:pt idx="2">
                  <c:v>23.91</c:v>
                </c:pt>
                <c:pt idx="3">
                  <c:v>42.54</c:v>
                </c:pt>
                <c:pt idx="4">
                  <c:v>79.239999999999995</c:v>
                </c:pt>
                <c:pt idx="5">
                  <c:v>90.73</c:v>
                </c:pt>
                <c:pt idx="6">
                  <c:v>598.77</c:v>
                </c:pt>
                <c:pt idx="7">
                  <c:v>95.25</c:v>
                </c:pt>
                <c:pt idx="8">
                  <c:v>345</c:v>
                </c:pt>
                <c:pt idx="9">
                  <c:v>54.51</c:v>
                </c:pt>
                <c:pt idx="10">
                  <c:v>62.69</c:v>
                </c:pt>
                <c:pt idx="11">
                  <c:v>625.27</c:v>
                </c:pt>
                <c:pt idx="12">
                  <c:v>35.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6FA-4FEB-A6F9-568522E82246}"/>
                </c:ext>
              </c:extLst>
            </c:dLbl>
            <c:dLbl>
              <c:idx val="1"/>
              <c:tx>
                <c:rich>
                  <a:bodyPr/>
                  <a:lstStyle/>
                  <a:p>
                    <a:r>
                      <a:rPr lang="en-CH"/>
                      <a:t>38.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6FA-4FEB-A6F9-568522E82246}"/>
                </c:ext>
              </c:extLst>
            </c:dLbl>
            <c:dLbl>
              <c:idx val="2"/>
              <c:tx>
                <c:rich>
                  <a:bodyPr/>
                  <a:lstStyle/>
                  <a:p>
                    <a:r>
                      <a:rPr lang="en-CH"/>
                      <a:t>2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6FA-4FEB-A6F9-568522E82246}"/>
                </c:ext>
              </c:extLst>
            </c:dLbl>
            <c:dLbl>
              <c:idx val="3"/>
              <c:tx>
                <c:rich>
                  <a:bodyPr/>
                  <a:lstStyle/>
                  <a:p>
                    <a:r>
                      <a:rPr lang="en-CH"/>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6FA-4FEB-A6F9-568522E82246}"/>
                </c:ext>
              </c:extLst>
            </c:dLbl>
            <c:dLbl>
              <c:idx val="4"/>
              <c:tx>
                <c:rich>
                  <a:bodyPr/>
                  <a:lstStyle/>
                  <a:p>
                    <a:r>
                      <a:rPr lang="en-CH"/>
                      <a:t>2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6FA-4FEB-A6F9-568522E82246}"/>
                </c:ext>
              </c:extLst>
            </c:dLbl>
            <c:dLbl>
              <c:idx val="5"/>
              <c:tx>
                <c:rich>
                  <a:bodyPr/>
                  <a:lstStyle/>
                  <a:p>
                    <a:r>
                      <a:rPr lang="en-CH"/>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6FA-4FEB-A6F9-568522E82246}"/>
                </c:ext>
              </c:extLst>
            </c:dLbl>
            <c:dLbl>
              <c:idx val="6"/>
              <c:tx>
                <c:rich>
                  <a:bodyPr/>
                  <a:lstStyle/>
                  <a:p>
                    <a:r>
                      <a:rPr lang="en-CH"/>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6FA-4FEB-A6F9-568522E82246}"/>
                </c:ext>
              </c:extLst>
            </c:dLbl>
            <c:dLbl>
              <c:idx val="7"/>
              <c:tx>
                <c:rich>
                  <a:bodyPr/>
                  <a:lstStyle/>
                  <a:p>
                    <a:r>
                      <a:rPr lang="en-CH"/>
                      <a:t>4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6FA-4FEB-A6F9-568522E82246}"/>
                </c:ext>
              </c:extLst>
            </c:dLbl>
            <c:dLbl>
              <c:idx val="8"/>
              <c:tx>
                <c:rich>
                  <a:bodyPr/>
                  <a:lstStyle/>
                  <a:p>
                    <a:r>
                      <a:rPr lang="en-CH"/>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6FA-4FEB-A6F9-568522E82246}"/>
                </c:ext>
              </c:extLst>
            </c:dLbl>
            <c:dLbl>
              <c:idx val="9"/>
              <c:tx>
                <c:rich>
                  <a:bodyPr/>
                  <a:lstStyle/>
                  <a:p>
                    <a:r>
                      <a:rPr lang="en-CH"/>
                      <a:t>2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6FA-4FEB-A6F9-568522E82246}"/>
                </c:ext>
              </c:extLst>
            </c:dLbl>
            <c:dLbl>
              <c:idx val="10"/>
              <c:tx>
                <c:rich>
                  <a:bodyPr/>
                  <a:lstStyle/>
                  <a:p>
                    <a:r>
                      <a:rPr lang="en-CH"/>
                      <a:t>8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6FA-4FEB-A6F9-568522E82246}"/>
                </c:ext>
              </c:extLst>
            </c:dLbl>
            <c:dLbl>
              <c:idx val="11"/>
              <c:tx>
                <c:rich>
                  <a:bodyPr/>
                  <a:lstStyle/>
                  <a:p>
                    <a:r>
                      <a:rPr lang="en-CH"/>
                      <a:t>71.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6FA-4FEB-A6F9-568522E82246}"/>
                </c:ext>
              </c:extLst>
            </c:dLbl>
            <c:dLbl>
              <c:idx val="12"/>
              <c:tx>
                <c:rich>
                  <a:bodyPr/>
                  <a:lstStyle/>
                  <a:p>
                    <a:r>
                      <a:rPr lang="en-CH"/>
                      <a:t>3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6FA-4FEB-A6F9-568522E82246}"/>
                </c:ext>
              </c:extLst>
            </c:dLbl>
            <c:dLbl>
              <c:idx val="13"/>
              <c:tx>
                <c:rich>
                  <a:bodyPr/>
                  <a:lstStyle/>
                  <a:p>
                    <a:r>
                      <a:rPr lang="en-CH"/>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6FA-4FEB-A6F9-568522E82246}"/>
                </c:ext>
              </c:extLst>
            </c:dLbl>
            <c:dLbl>
              <c:idx val="14"/>
              <c:tx>
                <c:rich>
                  <a:bodyPr/>
                  <a:lstStyle/>
                  <a:p>
                    <a:r>
                      <a:rPr lang="en-CH"/>
                      <a:t>36.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6FA-4FEB-A6F9-568522E8224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8.86</c:v>
                </c:pt>
                <c:pt idx="2">
                  <c:v>25.04</c:v>
                </c:pt>
                <c:pt idx="3">
                  <c:v>36.97</c:v>
                </c:pt>
                <c:pt idx="4">
                  <c:v>22.46</c:v>
                </c:pt>
                <c:pt idx="5">
                  <c:v>46.21</c:v>
                </c:pt>
                <c:pt idx="6">
                  <c:v>45.17</c:v>
                </c:pt>
                <c:pt idx="7">
                  <c:v>40.909999999999997</c:v>
                </c:pt>
                <c:pt idx="8">
                  <c:v>24.03</c:v>
                </c:pt>
                <c:pt idx="9">
                  <c:v>24.13</c:v>
                </c:pt>
                <c:pt idx="10">
                  <c:v>85.83</c:v>
                </c:pt>
                <c:pt idx="11">
                  <c:v>71.75</c:v>
                </c:pt>
                <c:pt idx="12">
                  <c:v>38.82</c:v>
                </c:pt>
                <c:pt idx="13">
                  <c:v>36.46</c:v>
                </c:pt>
                <c:pt idx="14">
                  <c:v>36.8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B42-46B0-BB8D-95D55D6DE406}"/>
                </c:ext>
              </c:extLst>
            </c:dLbl>
            <c:dLbl>
              <c:idx val="1"/>
              <c:tx>
                <c:rich>
                  <a:bodyPr/>
                  <a:lstStyle/>
                  <a:p>
                    <a:r>
                      <a:t>41.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B42-46B0-BB8D-95D55D6DE406}"/>
                </c:ext>
              </c:extLst>
            </c:dLbl>
            <c:dLbl>
              <c:idx val="2"/>
              <c:tx>
                <c:rich>
                  <a:bodyPr/>
                  <a:lstStyle/>
                  <a:p>
                    <a:r>
                      <a:t>24.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B42-46B0-BB8D-95D55D6DE406}"/>
                </c:ext>
              </c:extLst>
            </c:dLbl>
            <c:dLbl>
              <c:idx val="3"/>
              <c:tx>
                <c:rich>
                  <a:bodyPr/>
                  <a:lstStyle/>
                  <a:p>
                    <a:r>
                      <a:t>6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B42-46B0-BB8D-95D55D6DE406}"/>
                </c:ext>
              </c:extLst>
            </c:dLbl>
            <c:dLbl>
              <c:idx val="4"/>
              <c:tx>
                <c:rich>
                  <a:bodyPr/>
                  <a:lstStyle/>
                  <a:p>
                    <a:r>
                      <a:t>90.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B42-46B0-BB8D-95D55D6DE406}"/>
                </c:ext>
              </c:extLst>
            </c:dLbl>
            <c:dLbl>
              <c:idx val="5"/>
              <c:tx>
                <c:rich>
                  <a:bodyPr/>
                  <a:lstStyle/>
                  <a:p>
                    <a:r>
                      <a:t>95.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B42-46B0-BB8D-95D55D6DE406}"/>
                </c:ext>
              </c:extLst>
            </c:dLbl>
            <c:dLbl>
              <c:idx val="6"/>
              <c:tx>
                <c:rich>
                  <a:bodyPr/>
                  <a:lstStyle/>
                  <a:p>
                    <a:r>
                      <a:t>38.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B42-46B0-BB8D-95D55D6DE406}"/>
                </c:ext>
              </c:extLst>
            </c:dLbl>
            <c:dLbl>
              <c:idx val="7"/>
              <c:tx>
                <c:rich>
                  <a:bodyPr/>
                  <a:lstStyle/>
                  <a:p>
                    <a:r>
                      <a:t>3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B42-46B0-BB8D-95D55D6DE406}"/>
                </c:ext>
              </c:extLst>
            </c:dLbl>
            <c:dLbl>
              <c:idx val="8"/>
              <c:tx>
                <c:rich>
                  <a:bodyPr/>
                  <a:lstStyle/>
                  <a:p>
                    <a:r>
                      <a:t>20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B42-46B0-BB8D-95D55D6DE406}"/>
                </c:ext>
              </c:extLst>
            </c:dLbl>
            <c:dLbl>
              <c:idx val="9"/>
              <c:tx>
                <c:rich>
                  <a:bodyPr/>
                  <a:lstStyle/>
                  <a:p>
                    <a:r>
                      <a:t>52.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B42-46B0-BB8D-95D55D6DE406}"/>
                </c:ext>
              </c:extLst>
            </c:dLbl>
            <c:dLbl>
              <c:idx val="10"/>
              <c:tx>
                <c:rich>
                  <a:bodyPr/>
                  <a:lstStyle/>
                  <a:p>
                    <a:r>
                      <a:t>145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B42-46B0-BB8D-95D55D6DE40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ALARD ROSE 1ER CRU 1CT X 750ML</c:v>
                </c:pt>
                <c:pt idx="7">
                  <c:v>1/2 DEUTZ ROSE 1CT X 375ML</c:v>
                </c:pt>
                <c:pt idx="8">
                  <c:v>MG RUINART ROSE SECOND SKIN 1CT X 1500ML</c:v>
                </c:pt>
                <c:pt idx="9">
                  <c:v>1/2 RUINART ROSE (NUE) 1CT X 375ML</c:v>
                </c:pt>
                <c:pt idx="10">
                  <c:v>MG ROEDERER CRISTAL ROSE 2013 1CT X 1500ML</c:v>
                </c:pt>
              </c:strCache>
            </c:strRef>
          </c:cat>
          <c:val>
            <c:numRef>
              <c:f>Sheet1!$B$2:$B$12</c:f>
              <c:numCache>
                <c:formatCode>General</c:formatCode>
                <c:ptCount val="11"/>
                <c:pt idx="0">
                  <c:v>24.9</c:v>
                </c:pt>
                <c:pt idx="1">
                  <c:v>41.16</c:v>
                </c:pt>
                <c:pt idx="2">
                  <c:v>24.73</c:v>
                </c:pt>
                <c:pt idx="3">
                  <c:v>62</c:v>
                </c:pt>
                <c:pt idx="4">
                  <c:v>90.76</c:v>
                </c:pt>
                <c:pt idx="5">
                  <c:v>95.13</c:v>
                </c:pt>
                <c:pt idx="6">
                  <c:v>38.18</c:v>
                </c:pt>
                <c:pt idx="7">
                  <c:v>34.9</c:v>
                </c:pt>
                <c:pt idx="8">
                  <c:v>202.88</c:v>
                </c:pt>
                <c:pt idx="9">
                  <c:v>52.91</c:v>
                </c:pt>
                <c:pt idx="10">
                  <c:v>14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E16-4124-A72F-EDF6C305199E}"/>
                </c:ext>
              </c:extLst>
            </c:dLbl>
            <c:dLbl>
              <c:idx val="1"/>
              <c:tx>
                <c:rich>
                  <a:bodyPr/>
                  <a:lstStyle/>
                  <a:p>
                    <a:r>
                      <a:t>41.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E16-4124-A72F-EDF6C305199E}"/>
                </c:ext>
              </c:extLst>
            </c:dLbl>
            <c:dLbl>
              <c:idx val="2"/>
              <c:tx>
                <c:rich>
                  <a:bodyPr/>
                  <a:lstStyle/>
                  <a:p>
                    <a:r>
                      <a:t>24.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E16-4124-A72F-EDF6C305199E}"/>
                </c:ext>
              </c:extLst>
            </c:dLbl>
            <c:dLbl>
              <c:idx val="3"/>
              <c:tx>
                <c:rich>
                  <a:bodyPr/>
                  <a:lstStyle/>
                  <a:p>
                    <a:r>
                      <a:t>62.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E16-4124-A72F-EDF6C305199E}"/>
                </c:ext>
              </c:extLst>
            </c:dLbl>
            <c:dLbl>
              <c:idx val="4"/>
              <c:tx>
                <c:rich>
                  <a:bodyPr/>
                  <a:lstStyle/>
                  <a:p>
                    <a:r>
                      <a:t>90.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E16-4124-A72F-EDF6C305199E}"/>
                </c:ext>
              </c:extLst>
            </c:dLbl>
            <c:dLbl>
              <c:idx val="5"/>
              <c:tx>
                <c:rich>
                  <a:bodyPr/>
                  <a:lstStyle/>
                  <a:p>
                    <a:r>
                      <a:t>40.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E16-4124-A72F-EDF6C305199E}"/>
                </c:ext>
              </c:extLst>
            </c:dLbl>
            <c:dLbl>
              <c:idx val="6"/>
              <c:tx>
                <c:rich>
                  <a:bodyPr/>
                  <a:lstStyle/>
                  <a:p>
                    <a:r>
                      <a:t>95.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E16-4124-A72F-EDF6C305199E}"/>
                </c:ext>
              </c:extLst>
            </c:dLbl>
            <c:dLbl>
              <c:idx val="7"/>
              <c:tx>
                <c:rich>
                  <a:bodyPr/>
                  <a:lstStyle/>
                  <a:p>
                    <a:r>
                      <a:t>54.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E16-4124-A72F-EDF6C305199E}"/>
                </c:ext>
              </c:extLst>
            </c:dLbl>
            <c:dLbl>
              <c:idx val="8"/>
              <c:tx>
                <c:rich>
                  <a:bodyPr/>
                  <a:lstStyle/>
                  <a:p>
                    <a:r>
                      <a:t>2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E16-4124-A72F-EDF6C305199E}"/>
                </c:ext>
              </c:extLst>
            </c:dLbl>
            <c:dLbl>
              <c:idx val="9"/>
              <c:tx>
                <c:rich>
                  <a:bodyPr/>
                  <a:lstStyle/>
                  <a:p>
                    <a:r>
                      <a:t>5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E16-4124-A72F-EDF6C305199E}"/>
                </c:ext>
              </c:extLst>
            </c:dLbl>
            <c:dLbl>
              <c:idx val="10"/>
              <c:tx>
                <c:rich>
                  <a:bodyPr/>
                  <a:lstStyle/>
                  <a:p>
                    <a:r>
                      <a:t>35.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E16-4124-A72F-EDF6C305199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DEUTZ ROSE 1CT X 750ML</c:v>
                </c:pt>
                <c:pt idx="4">
                  <c:v>RUINART ROSE (NUE) 1CT X 750ML</c:v>
                </c:pt>
                <c:pt idx="5">
                  <c:v>DEMOISELLE ROSE PRES SPECIALE 1CT X 750ML</c:v>
                </c:pt>
                <c:pt idx="6">
                  <c:v>RUINART ROSE SECOND SKIN 1CT X 750ML</c:v>
                </c:pt>
                <c:pt idx="7">
                  <c:v>POMMERY SILVER ROSE BRUT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5.01</c:v>
                </c:pt>
                <c:pt idx="1">
                  <c:v>41.25</c:v>
                </c:pt>
                <c:pt idx="2">
                  <c:v>24.55</c:v>
                </c:pt>
                <c:pt idx="3">
                  <c:v>62.72</c:v>
                </c:pt>
                <c:pt idx="4">
                  <c:v>90.24</c:v>
                </c:pt>
                <c:pt idx="5">
                  <c:v>40.049999999999997</c:v>
                </c:pt>
                <c:pt idx="6">
                  <c:v>95.41</c:v>
                </c:pt>
                <c:pt idx="7">
                  <c:v>54.25</c:v>
                </c:pt>
                <c:pt idx="8">
                  <c:v>225.19</c:v>
                </c:pt>
                <c:pt idx="9">
                  <c:v>55.01</c:v>
                </c:pt>
                <c:pt idx="10">
                  <c:v>35.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F21-4018-A60D-5E10B728A16A}"/>
                </c:ext>
              </c:extLst>
            </c:dLbl>
            <c:dLbl>
              <c:idx val="1"/>
              <c:tx>
                <c:rich>
                  <a:bodyPr/>
                  <a:lstStyle/>
                  <a:p>
                    <a:r>
                      <a:t>41.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F21-4018-A60D-5E10B728A16A}"/>
                </c:ext>
              </c:extLst>
            </c:dLbl>
            <c:dLbl>
              <c:idx val="2"/>
              <c:tx>
                <c:rich>
                  <a:bodyPr/>
                  <a:lstStyle/>
                  <a:p>
                    <a:r>
                      <a:t>23.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F21-4018-A60D-5E10B728A16A}"/>
                </c:ext>
              </c:extLst>
            </c:dLbl>
            <c:dLbl>
              <c:idx val="3"/>
              <c:tx>
                <c:rich>
                  <a:bodyPr/>
                  <a:lstStyle/>
                  <a:p>
                    <a:r>
                      <a:t>90.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F21-4018-A60D-5E10B728A16A}"/>
                </c:ext>
              </c:extLst>
            </c:dLbl>
            <c:dLbl>
              <c:idx val="4"/>
              <c:tx>
                <c:rich>
                  <a:bodyPr/>
                  <a:lstStyle/>
                  <a:p>
                    <a:r>
                      <a:t>96.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F21-4018-A60D-5E10B728A16A}"/>
                </c:ext>
              </c:extLst>
            </c:dLbl>
            <c:dLbl>
              <c:idx val="5"/>
              <c:tx>
                <c:rich>
                  <a:bodyPr/>
                  <a:lstStyle/>
                  <a:p>
                    <a:r>
                      <a:t>215.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F21-4018-A60D-5E10B728A16A}"/>
                </c:ext>
              </c:extLst>
            </c:dLbl>
            <c:dLbl>
              <c:idx val="6"/>
              <c:tx>
                <c:rich>
                  <a:bodyPr/>
                  <a:lstStyle/>
                  <a:p>
                    <a:r>
                      <a:t>55.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F21-4018-A60D-5E10B728A16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ROSE 1CT X 750ML</c:v>
                </c:pt>
                <c:pt idx="1">
                  <c:v>CHAMPAGNE NICOLAS ROSE 1ERE CU 1CT X 750ML</c:v>
                </c:pt>
                <c:pt idx="2">
                  <c:v>1/2 CHAMP NICOLAS ROSE 1E C BS 1CT X 375ML</c:v>
                </c:pt>
                <c:pt idx="3">
                  <c:v>RUINART ROSE (NUE) 1CT X 750ML</c:v>
                </c:pt>
                <c:pt idx="4">
                  <c:v>RUINART ROSE SECOND SKIN 1CT X 750ML</c:v>
                </c:pt>
                <c:pt idx="5">
                  <c:v>MG RUINART ROSE SECOND SKIN 1CT X 1500ML</c:v>
                </c:pt>
                <c:pt idx="6">
                  <c:v>1/2 RUINART ROSE (NUE) 1CT X 375ML</c:v>
                </c:pt>
              </c:strCache>
            </c:strRef>
          </c:cat>
          <c:val>
            <c:numRef>
              <c:f>Sheet1!$B$2:$B$8</c:f>
              <c:numCache>
                <c:formatCode>General</c:formatCode>
                <c:ptCount val="7"/>
                <c:pt idx="0">
                  <c:v>25.12</c:v>
                </c:pt>
                <c:pt idx="1">
                  <c:v>41.31</c:v>
                </c:pt>
                <c:pt idx="2">
                  <c:v>23.86</c:v>
                </c:pt>
                <c:pt idx="3">
                  <c:v>90.15</c:v>
                </c:pt>
                <c:pt idx="4">
                  <c:v>96.55</c:v>
                </c:pt>
                <c:pt idx="5">
                  <c:v>215.22</c:v>
                </c:pt>
                <c:pt idx="6">
                  <c:v>55.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92E-46C5-82EE-CCFF9C85538B}"/>
                </c:ext>
              </c:extLst>
            </c:dLbl>
            <c:dLbl>
              <c:idx val="1"/>
              <c:tx>
                <c:rich>
                  <a:bodyPr/>
                  <a:lstStyle/>
                  <a:p>
                    <a:r>
                      <a:t>42.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2E-46C5-82EE-CCFF9C85538B}"/>
                </c:ext>
              </c:extLst>
            </c:dLbl>
            <c:dLbl>
              <c:idx val="2"/>
              <c:tx>
                <c:rich>
                  <a:bodyPr/>
                  <a:lstStyle/>
                  <a:p>
                    <a:r>
                      <a:t>24.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92E-46C5-82EE-CCFF9C85538B}"/>
                </c:ext>
              </c:extLst>
            </c:dLbl>
            <c:dLbl>
              <c:idx val="3"/>
              <c:tx>
                <c:rich>
                  <a:bodyPr/>
                  <a:lstStyle/>
                  <a:p>
                    <a:r>
                      <a:t>4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92E-46C5-82EE-CCFF9C85538B}"/>
                </c:ext>
              </c:extLst>
            </c:dLbl>
            <c:dLbl>
              <c:idx val="4"/>
              <c:tx>
                <c:rich>
                  <a:bodyPr/>
                  <a:lstStyle/>
                  <a:p>
                    <a:r>
                      <a:t>90.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92E-46C5-82EE-CCFF9C85538B}"/>
                </c:ext>
              </c:extLst>
            </c:dLbl>
            <c:dLbl>
              <c:idx val="5"/>
              <c:tx>
                <c:rich>
                  <a:bodyPr/>
                  <a:lstStyle/>
                  <a:p>
                    <a:r>
                      <a:t>62.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92E-46C5-82EE-CCFF9C85538B}"/>
                </c:ext>
              </c:extLst>
            </c:dLbl>
            <c:dLbl>
              <c:idx val="6"/>
              <c:tx>
                <c:rich>
                  <a:bodyPr/>
                  <a:lstStyle/>
                  <a:p>
                    <a:r>
                      <a:t>94.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92E-46C5-82EE-CCFF9C85538B}"/>
                </c:ext>
              </c:extLst>
            </c:dLbl>
            <c:dLbl>
              <c:idx val="7"/>
              <c:tx>
                <c:rich>
                  <a:bodyPr/>
                  <a:lstStyle/>
                  <a:p>
                    <a:r>
                      <a:t>3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92E-46C5-82EE-CCFF9C85538B}"/>
                </c:ext>
              </c:extLst>
            </c:dLbl>
            <c:dLbl>
              <c:idx val="8"/>
              <c:tx>
                <c:rich>
                  <a:bodyPr/>
                  <a:lstStyle/>
                  <a:p>
                    <a:r>
                      <a:t>254.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92E-46C5-82EE-CCFF9C85538B}"/>
                </c:ext>
              </c:extLst>
            </c:dLbl>
            <c:dLbl>
              <c:idx val="9"/>
              <c:tx>
                <c:rich>
                  <a:bodyPr/>
                  <a:lstStyle/>
                  <a:p>
                    <a:r>
                      <a:t>5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92E-46C5-82EE-CCFF9C85538B}"/>
                </c:ext>
              </c:extLst>
            </c:dLbl>
            <c:dLbl>
              <c:idx val="10"/>
              <c:tx>
                <c:rich>
                  <a:bodyPr/>
                  <a:lstStyle/>
                  <a:p>
                    <a:r>
                      <a:t>34.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92E-46C5-82EE-CCFF9C85538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CHAMPAGNE NICOLAS ROSE 1E C BS 1CT X 750ML</c:v>
                </c:pt>
                <c:pt idx="4">
                  <c:v>RUINART ROSE (NUE) 1CT X 750ML</c:v>
                </c:pt>
                <c:pt idx="5">
                  <c:v>DEUTZ ROSE 1CT X 750ML</c:v>
                </c:pt>
                <c:pt idx="6">
                  <c:v>RUINART ROSE SECOND SKIN 1CT X 750ML</c:v>
                </c:pt>
                <c:pt idx="7">
                  <c:v>MALARD ROSE 1ER CRU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5.05</c:v>
                </c:pt>
                <c:pt idx="1">
                  <c:v>42.65</c:v>
                </c:pt>
                <c:pt idx="2">
                  <c:v>24.16</c:v>
                </c:pt>
                <c:pt idx="3">
                  <c:v>42.19</c:v>
                </c:pt>
                <c:pt idx="4">
                  <c:v>90.67</c:v>
                </c:pt>
                <c:pt idx="5">
                  <c:v>62.05</c:v>
                </c:pt>
                <c:pt idx="6">
                  <c:v>94.24</c:v>
                </c:pt>
                <c:pt idx="7">
                  <c:v>37.75</c:v>
                </c:pt>
                <c:pt idx="8">
                  <c:v>254.61</c:v>
                </c:pt>
                <c:pt idx="9">
                  <c:v>53.71</c:v>
                </c:pt>
                <c:pt idx="10">
                  <c:v>3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B56-4EB1-BAA3-1F928568AC84}"/>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B56-4EB1-BAA3-1F928568AC84}"/>
                </c:ext>
              </c:extLst>
            </c:dLbl>
            <c:dLbl>
              <c:idx val="2"/>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B56-4EB1-BAA3-1F928568AC84}"/>
                </c:ext>
              </c:extLst>
            </c:dLbl>
            <c:dLbl>
              <c:idx val="3"/>
              <c:tx>
                <c:rich>
                  <a:bodyPr/>
                  <a:lstStyle/>
                  <a:p>
                    <a:r>
                      <a:t>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B56-4EB1-BAA3-1F928568AC84}"/>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B56-4EB1-BAA3-1F928568AC84}"/>
                </c:ext>
              </c:extLst>
            </c:dLbl>
            <c:dLbl>
              <c:idx val="5"/>
              <c:tx>
                <c:rich>
                  <a:bodyPr/>
                  <a:lstStyle/>
                  <a:p>
                    <a:r>
                      <a:t>11.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B56-4EB1-BAA3-1F928568AC84}"/>
                </c:ext>
              </c:extLst>
            </c:dLbl>
            <c:dLbl>
              <c:idx val="6"/>
              <c:tx>
                <c:rich>
                  <a:bodyPr/>
                  <a:lstStyle/>
                  <a:p>
                    <a:r>
                      <a:t>57.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B56-4EB1-BAA3-1F928568AC84}"/>
                </c:ext>
              </c:extLst>
            </c:dLbl>
            <c:dLbl>
              <c:idx val="7"/>
              <c:tx>
                <c:rich>
                  <a:bodyPr/>
                  <a:lstStyle/>
                  <a:p>
                    <a:r>
                      <a:t>93.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B56-4EB1-BAA3-1F928568AC84}"/>
                </c:ext>
              </c:extLst>
            </c:dLbl>
            <c:dLbl>
              <c:idx val="8"/>
              <c:tx>
                <c:rich>
                  <a:bodyPr/>
                  <a:lstStyle/>
                  <a:p>
                    <a:r>
                      <a:t>96.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B56-4EB1-BAA3-1F928568AC84}"/>
                </c:ext>
              </c:extLst>
            </c:dLbl>
            <c:dLbl>
              <c:idx val="9"/>
              <c:tx>
                <c:rich>
                  <a:bodyPr/>
                  <a:lstStyle/>
                  <a:p>
                    <a:r>
                      <a:t>6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B56-4EB1-BAA3-1F928568AC84}"/>
                </c:ext>
              </c:extLst>
            </c:dLbl>
            <c:dLbl>
              <c:idx val="10"/>
              <c:tx>
                <c:rich>
                  <a:bodyPr/>
                  <a:lstStyle/>
                  <a:p>
                    <a:r>
                      <a:t>139.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B56-4EB1-BAA3-1F928568AC8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c:v>
                </c:pt>
                <c:pt idx="1">
                  <c:v>39.090000000000003</c:v>
                </c:pt>
                <c:pt idx="2">
                  <c:v>24.99</c:v>
                </c:pt>
                <c:pt idx="3">
                  <c:v>37.1</c:v>
                </c:pt>
                <c:pt idx="4">
                  <c:v>41.37</c:v>
                </c:pt>
                <c:pt idx="5">
                  <c:v>11.75</c:v>
                </c:pt>
                <c:pt idx="6">
                  <c:v>57.88</c:v>
                </c:pt>
                <c:pt idx="7">
                  <c:v>93.81</c:v>
                </c:pt>
                <c:pt idx="8">
                  <c:v>96.96</c:v>
                </c:pt>
                <c:pt idx="9">
                  <c:v>61.81</c:v>
                </c:pt>
                <c:pt idx="10">
                  <c:v>13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C81-4068-902C-14A7A43F1D9C}"/>
                </c:ext>
              </c:extLst>
            </c:dLbl>
            <c:dLbl>
              <c:idx val="1"/>
              <c:tx>
                <c:rich>
                  <a:bodyPr/>
                  <a:lstStyle/>
                  <a:p>
                    <a:r>
                      <a:t>3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C81-4068-902C-14A7A43F1D9C}"/>
                </c:ext>
              </c:extLst>
            </c:dLbl>
            <c:dLbl>
              <c:idx val="2"/>
              <c:tx>
                <c:rich>
                  <a:bodyPr/>
                  <a:lstStyle/>
                  <a:p>
                    <a:r>
                      <a:t>37.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81-4068-902C-14A7A43F1D9C}"/>
                </c:ext>
              </c:extLst>
            </c:dLbl>
            <c:dLbl>
              <c:idx val="3"/>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81-4068-902C-14A7A43F1D9C}"/>
                </c:ext>
              </c:extLst>
            </c:dLbl>
            <c:dLbl>
              <c:idx val="4"/>
              <c:tx>
                <c:rich>
                  <a:bodyPr/>
                  <a:lstStyle/>
                  <a:p>
                    <a:r>
                      <a:t>41.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C81-4068-902C-14A7A43F1D9C}"/>
                </c:ext>
              </c:extLst>
            </c:dLbl>
            <c:dLbl>
              <c:idx val="5"/>
              <c:tx>
                <c:rich>
                  <a:bodyPr/>
                  <a:lstStyle/>
                  <a:p>
                    <a:r>
                      <a:t>11.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C81-4068-902C-14A7A43F1D9C}"/>
                </c:ext>
              </c:extLst>
            </c:dLbl>
            <c:dLbl>
              <c:idx val="6"/>
              <c:tx>
                <c:rich>
                  <a:bodyPr/>
                  <a:lstStyle/>
                  <a:p>
                    <a:r>
                      <a:t>57.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C81-4068-902C-14A7A43F1D9C}"/>
                </c:ext>
              </c:extLst>
            </c:dLbl>
            <c:dLbl>
              <c:idx val="7"/>
              <c:tx>
                <c:rich>
                  <a:bodyPr/>
                  <a:lstStyle/>
                  <a:p>
                    <a:r>
                      <a:t>9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C81-4068-902C-14A7A43F1D9C}"/>
                </c:ext>
              </c:extLst>
            </c:dLbl>
            <c:dLbl>
              <c:idx val="8"/>
              <c:tx>
                <c:rich>
                  <a:bodyPr/>
                  <a:lstStyle/>
                  <a:p>
                    <a:r>
                      <a:t>9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C81-4068-902C-14A7A43F1D9C}"/>
                </c:ext>
              </c:extLst>
            </c:dLbl>
            <c:dLbl>
              <c:idx val="9"/>
              <c:tx>
                <c:rich>
                  <a:bodyPr/>
                  <a:lstStyle/>
                  <a:p>
                    <a:r>
                      <a:t>61.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C81-4068-902C-14A7A43F1D9C}"/>
                </c:ext>
              </c:extLst>
            </c:dLbl>
            <c:dLbl>
              <c:idx val="10"/>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C81-4068-902C-14A7A43F1D9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49999999999997</c:v>
                </c:pt>
                <c:pt idx="2">
                  <c:v>37.08</c:v>
                </c:pt>
                <c:pt idx="3">
                  <c:v>25.02</c:v>
                </c:pt>
                <c:pt idx="4">
                  <c:v>41.04</c:v>
                </c:pt>
                <c:pt idx="5">
                  <c:v>11.73</c:v>
                </c:pt>
                <c:pt idx="6">
                  <c:v>57.93</c:v>
                </c:pt>
                <c:pt idx="7">
                  <c:v>93</c:v>
                </c:pt>
                <c:pt idx="8">
                  <c:v>96.83</c:v>
                </c:pt>
                <c:pt idx="9">
                  <c:v>61.85</c:v>
                </c:pt>
                <c:pt idx="10">
                  <c:v>139.44999999999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147-4658-89D9-204568A481A4}"/>
                </c:ext>
              </c:extLst>
            </c:dLbl>
            <c:dLbl>
              <c:idx val="1"/>
              <c:tx>
                <c:rich>
                  <a:bodyPr/>
                  <a:lstStyle/>
                  <a:p>
                    <a:r>
                      <a:t>39.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147-4658-89D9-204568A481A4}"/>
                </c:ext>
              </c:extLst>
            </c:dLbl>
            <c:dLbl>
              <c:idx val="2"/>
              <c:tx>
                <c:rich>
                  <a:bodyPr/>
                  <a:lstStyle/>
                  <a:p>
                    <a:r>
                      <a:t>24.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147-4658-89D9-204568A481A4}"/>
                </c:ext>
              </c:extLst>
            </c:dLbl>
            <c:dLbl>
              <c:idx val="3"/>
              <c:tx>
                <c:rich>
                  <a:bodyPr/>
                  <a:lstStyle/>
                  <a:p>
                    <a:r>
                      <a:t>37.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147-4658-89D9-204568A481A4}"/>
                </c:ext>
              </c:extLst>
            </c:dLbl>
            <c:dLbl>
              <c:idx val="4"/>
              <c:tx>
                <c:rich>
                  <a:bodyPr/>
                  <a:lstStyle/>
                  <a:p>
                    <a:r>
                      <a:t>42.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147-4658-89D9-204568A481A4}"/>
                </c:ext>
              </c:extLst>
            </c:dLbl>
            <c:dLbl>
              <c:idx val="5"/>
              <c:tx>
                <c:rich>
                  <a:bodyPr/>
                  <a:lstStyle/>
                  <a:p>
                    <a:r>
                      <a:t>11.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147-4658-89D9-204568A481A4}"/>
                </c:ext>
              </c:extLst>
            </c:dLbl>
            <c:dLbl>
              <c:idx val="6"/>
              <c:tx>
                <c:rich>
                  <a:bodyPr/>
                  <a:lstStyle/>
                  <a:p>
                    <a:r>
                      <a:t>5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147-4658-89D9-204568A481A4}"/>
                </c:ext>
              </c:extLst>
            </c:dLbl>
            <c:dLbl>
              <c:idx val="7"/>
              <c:tx>
                <c:rich>
                  <a:bodyPr/>
                  <a:lstStyle/>
                  <a:p>
                    <a:r>
                      <a:t>92.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147-4658-89D9-204568A481A4}"/>
                </c:ext>
              </c:extLst>
            </c:dLbl>
            <c:dLbl>
              <c:idx val="8"/>
              <c:tx>
                <c:rich>
                  <a:bodyPr/>
                  <a:lstStyle/>
                  <a:p>
                    <a:r>
                      <a:t>97.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147-4658-89D9-204568A481A4}"/>
                </c:ext>
              </c:extLst>
            </c:dLbl>
            <c:dLbl>
              <c:idx val="9"/>
              <c:tx>
                <c:rich>
                  <a:bodyPr/>
                  <a:lstStyle/>
                  <a:p>
                    <a:r>
                      <a:t>6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147-4658-89D9-204568A481A4}"/>
                </c:ext>
              </c:extLst>
            </c:dLbl>
            <c:dLbl>
              <c:idx val="10"/>
              <c:tx>
                <c:rich>
                  <a:bodyPr/>
                  <a:lstStyle/>
                  <a:p>
                    <a:r>
                      <a:t>138.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147-4658-89D9-204568A481A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1</c:v>
                </c:pt>
                <c:pt idx="1">
                  <c:v>39.020000000000003</c:v>
                </c:pt>
                <c:pt idx="2">
                  <c:v>24.91</c:v>
                </c:pt>
                <c:pt idx="3">
                  <c:v>37.07</c:v>
                </c:pt>
                <c:pt idx="4">
                  <c:v>42.78</c:v>
                </c:pt>
                <c:pt idx="5">
                  <c:v>11.73</c:v>
                </c:pt>
                <c:pt idx="6">
                  <c:v>57.7</c:v>
                </c:pt>
                <c:pt idx="7">
                  <c:v>92.85</c:v>
                </c:pt>
                <c:pt idx="8">
                  <c:v>97.19</c:v>
                </c:pt>
                <c:pt idx="9">
                  <c:v>61.53</c:v>
                </c:pt>
                <c:pt idx="10">
                  <c:v>138.58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249-4B39-9C8E-F88B41BB4ED0}"/>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249-4B39-9C8E-F88B41BB4ED0}"/>
                </c:ext>
              </c:extLst>
            </c:dLbl>
            <c:dLbl>
              <c:idx val="2"/>
              <c:tx>
                <c:rich>
                  <a:bodyPr/>
                  <a:lstStyle/>
                  <a:p>
                    <a:r>
                      <a:t>37.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249-4B39-9C8E-F88B41BB4ED0}"/>
                </c:ext>
              </c:extLst>
            </c:dLbl>
            <c:dLbl>
              <c:idx val="3"/>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249-4B39-9C8E-F88B41BB4ED0}"/>
                </c:ext>
              </c:extLst>
            </c:dLbl>
            <c:dLbl>
              <c:idx val="4"/>
              <c:tx>
                <c:rich>
                  <a:bodyPr/>
                  <a:lstStyle/>
                  <a:p>
                    <a:r>
                      <a:t>2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249-4B39-9C8E-F88B41BB4ED0}"/>
                </c:ext>
              </c:extLst>
            </c:dLbl>
            <c:dLbl>
              <c:idx val="5"/>
              <c:tx>
                <c:rich>
                  <a:bodyPr/>
                  <a:lstStyle/>
                  <a:p>
                    <a:r>
                      <a:t>4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249-4B39-9C8E-F88B41BB4ED0}"/>
                </c:ext>
              </c:extLst>
            </c:dLbl>
            <c:dLbl>
              <c:idx val="6"/>
              <c:tx>
                <c:rich>
                  <a:bodyPr/>
                  <a:lstStyle/>
                  <a:p>
                    <a:r>
                      <a:t>62.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249-4B39-9C8E-F88B41BB4ED0}"/>
                </c:ext>
              </c:extLst>
            </c:dLbl>
            <c:dLbl>
              <c:idx val="7"/>
              <c:tx>
                <c:rich>
                  <a:bodyPr/>
                  <a:lstStyle/>
                  <a:p>
                    <a:r>
                      <a:t>98.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249-4B39-9C8E-F88B41BB4ED0}"/>
                </c:ext>
              </c:extLst>
            </c:dLbl>
            <c:dLbl>
              <c:idx val="8"/>
              <c:tx>
                <c:rich>
                  <a:bodyPr/>
                  <a:lstStyle/>
                  <a:p>
                    <a:r>
                      <a:t>28.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249-4B39-9C8E-F88B41BB4ED0}"/>
                </c:ext>
              </c:extLst>
            </c:dLbl>
            <c:dLbl>
              <c:idx val="9"/>
              <c:tx>
                <c:rich>
                  <a:bodyPr/>
                  <a:lstStyle/>
                  <a:p>
                    <a:r>
                      <a:t>183.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249-4B39-9C8E-F88B41BB4ED0}"/>
                </c:ext>
              </c:extLst>
            </c:dLbl>
            <c:dLbl>
              <c:idx val="10"/>
              <c:tx>
                <c:rich>
                  <a:bodyPr/>
                  <a:lstStyle/>
                  <a:p>
                    <a:r>
                      <a:t>4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249-4B39-9C8E-F88B41BB4ED0}"/>
                </c:ext>
              </c:extLst>
            </c:dLbl>
            <c:dLbl>
              <c:idx val="11"/>
              <c:tx>
                <c:rich>
                  <a:bodyPr/>
                  <a:lstStyle/>
                  <a:p>
                    <a:r>
                      <a:t>84.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249-4B39-9C8E-F88B41BB4ED0}"/>
                </c:ext>
              </c:extLst>
            </c:dLbl>
            <c:dLbl>
              <c:idx val="12"/>
              <c:tx>
                <c:rich>
                  <a:bodyPr/>
                  <a:lstStyle/>
                  <a:p>
                    <a:r>
                      <a:t>79.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249-4B39-9C8E-F88B41BB4ED0}"/>
                </c:ext>
              </c:extLst>
            </c:dLbl>
            <c:dLbl>
              <c:idx val="13"/>
              <c:tx>
                <c:rich>
                  <a:bodyPr/>
                  <a:lstStyle/>
                  <a:p>
                    <a:r>
                      <a:t>57.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249-4B39-9C8E-F88B41BB4ED0}"/>
                </c:ext>
              </c:extLst>
            </c:dLbl>
            <c:dLbl>
              <c:idx val="14"/>
              <c:tx>
                <c:rich>
                  <a:bodyPr/>
                  <a:lstStyle/>
                  <a:p>
                    <a:r>
                      <a:t>109.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249-4B39-9C8E-F88B41BB4ED0}"/>
                </c:ext>
              </c:extLst>
            </c:dLbl>
            <c:dLbl>
              <c:idx val="15"/>
              <c:tx>
                <c:rich>
                  <a:bodyPr/>
                  <a:lstStyle/>
                  <a:p>
                    <a:r>
                      <a:t>5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C249-4B39-9C8E-F88B41BB4ED0}"/>
                </c:ext>
              </c:extLst>
            </c:dLbl>
            <c:dLbl>
              <c:idx val="16"/>
              <c:tx>
                <c:rich>
                  <a:bodyPr/>
                  <a:lstStyle/>
                  <a:p>
                    <a:r>
                      <a:t>9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C249-4B39-9C8E-F88B41BB4ED0}"/>
                </c:ext>
              </c:extLst>
            </c:dLbl>
            <c:dLbl>
              <c:idx val="17"/>
              <c:tx>
                <c:rich>
                  <a:bodyPr/>
                  <a:lstStyle/>
                  <a:p>
                    <a:r>
                      <a:t>9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C249-4B39-9C8E-F88B41BB4ED0}"/>
                </c:ext>
              </c:extLst>
            </c:dLbl>
            <c:dLbl>
              <c:idx val="18"/>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C249-4B39-9C8E-F88B41BB4ED0}"/>
                </c:ext>
              </c:extLst>
            </c:dLbl>
            <c:dLbl>
              <c:idx val="19"/>
              <c:tx>
                <c:rich>
                  <a:bodyPr/>
                  <a:lstStyle/>
                  <a:p>
                    <a:r>
                      <a:t>139.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C249-4B39-9C8E-F88B41BB4ED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92</c:v>
                </c:pt>
                <c:pt idx="1">
                  <c:v>38.979999999999997</c:v>
                </c:pt>
                <c:pt idx="2">
                  <c:v>37.26</c:v>
                </c:pt>
                <c:pt idx="3">
                  <c:v>25.01</c:v>
                </c:pt>
                <c:pt idx="4">
                  <c:v>22.3</c:v>
                </c:pt>
                <c:pt idx="5">
                  <c:v>49.98</c:v>
                </c:pt>
                <c:pt idx="6">
                  <c:v>62.13</c:v>
                </c:pt>
                <c:pt idx="7">
                  <c:v>98.85</c:v>
                </c:pt>
                <c:pt idx="8">
                  <c:v>28.14</c:v>
                </c:pt>
                <c:pt idx="9">
                  <c:v>183.53</c:v>
                </c:pt>
                <c:pt idx="10">
                  <c:v>44.58</c:v>
                </c:pt>
                <c:pt idx="11">
                  <c:v>84.48</c:v>
                </c:pt>
                <c:pt idx="12">
                  <c:v>79.989999999999995</c:v>
                </c:pt>
                <c:pt idx="13">
                  <c:v>57.16</c:v>
                </c:pt>
                <c:pt idx="14">
                  <c:v>109.48</c:v>
                </c:pt>
                <c:pt idx="15">
                  <c:v>57.9</c:v>
                </c:pt>
                <c:pt idx="16">
                  <c:v>93.15</c:v>
                </c:pt>
                <c:pt idx="17">
                  <c:v>96.97</c:v>
                </c:pt>
                <c:pt idx="18">
                  <c:v>61.89</c:v>
                </c:pt>
                <c:pt idx="19">
                  <c:v>139.27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3B3-484A-8D68-6117B4AB5B51}"/>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3B3-484A-8D68-6117B4AB5B51}"/>
                </c:ext>
              </c:extLst>
            </c:dLbl>
            <c:dLbl>
              <c:idx val="2"/>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B3-484A-8D68-6117B4AB5B51}"/>
                </c:ext>
              </c:extLst>
            </c:dLbl>
            <c:dLbl>
              <c:idx val="3"/>
              <c:tx>
                <c:rich>
                  <a:bodyPr/>
                  <a:lstStyle/>
                  <a:p>
                    <a:r>
                      <a:t>36.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B3-484A-8D68-6117B4AB5B51}"/>
                </c:ext>
              </c:extLst>
            </c:dLbl>
            <c:dLbl>
              <c:idx val="4"/>
              <c:tx>
                <c:rich>
                  <a:bodyPr/>
                  <a:lstStyle/>
                  <a:p>
                    <a:r>
                      <a:t>4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3B3-484A-8D68-6117B4AB5B51}"/>
                </c:ext>
              </c:extLst>
            </c:dLbl>
            <c:dLbl>
              <c:idx val="5"/>
              <c:tx>
                <c:rich>
                  <a:bodyPr/>
                  <a:lstStyle/>
                  <a:p>
                    <a:r>
                      <a:t>44.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3B3-484A-8D68-6117B4AB5B51}"/>
                </c:ext>
              </c:extLst>
            </c:dLbl>
            <c:dLbl>
              <c:idx val="6"/>
              <c:tx>
                <c:rich>
                  <a:bodyPr/>
                  <a:lstStyle/>
                  <a:p>
                    <a:r>
                      <a:t>8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3B3-484A-8D68-6117B4AB5B51}"/>
                </c:ext>
              </c:extLst>
            </c:dLbl>
            <c:dLbl>
              <c:idx val="7"/>
              <c:tx>
                <c:rich>
                  <a:bodyPr/>
                  <a:lstStyle/>
                  <a:p>
                    <a:r>
                      <a:t>79.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3B3-484A-8D68-6117B4AB5B51}"/>
                </c:ext>
              </c:extLst>
            </c:dLbl>
            <c:dLbl>
              <c:idx val="8"/>
              <c:tx>
                <c:rich>
                  <a:bodyPr/>
                  <a:lstStyle/>
                  <a:p>
                    <a:r>
                      <a:t>57.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3B3-484A-8D68-6117B4AB5B51}"/>
                </c:ext>
              </c:extLst>
            </c:dLbl>
            <c:dLbl>
              <c:idx val="9"/>
              <c:tx>
                <c:rich>
                  <a:bodyPr/>
                  <a:lstStyle/>
                  <a:p>
                    <a:r>
                      <a:t>64.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3B3-484A-8D68-6117B4AB5B51}"/>
                </c:ext>
              </c:extLst>
            </c:dLbl>
            <c:dLbl>
              <c:idx val="10"/>
              <c:tx>
                <c:rich>
                  <a:bodyPr/>
                  <a:lstStyle/>
                  <a:p>
                    <a:r>
                      <a:t>11.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3B3-484A-8D68-6117B4AB5B51}"/>
                </c:ext>
              </c:extLst>
            </c:dLbl>
            <c:dLbl>
              <c:idx val="11"/>
              <c:tx>
                <c:rich>
                  <a:bodyPr/>
                  <a:lstStyle/>
                  <a:p>
                    <a:r>
                      <a:t>9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3B3-484A-8D68-6117B4AB5B51}"/>
                </c:ext>
              </c:extLst>
            </c:dLbl>
            <c:dLbl>
              <c:idx val="12"/>
              <c:tx>
                <c:rich>
                  <a:bodyPr/>
                  <a:lstStyle/>
                  <a:p>
                    <a:r>
                      <a:t>58.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3B3-484A-8D68-6117B4AB5B51}"/>
                </c:ext>
              </c:extLst>
            </c:dLbl>
            <c:dLbl>
              <c:idx val="13"/>
              <c:tx>
                <c:rich>
                  <a:bodyPr/>
                  <a:lstStyle/>
                  <a:p>
                    <a:r>
                      <a:t>9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3B3-484A-8D68-6117B4AB5B51}"/>
                </c:ext>
              </c:extLst>
            </c:dLbl>
            <c:dLbl>
              <c:idx val="14"/>
              <c:tx>
                <c:rich>
                  <a:bodyPr/>
                  <a:lstStyle/>
                  <a:p>
                    <a:r>
                      <a:t>62.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3B3-484A-8D68-6117B4AB5B51}"/>
                </c:ext>
              </c:extLst>
            </c:dLbl>
            <c:dLbl>
              <c:idx val="15"/>
              <c:tx>
                <c:rich>
                  <a:bodyPr/>
                  <a:lstStyle/>
                  <a:p>
                    <a:r>
                      <a:t>13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3B3-484A-8D68-6117B4AB5B5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LYRE'S CLASSICO 1CT X 750ML</c:v>
                </c:pt>
                <c:pt idx="11">
                  <c:v>RUINART BLANC DE BLANCS (NUE) 1CT X 750ML</c:v>
                </c:pt>
                <c:pt idx="12">
                  <c:v>RUINART BRUT (NUE) 1CT X 750ML</c:v>
                </c:pt>
                <c:pt idx="13">
                  <c:v>RUINART BLANC DE BLANCS SECOND 1CT X 750ML</c:v>
                </c:pt>
                <c:pt idx="14">
                  <c:v>RUINART BRUT SECOND SKIN 1CT X 750ML</c:v>
                </c:pt>
                <c:pt idx="15">
                  <c:v>MG RUINART BRUT SECOND SKIN 1CT X 1500ML</c:v>
                </c:pt>
              </c:strCache>
            </c:strRef>
          </c:cat>
          <c:val>
            <c:numRef>
              <c:f>Sheet1!$B$2:$B$17</c:f>
              <c:numCache>
                <c:formatCode>General</c:formatCode>
                <c:ptCount val="16"/>
                <c:pt idx="0">
                  <c:v>21.93</c:v>
                </c:pt>
                <c:pt idx="1">
                  <c:v>39.08</c:v>
                </c:pt>
                <c:pt idx="2">
                  <c:v>25.02</c:v>
                </c:pt>
                <c:pt idx="3">
                  <c:v>36.89</c:v>
                </c:pt>
                <c:pt idx="4">
                  <c:v>46.93</c:v>
                </c:pt>
                <c:pt idx="5">
                  <c:v>44.64</c:v>
                </c:pt>
                <c:pt idx="6">
                  <c:v>85.28</c:v>
                </c:pt>
                <c:pt idx="7">
                  <c:v>79.84</c:v>
                </c:pt>
                <c:pt idx="8">
                  <c:v>57.69</c:v>
                </c:pt>
                <c:pt idx="9">
                  <c:v>64.09</c:v>
                </c:pt>
                <c:pt idx="10">
                  <c:v>11.82</c:v>
                </c:pt>
                <c:pt idx="11">
                  <c:v>92.88</c:v>
                </c:pt>
                <c:pt idx="12">
                  <c:v>58.24</c:v>
                </c:pt>
                <c:pt idx="13">
                  <c:v>97.84</c:v>
                </c:pt>
                <c:pt idx="14">
                  <c:v>62.54</c:v>
                </c:pt>
                <c:pt idx="15">
                  <c:v>1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E00-4B52-BB83-7F1734E4EFBD}"/>
                </c:ext>
              </c:extLst>
            </c:dLbl>
            <c:dLbl>
              <c:idx val="1"/>
              <c:tx>
                <c:rich>
                  <a:bodyPr/>
                  <a:lstStyle/>
                  <a:p>
                    <a:r>
                      <a:t>39.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E00-4B52-BB83-7F1734E4EFBD}"/>
                </c:ext>
              </c:extLst>
            </c:dLbl>
            <c:dLbl>
              <c:idx val="2"/>
              <c:tx>
                <c:rich>
                  <a:bodyPr/>
                  <a:lstStyle/>
                  <a:p>
                    <a:r>
                      <a:t>2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E00-4B52-BB83-7F1734E4EFBD}"/>
                </c:ext>
              </c:extLst>
            </c:dLbl>
            <c:dLbl>
              <c:idx val="3"/>
              <c:tx>
                <c:rich>
                  <a:bodyPr/>
                  <a:lstStyle/>
                  <a:p>
                    <a:r>
                      <a:t>36.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E00-4B52-BB83-7F1734E4EFBD}"/>
                </c:ext>
              </c:extLst>
            </c:dLbl>
            <c:dLbl>
              <c:idx val="4"/>
              <c:tx>
                <c:rich>
                  <a:bodyPr/>
                  <a:lstStyle/>
                  <a:p>
                    <a:r>
                      <a:t>4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E00-4B52-BB83-7F1734E4EFBD}"/>
                </c:ext>
              </c:extLst>
            </c:dLbl>
            <c:dLbl>
              <c:idx val="5"/>
              <c:tx>
                <c:rich>
                  <a:bodyPr/>
                  <a:lstStyle/>
                  <a:p>
                    <a:r>
                      <a:t>11.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E00-4B52-BB83-7F1734E4EFBD}"/>
                </c:ext>
              </c:extLst>
            </c:dLbl>
            <c:dLbl>
              <c:idx val="6"/>
              <c:tx>
                <c:rich>
                  <a:bodyPr/>
                  <a:lstStyle/>
                  <a:p>
                    <a:r>
                      <a:t>100.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E00-4B52-BB83-7F1734E4EFBD}"/>
                </c:ext>
              </c:extLst>
            </c:dLbl>
            <c:dLbl>
              <c:idx val="7"/>
              <c:tx>
                <c:rich>
                  <a:bodyPr/>
                  <a:lstStyle/>
                  <a:p>
                    <a:r>
                      <a:t>57.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E00-4B52-BB83-7F1734E4EFBD}"/>
                </c:ext>
              </c:extLst>
            </c:dLbl>
            <c:dLbl>
              <c:idx val="8"/>
              <c:tx>
                <c:rich>
                  <a:bodyPr/>
                  <a:lstStyle/>
                  <a:p>
                    <a:r>
                      <a:t>96.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E00-4B52-BB83-7F1734E4EFBD}"/>
                </c:ext>
              </c:extLst>
            </c:dLbl>
            <c:dLbl>
              <c:idx val="9"/>
              <c:tx>
                <c:rich>
                  <a:bodyPr/>
                  <a:lstStyle/>
                  <a:p>
                    <a:r>
                      <a:t>61.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E00-4B52-BB83-7F1734E4EFBD}"/>
                </c:ext>
              </c:extLst>
            </c:dLbl>
            <c:dLbl>
              <c:idx val="10"/>
              <c:tx>
                <c:rich>
                  <a:bodyPr/>
                  <a:lstStyle/>
                  <a:p>
                    <a:r>
                      <a:t>55.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E00-4B52-BB83-7F1734E4EFB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LANC DE BLANCS (NUE) 1CT X 750ML</c:v>
                </c:pt>
                <c:pt idx="7">
                  <c:v>RUINART BRUT (NUE) 1CT X 750ML</c:v>
                </c:pt>
                <c:pt idx="8">
                  <c:v>RUINART BLANC DE BLANCS SECOND 1CT X 750ML</c:v>
                </c:pt>
                <c:pt idx="9">
                  <c:v>RUINART BRUT SECOND SKIN 1CT X 750ML</c:v>
                </c:pt>
                <c:pt idx="10">
                  <c:v>1/2 RUINART BLANC DE BLANCS 1CT X 375ML</c:v>
                </c:pt>
              </c:strCache>
            </c:strRef>
          </c:cat>
          <c:val>
            <c:numRef>
              <c:f>Sheet1!$B$2:$B$12</c:f>
              <c:numCache>
                <c:formatCode>General</c:formatCode>
                <c:ptCount val="11"/>
                <c:pt idx="0">
                  <c:v>21.94</c:v>
                </c:pt>
                <c:pt idx="1">
                  <c:v>39.590000000000003</c:v>
                </c:pt>
                <c:pt idx="2">
                  <c:v>25.1</c:v>
                </c:pt>
                <c:pt idx="3">
                  <c:v>36.22</c:v>
                </c:pt>
                <c:pt idx="4">
                  <c:v>41.44</c:v>
                </c:pt>
                <c:pt idx="5">
                  <c:v>11.73</c:v>
                </c:pt>
                <c:pt idx="6">
                  <c:v>100.91</c:v>
                </c:pt>
                <c:pt idx="7">
                  <c:v>57.67</c:v>
                </c:pt>
                <c:pt idx="8">
                  <c:v>96.87</c:v>
                </c:pt>
                <c:pt idx="9">
                  <c:v>61.84</c:v>
                </c:pt>
                <c:pt idx="10">
                  <c:v>5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C16-4DBB-928E-C729B56E12E4}"/>
                </c:ext>
              </c:extLst>
            </c:dLbl>
            <c:dLbl>
              <c:idx val="1"/>
              <c:tx>
                <c:rich>
                  <a:bodyPr/>
                  <a:lstStyle/>
                  <a:p>
                    <a:r>
                      <a:rPr lang="en-CH"/>
                      <a:t>39.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C16-4DBB-928E-C729B56E12E4}"/>
                </c:ext>
              </c:extLst>
            </c:dLbl>
            <c:dLbl>
              <c:idx val="2"/>
              <c:tx>
                <c:rich>
                  <a:bodyPr/>
                  <a:lstStyle/>
                  <a:p>
                    <a:r>
                      <a:rPr lang="en-CH"/>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C16-4DBB-928E-C729B56E12E4}"/>
                </c:ext>
              </c:extLst>
            </c:dLbl>
            <c:dLbl>
              <c:idx val="3"/>
              <c:tx>
                <c:rich>
                  <a:bodyPr/>
                  <a:lstStyle/>
                  <a:p>
                    <a:r>
                      <a:rPr lang="en-CH"/>
                      <a:t>3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C16-4DBB-928E-C729B56E12E4}"/>
                </c:ext>
              </c:extLst>
            </c:dLbl>
            <c:dLbl>
              <c:idx val="4"/>
              <c:tx>
                <c:rich>
                  <a:bodyPr/>
                  <a:lstStyle/>
                  <a:p>
                    <a:r>
                      <a:rPr lang="en-CH"/>
                      <a:t>2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C16-4DBB-928E-C729B56E12E4}"/>
                </c:ext>
              </c:extLst>
            </c:dLbl>
            <c:dLbl>
              <c:idx val="5"/>
              <c:tx>
                <c:rich>
                  <a:bodyPr/>
                  <a:lstStyle/>
                  <a:p>
                    <a:r>
                      <a:rPr lang="en-CH"/>
                      <a:t>47.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C16-4DBB-928E-C729B56E12E4}"/>
                </c:ext>
              </c:extLst>
            </c:dLbl>
            <c:dLbl>
              <c:idx val="6"/>
              <c:tx>
                <c:rich>
                  <a:bodyPr/>
                  <a:lstStyle/>
                  <a:p>
                    <a:r>
                      <a:rPr lang="en-CH"/>
                      <a:t>2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C16-4DBB-928E-C729B56E12E4}"/>
                </c:ext>
              </c:extLst>
            </c:dLbl>
            <c:dLbl>
              <c:idx val="7"/>
              <c:tx>
                <c:rich>
                  <a:bodyPr/>
                  <a:lstStyle/>
                  <a:p>
                    <a:r>
                      <a:rPr lang="en-CH"/>
                      <a:t>4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C16-4DBB-928E-C729B56E12E4}"/>
                </c:ext>
              </c:extLst>
            </c:dLbl>
            <c:dLbl>
              <c:idx val="8"/>
              <c:tx>
                <c:rich>
                  <a:bodyPr/>
                  <a:lstStyle/>
                  <a:p>
                    <a:r>
                      <a:rPr lang="en-CH"/>
                      <a:t>4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C16-4DBB-928E-C729B56E12E4}"/>
                </c:ext>
              </c:extLst>
            </c:dLbl>
            <c:dLbl>
              <c:idx val="9"/>
              <c:tx>
                <c:rich>
                  <a:bodyPr/>
                  <a:lstStyle/>
                  <a:p>
                    <a:r>
                      <a:rPr lang="en-CH"/>
                      <a:t>37.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C16-4DBB-928E-C729B56E12E4}"/>
                </c:ext>
              </c:extLst>
            </c:dLbl>
            <c:dLbl>
              <c:idx val="10"/>
              <c:tx>
                <c:rich>
                  <a:bodyPr/>
                  <a:lstStyle/>
                  <a:p>
                    <a:r>
                      <a:rPr lang="en-CH"/>
                      <a:t>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C16-4DBB-928E-C729B56E12E4}"/>
                </c:ext>
              </c:extLst>
            </c:dLbl>
            <c:dLbl>
              <c:idx val="11"/>
              <c:tx>
                <c:rich>
                  <a:bodyPr/>
                  <a:lstStyle/>
                  <a:p>
                    <a:r>
                      <a:rPr lang="en-CH"/>
                      <a:t>7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C16-4DBB-928E-C729B56E12E4}"/>
                </c:ext>
              </c:extLst>
            </c:dLbl>
            <c:dLbl>
              <c:idx val="12"/>
              <c:tx>
                <c:rich>
                  <a:bodyPr/>
                  <a:lstStyle/>
                  <a:p>
                    <a:r>
                      <a:rPr lang="en-CH"/>
                      <a:t>3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C16-4DBB-928E-C729B56E12E4}"/>
                </c:ext>
              </c:extLst>
            </c:dLbl>
            <c:dLbl>
              <c:idx val="13"/>
              <c:tx>
                <c:rich>
                  <a:bodyPr/>
                  <a:lstStyle/>
                  <a:p>
                    <a:r>
                      <a:rPr lang="en-CH"/>
                      <a:t>3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C16-4DBB-928E-C729B56E12E4}"/>
                </c:ext>
              </c:extLst>
            </c:dLbl>
            <c:dLbl>
              <c:idx val="14"/>
              <c:tx>
                <c:rich>
                  <a:bodyPr/>
                  <a:lstStyle/>
                  <a:p>
                    <a:r>
                      <a:rPr lang="en-CH"/>
                      <a:t>7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C16-4DBB-928E-C729B56E12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strCache>
            </c:strRef>
          </c:cat>
          <c:val>
            <c:numRef>
              <c:f>Sheet1!$B$2:$B$16</c:f>
              <c:numCache>
                <c:formatCode>General</c:formatCode>
                <c:ptCount val="15"/>
                <c:pt idx="0">
                  <c:v>21.9</c:v>
                </c:pt>
                <c:pt idx="1">
                  <c:v>39.18</c:v>
                </c:pt>
                <c:pt idx="2">
                  <c:v>25</c:v>
                </c:pt>
                <c:pt idx="3">
                  <c:v>36.549999999999997</c:v>
                </c:pt>
                <c:pt idx="4">
                  <c:v>22.95</c:v>
                </c:pt>
                <c:pt idx="5">
                  <c:v>47.33</c:v>
                </c:pt>
                <c:pt idx="6">
                  <c:v>23.93</c:v>
                </c:pt>
                <c:pt idx="7">
                  <c:v>45.77</c:v>
                </c:pt>
                <c:pt idx="8">
                  <c:v>42.07</c:v>
                </c:pt>
                <c:pt idx="9">
                  <c:v>37.67</c:v>
                </c:pt>
                <c:pt idx="10">
                  <c:v>23.6</c:v>
                </c:pt>
                <c:pt idx="11">
                  <c:v>78.81</c:v>
                </c:pt>
                <c:pt idx="12">
                  <c:v>37.42</c:v>
                </c:pt>
                <c:pt idx="13">
                  <c:v>36.229999999999997</c:v>
                </c:pt>
                <c:pt idx="14">
                  <c:v>77.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E6B-4D34-9DF1-A7E4424D7E3F}"/>
                </c:ext>
              </c:extLst>
            </c:dLbl>
            <c:dLbl>
              <c:idx val="1"/>
              <c:tx>
                <c:rich>
                  <a:bodyPr/>
                  <a:lstStyle/>
                  <a:p>
                    <a:r>
                      <a:t>3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E6B-4D34-9DF1-A7E4424D7E3F}"/>
                </c:ext>
              </c:extLst>
            </c:dLbl>
            <c:dLbl>
              <c:idx val="2"/>
              <c:tx>
                <c:rich>
                  <a:bodyPr/>
                  <a:lstStyle/>
                  <a:p>
                    <a:r>
                      <a:t>2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E6B-4D34-9DF1-A7E4424D7E3F}"/>
                </c:ext>
              </c:extLst>
            </c:dLbl>
            <c:dLbl>
              <c:idx val="3"/>
              <c:tx>
                <c:rich>
                  <a:bodyPr/>
                  <a:lstStyle/>
                  <a:p>
                    <a:r>
                      <a:t>36.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E6B-4D34-9DF1-A7E4424D7E3F}"/>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E6B-4D34-9DF1-A7E4424D7E3F}"/>
                </c:ext>
              </c:extLst>
            </c:dLbl>
            <c:dLbl>
              <c:idx val="5"/>
              <c:tx>
                <c:rich>
                  <a:bodyPr/>
                  <a:lstStyle/>
                  <a:p>
                    <a:r>
                      <a:t>11.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E6B-4D34-9DF1-A7E4424D7E3F}"/>
                </c:ext>
              </c:extLst>
            </c:dLbl>
            <c:dLbl>
              <c:idx val="6"/>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E6B-4D34-9DF1-A7E4424D7E3F}"/>
                </c:ext>
              </c:extLst>
            </c:dLbl>
            <c:dLbl>
              <c:idx val="7"/>
              <c:tx>
                <c:rich>
                  <a:bodyPr/>
                  <a:lstStyle/>
                  <a:p>
                    <a:r>
                      <a:t>9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E6B-4D34-9DF1-A7E4424D7E3F}"/>
                </c:ext>
              </c:extLst>
            </c:dLbl>
            <c:dLbl>
              <c:idx val="8"/>
              <c:tx>
                <c:rich>
                  <a:bodyPr/>
                  <a:lstStyle/>
                  <a:p>
                    <a:r>
                      <a:t>97.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E6B-4D34-9DF1-A7E4424D7E3F}"/>
                </c:ext>
              </c:extLst>
            </c:dLbl>
            <c:dLbl>
              <c:idx val="9"/>
              <c:tx>
                <c:rich>
                  <a:bodyPr/>
                  <a:lstStyle/>
                  <a:p>
                    <a:r>
                      <a:t>6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E6B-4D34-9DF1-A7E4424D7E3F}"/>
                </c:ext>
              </c:extLst>
            </c:dLbl>
            <c:dLbl>
              <c:idx val="10"/>
              <c:tx>
                <c:rich>
                  <a:bodyPr/>
                  <a:lstStyle/>
                  <a:p>
                    <a:r>
                      <a:t>139.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E6B-4D34-9DF1-A7E4424D7E3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2</c:v>
                </c:pt>
                <c:pt idx="1">
                  <c:v>39</c:v>
                </c:pt>
                <c:pt idx="2">
                  <c:v>25</c:v>
                </c:pt>
                <c:pt idx="3">
                  <c:v>36.99</c:v>
                </c:pt>
                <c:pt idx="4">
                  <c:v>41.37</c:v>
                </c:pt>
                <c:pt idx="5">
                  <c:v>11.71</c:v>
                </c:pt>
                <c:pt idx="6">
                  <c:v>57.87</c:v>
                </c:pt>
                <c:pt idx="7">
                  <c:v>92.9</c:v>
                </c:pt>
                <c:pt idx="8">
                  <c:v>97.18</c:v>
                </c:pt>
                <c:pt idx="9">
                  <c:v>61.93</c:v>
                </c:pt>
                <c:pt idx="10">
                  <c:v>139.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AA3-4D9F-9174-57281EDE946D}"/>
                </c:ext>
              </c:extLst>
            </c:dLbl>
            <c:dLbl>
              <c:idx val="1"/>
              <c:tx>
                <c:rich>
                  <a:bodyPr/>
                  <a:lstStyle/>
                  <a:p>
                    <a:r>
                      <a:t>3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AA3-4D9F-9174-57281EDE946D}"/>
                </c:ext>
              </c:extLst>
            </c:dLbl>
            <c:dLbl>
              <c:idx val="2"/>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AA3-4D9F-9174-57281EDE946D}"/>
                </c:ext>
              </c:extLst>
            </c:dLbl>
            <c:dLbl>
              <c:idx val="3"/>
              <c:tx>
                <c:rich>
                  <a:bodyPr/>
                  <a:lstStyle/>
                  <a:p>
                    <a:r>
                      <a:t>25.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AA3-4D9F-9174-57281EDE946D}"/>
                </c:ext>
              </c:extLst>
            </c:dLbl>
            <c:dLbl>
              <c:idx val="4"/>
              <c:tx>
                <c:rich>
                  <a:bodyPr/>
                  <a:lstStyle/>
                  <a:p>
                    <a:r>
                      <a:t>4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AA3-4D9F-9174-57281EDE946D}"/>
                </c:ext>
              </c:extLst>
            </c:dLbl>
            <c:dLbl>
              <c:idx val="5"/>
              <c:tx>
                <c:rich>
                  <a:bodyPr/>
                  <a:lstStyle/>
                  <a:p>
                    <a:r>
                      <a:t>1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AA3-4D9F-9174-57281EDE946D}"/>
                </c:ext>
              </c:extLst>
            </c:dLbl>
            <c:dLbl>
              <c:idx val="6"/>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AA3-4D9F-9174-57281EDE946D}"/>
                </c:ext>
              </c:extLst>
            </c:dLbl>
            <c:dLbl>
              <c:idx val="7"/>
              <c:tx>
                <c:rich>
                  <a:bodyPr/>
                  <a:lstStyle/>
                  <a:p>
                    <a:r>
                      <a:t>57.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AA3-4D9F-9174-57281EDE946D}"/>
                </c:ext>
              </c:extLst>
            </c:dLbl>
            <c:dLbl>
              <c:idx val="8"/>
              <c:tx>
                <c:rich>
                  <a:bodyPr/>
                  <a:lstStyle/>
                  <a:p>
                    <a:r>
                      <a:t>96.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AA3-4D9F-9174-57281EDE946D}"/>
                </c:ext>
              </c:extLst>
            </c:dLbl>
            <c:dLbl>
              <c:idx val="9"/>
              <c:tx>
                <c:rich>
                  <a:bodyPr/>
                  <a:lstStyle/>
                  <a:p>
                    <a:r>
                      <a:t>6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AA3-4D9F-9174-57281EDE946D}"/>
                </c:ext>
              </c:extLst>
            </c:dLbl>
            <c:dLbl>
              <c:idx val="10"/>
              <c:tx>
                <c:rich>
                  <a:bodyPr/>
                  <a:lstStyle/>
                  <a:p>
                    <a:r>
                      <a:t>90.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AA3-4D9F-9174-57281EDE946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YRE'S CLASSICO 1CT X 750ML</c:v>
                </c:pt>
                <c:pt idx="6">
                  <c:v>RUINART BLANC DE BLANCS (NUE) 1CT X 750ML</c:v>
                </c:pt>
                <c:pt idx="7">
                  <c:v>RUINART BRUT (NUE) 1CT X 750ML</c:v>
                </c:pt>
                <c:pt idx="8">
                  <c:v>RUINART BLANC DE BLANCS SECOND 1CT X 750ML</c:v>
                </c:pt>
                <c:pt idx="9">
                  <c:v>RUINART BRUT SECOND SKIN 1CT X 750ML</c:v>
                </c:pt>
                <c:pt idx="10">
                  <c:v>RUINART ROSE (NUE) 1CT X 750ML</c:v>
                </c:pt>
              </c:strCache>
            </c:strRef>
          </c:cat>
          <c:val>
            <c:numRef>
              <c:f>Sheet1!$B$2:$B$12</c:f>
              <c:numCache>
                <c:formatCode>General</c:formatCode>
                <c:ptCount val="11"/>
                <c:pt idx="0">
                  <c:v>21.92</c:v>
                </c:pt>
                <c:pt idx="1">
                  <c:v>39.200000000000003</c:v>
                </c:pt>
                <c:pt idx="2">
                  <c:v>37.29</c:v>
                </c:pt>
                <c:pt idx="3">
                  <c:v>25.16</c:v>
                </c:pt>
                <c:pt idx="4">
                  <c:v>40.729999999999997</c:v>
                </c:pt>
                <c:pt idx="5">
                  <c:v>11.92</c:v>
                </c:pt>
                <c:pt idx="6">
                  <c:v>95.19</c:v>
                </c:pt>
                <c:pt idx="7">
                  <c:v>57.77</c:v>
                </c:pt>
                <c:pt idx="8">
                  <c:v>96.67</c:v>
                </c:pt>
                <c:pt idx="9">
                  <c:v>62.43</c:v>
                </c:pt>
                <c:pt idx="10">
                  <c:v>90.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DCF-4412-B98A-439D26127567}"/>
                </c:ext>
              </c:extLst>
            </c:dLbl>
            <c:dLbl>
              <c:idx val="1"/>
              <c:tx>
                <c:rich>
                  <a:bodyPr/>
                  <a:lstStyle/>
                  <a:p>
                    <a:r>
                      <a:t>37.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DCF-4412-B98A-439D26127567}"/>
                </c:ext>
              </c:extLst>
            </c:dLbl>
            <c:dLbl>
              <c:idx val="2"/>
              <c:tx>
                <c:rich>
                  <a:bodyPr/>
                  <a:lstStyle/>
                  <a:p>
                    <a:r>
                      <a:t>39.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DCF-4412-B98A-439D26127567}"/>
                </c:ext>
              </c:extLst>
            </c:dLbl>
            <c:dLbl>
              <c:idx val="3"/>
              <c:tx>
                <c:rich>
                  <a:bodyPr/>
                  <a:lstStyle/>
                  <a:p>
                    <a:r>
                      <a:t>2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DCF-4412-B98A-439D26127567}"/>
                </c:ext>
              </c:extLst>
            </c:dLbl>
            <c:dLbl>
              <c:idx val="4"/>
              <c:tx>
                <c:rich>
                  <a:bodyPr/>
                  <a:lstStyle/>
                  <a:p>
                    <a:r>
                      <a:t>42.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DCF-4412-B98A-439D26127567}"/>
                </c:ext>
              </c:extLst>
            </c:dLbl>
            <c:dLbl>
              <c:idx val="5"/>
              <c:tx>
                <c:rich>
                  <a:bodyPr/>
                  <a:lstStyle/>
                  <a:p>
                    <a:r>
                      <a:t>4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DCF-4412-B98A-439D26127567}"/>
                </c:ext>
              </c:extLst>
            </c:dLbl>
            <c:dLbl>
              <c:idx val="6"/>
              <c:tx>
                <c:rich>
                  <a:bodyPr/>
                  <a:lstStyle/>
                  <a:p>
                    <a:r>
                      <a:t>10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DCF-4412-B98A-439D26127567}"/>
                </c:ext>
              </c:extLst>
            </c:dLbl>
            <c:dLbl>
              <c:idx val="7"/>
              <c:tx>
                <c:rich>
                  <a:bodyPr/>
                  <a:lstStyle/>
                  <a:p>
                    <a:r>
                      <a:t>64.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DCF-4412-B98A-439D26127567}"/>
                </c:ext>
              </c:extLst>
            </c:dLbl>
            <c:dLbl>
              <c:idx val="8"/>
              <c:tx>
                <c:rich>
                  <a:bodyPr/>
                  <a:lstStyle/>
                  <a:p>
                    <a:r>
                      <a:t>27.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DCF-4412-B98A-439D26127567}"/>
                </c:ext>
              </c:extLst>
            </c:dLbl>
            <c:dLbl>
              <c:idx val="9"/>
              <c:tx>
                <c:rich>
                  <a:bodyPr/>
                  <a:lstStyle/>
                  <a:p>
                    <a:r>
                      <a:t>11.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DCF-4412-B98A-439D26127567}"/>
                </c:ext>
              </c:extLst>
            </c:dLbl>
            <c:dLbl>
              <c:idx val="10"/>
              <c:tx>
                <c:rich>
                  <a:bodyPr/>
                  <a:lstStyle/>
                  <a:p>
                    <a:r>
                      <a:t>58.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DCF-4412-B98A-439D26127567}"/>
                </c:ext>
              </c:extLst>
            </c:dLbl>
            <c:dLbl>
              <c:idx val="11"/>
              <c:tx>
                <c:rich>
                  <a:bodyPr/>
                  <a:lstStyle/>
                  <a:p>
                    <a:r>
                      <a:t>9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DCF-4412-B98A-439D26127567}"/>
                </c:ext>
              </c:extLst>
            </c:dLbl>
            <c:dLbl>
              <c:idx val="12"/>
              <c:tx>
                <c:rich>
                  <a:bodyPr/>
                  <a:lstStyle/>
                  <a:p>
                    <a:r>
                      <a:t>95.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DCF-4412-B98A-439D26127567}"/>
                </c:ext>
              </c:extLst>
            </c:dLbl>
            <c:dLbl>
              <c:idx val="13"/>
              <c:tx>
                <c:rich>
                  <a:bodyPr/>
                  <a:lstStyle/>
                  <a:p>
                    <a:r>
                      <a:t>6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DCF-4412-B98A-439D26127567}"/>
                </c:ext>
              </c:extLst>
            </c:dLbl>
            <c:dLbl>
              <c:idx val="14"/>
              <c:tx>
                <c:rich>
                  <a:bodyPr/>
                  <a:lstStyle/>
                  <a:p>
                    <a:r>
                      <a:t>141.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DCF-4412-B98A-439D2612756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DEUTZ CLASSIC BRUT 1CT X 750ML</c:v>
                </c:pt>
                <c:pt idx="6">
                  <c:v>MG DEUTZ CLASSIC 1CT X 1500ML</c:v>
                </c:pt>
                <c:pt idx="7">
                  <c:v>DEUTZ ROSE 1CT X 750ML</c:v>
                </c:pt>
                <c:pt idx="8">
                  <c:v>1/2 DEUTZ CLASSIC BRUT 1CT X 375ML</c:v>
                </c:pt>
                <c:pt idx="9">
                  <c:v>LYRE'S CLASSICO 1CT X 750ML</c:v>
                </c:pt>
                <c:pt idx="10">
                  <c:v>RUINART BRUT (NUE) 1CT X 750ML</c:v>
                </c:pt>
                <c:pt idx="11">
                  <c:v>RUINART BLANC DE BLANCS (NUE) 1CT X 750ML</c:v>
                </c:pt>
                <c:pt idx="12">
                  <c:v>RUINART BLANC DE BLANCS SECOND 1CT X 750ML</c:v>
                </c:pt>
                <c:pt idx="13">
                  <c:v>RUINART BRUT SECOND SKIN 1CT X 750ML</c:v>
                </c:pt>
                <c:pt idx="14">
                  <c:v>MG RUINART BRUT SECOND SKIN 1CT X 1500ML</c:v>
                </c:pt>
              </c:strCache>
            </c:strRef>
          </c:cat>
          <c:val>
            <c:numRef>
              <c:f>Sheet1!$B$2:$B$16</c:f>
              <c:numCache>
                <c:formatCode>General</c:formatCode>
                <c:ptCount val="15"/>
                <c:pt idx="0">
                  <c:v>21.94</c:v>
                </c:pt>
                <c:pt idx="1">
                  <c:v>37.090000000000003</c:v>
                </c:pt>
                <c:pt idx="2">
                  <c:v>39.229999999999997</c:v>
                </c:pt>
                <c:pt idx="3">
                  <c:v>25.28</c:v>
                </c:pt>
                <c:pt idx="4">
                  <c:v>42.73</c:v>
                </c:pt>
                <c:pt idx="5">
                  <c:v>49.79</c:v>
                </c:pt>
                <c:pt idx="6">
                  <c:v>101.52</c:v>
                </c:pt>
                <c:pt idx="7">
                  <c:v>64.53</c:v>
                </c:pt>
                <c:pt idx="8">
                  <c:v>27.56</c:v>
                </c:pt>
                <c:pt idx="9">
                  <c:v>11.76</c:v>
                </c:pt>
                <c:pt idx="10">
                  <c:v>58.22</c:v>
                </c:pt>
                <c:pt idx="11">
                  <c:v>93.33</c:v>
                </c:pt>
                <c:pt idx="12">
                  <c:v>95.56</c:v>
                </c:pt>
                <c:pt idx="13">
                  <c:v>61.44</c:v>
                </c:pt>
                <c:pt idx="14">
                  <c:v>141.16999999999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F03-4D8C-A9FC-759BFC779A7A}"/>
                </c:ext>
              </c:extLst>
            </c:dLbl>
            <c:dLbl>
              <c:idx val="1"/>
              <c:tx>
                <c:rich>
                  <a:bodyPr/>
                  <a:lstStyle/>
                  <a:p>
                    <a:r>
                      <a:t>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F03-4D8C-A9FC-759BFC779A7A}"/>
                </c:ext>
              </c:extLst>
            </c:dLbl>
            <c:dLbl>
              <c:idx val="2"/>
              <c:tx>
                <c:rich>
                  <a:bodyPr/>
                  <a:lstStyle/>
                  <a:p>
                    <a:r>
                      <a:t>38.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F03-4D8C-A9FC-759BFC779A7A}"/>
                </c:ext>
              </c:extLst>
            </c:dLbl>
            <c:dLbl>
              <c:idx val="3"/>
              <c:tx>
                <c:rich>
                  <a:bodyPr/>
                  <a:lstStyle/>
                  <a:p>
                    <a:r>
                      <a:t>36.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F03-4D8C-A9FC-759BFC779A7A}"/>
                </c:ext>
              </c:extLst>
            </c:dLbl>
            <c:dLbl>
              <c:idx val="4"/>
              <c:tx>
                <c:rich>
                  <a:bodyPr/>
                  <a:lstStyle/>
                  <a:p>
                    <a:r>
                      <a:t>3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F03-4D8C-A9FC-759BFC779A7A}"/>
                </c:ext>
              </c:extLst>
            </c:dLbl>
            <c:dLbl>
              <c:idx val="5"/>
              <c:tx>
                <c:rich>
                  <a:bodyPr/>
                  <a:lstStyle/>
                  <a:p>
                    <a:r>
                      <a:t>50.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F03-4D8C-A9FC-759BFC779A7A}"/>
                </c:ext>
              </c:extLst>
            </c:dLbl>
            <c:dLbl>
              <c:idx val="6"/>
              <c:tx>
                <c:rich>
                  <a:bodyPr/>
                  <a:lstStyle/>
                  <a:p>
                    <a:r>
                      <a:t>102.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F03-4D8C-A9FC-759BFC779A7A}"/>
                </c:ext>
              </c:extLst>
            </c:dLbl>
            <c:dLbl>
              <c:idx val="7"/>
              <c:tx>
                <c:rich>
                  <a:bodyPr/>
                  <a:lstStyle/>
                  <a:p>
                    <a:r>
                      <a:t>6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F03-4D8C-A9FC-759BFC779A7A}"/>
                </c:ext>
              </c:extLst>
            </c:dLbl>
            <c:dLbl>
              <c:idx val="8"/>
              <c:tx>
                <c:rich>
                  <a:bodyPr/>
                  <a:lstStyle/>
                  <a:p>
                    <a:r>
                      <a:t>27.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F03-4D8C-A9FC-759BFC779A7A}"/>
                </c:ext>
              </c:extLst>
            </c:dLbl>
            <c:dLbl>
              <c:idx val="9"/>
              <c:tx>
                <c:rich>
                  <a:bodyPr/>
                  <a:lstStyle/>
                  <a:p>
                    <a:r>
                      <a:t>1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F03-4D8C-A9FC-759BFC779A7A}"/>
                </c:ext>
              </c:extLst>
            </c:dLbl>
            <c:dLbl>
              <c:idx val="10"/>
              <c:tx>
                <c:rich>
                  <a:bodyPr/>
                  <a:lstStyle/>
                  <a:p>
                    <a:r>
                      <a:t>57.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F03-4D8C-A9FC-759BFC779A7A}"/>
                </c:ext>
              </c:extLst>
            </c:dLbl>
            <c:dLbl>
              <c:idx val="11"/>
              <c:tx>
                <c:rich>
                  <a:bodyPr/>
                  <a:lstStyle/>
                  <a:p>
                    <a:r>
                      <a:t>94.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F03-4D8C-A9FC-759BFC779A7A}"/>
                </c:ext>
              </c:extLst>
            </c:dLbl>
            <c:dLbl>
              <c:idx val="12"/>
              <c:tx>
                <c:rich>
                  <a:bodyPr/>
                  <a:lstStyle/>
                  <a:p>
                    <a:r>
                      <a:t>13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F03-4D8C-A9FC-759BFC779A7A}"/>
                </c:ext>
              </c:extLst>
            </c:dLbl>
            <c:dLbl>
              <c:idx val="13"/>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F03-4D8C-A9FC-759BFC779A7A}"/>
                </c:ext>
              </c:extLst>
            </c:dLbl>
            <c:dLbl>
              <c:idx val="14"/>
              <c:tx>
                <c:rich>
                  <a:bodyPr/>
                  <a:lstStyle/>
                  <a:p>
                    <a:r>
                      <a:t>89.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F03-4D8C-A9FC-759BFC779A7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DEUTZ CLASSIC BRUT 1CT X 750ML</c:v>
                </c:pt>
                <c:pt idx="6">
                  <c:v>MG DEUTZ CLASSIC 1CT X 1500ML</c:v>
                </c:pt>
                <c:pt idx="7">
                  <c:v>DEUTZ ROSE 1CT X 750ML</c:v>
                </c:pt>
                <c:pt idx="8">
                  <c:v>1/2 DEUTZ CLASSIC BRUT 1CT X 375ML</c:v>
                </c:pt>
                <c:pt idx="9">
                  <c:v>LYRE'S CLASSICO 1CT X 750ML</c:v>
                </c:pt>
                <c:pt idx="10">
                  <c:v>RUINART BRUT (NUE) 1CT X 750ML</c:v>
                </c:pt>
                <c:pt idx="11">
                  <c:v>RUINART BLANC DE BLANCS (NUE) 1CT X 750ML</c:v>
                </c:pt>
                <c:pt idx="12">
                  <c:v>MG RUINART BRUT SECOND SKIN 1CT X 1500ML</c:v>
                </c:pt>
                <c:pt idx="13">
                  <c:v>RUINART BLANC DE BLANCS SECOND 1CT X 750ML</c:v>
                </c:pt>
                <c:pt idx="14">
                  <c:v>RUINART ROSE (NUE) 1CT X 750ML</c:v>
                </c:pt>
              </c:strCache>
            </c:strRef>
          </c:cat>
          <c:val>
            <c:numRef>
              <c:f>Sheet1!$B$2:$B$16</c:f>
              <c:numCache>
                <c:formatCode>General</c:formatCode>
                <c:ptCount val="15"/>
                <c:pt idx="0">
                  <c:v>21.91</c:v>
                </c:pt>
                <c:pt idx="1">
                  <c:v>25.19</c:v>
                </c:pt>
                <c:pt idx="2">
                  <c:v>38.74</c:v>
                </c:pt>
                <c:pt idx="3">
                  <c:v>36.64</c:v>
                </c:pt>
                <c:pt idx="4">
                  <c:v>36</c:v>
                </c:pt>
                <c:pt idx="5">
                  <c:v>50.19</c:v>
                </c:pt>
                <c:pt idx="6">
                  <c:v>102.32</c:v>
                </c:pt>
                <c:pt idx="7">
                  <c:v>61.97</c:v>
                </c:pt>
                <c:pt idx="8">
                  <c:v>27.52</c:v>
                </c:pt>
                <c:pt idx="9">
                  <c:v>11.91</c:v>
                </c:pt>
                <c:pt idx="10">
                  <c:v>57.91</c:v>
                </c:pt>
                <c:pt idx="11">
                  <c:v>94.19</c:v>
                </c:pt>
                <c:pt idx="12">
                  <c:v>133.91</c:v>
                </c:pt>
                <c:pt idx="13">
                  <c:v>99.39</c:v>
                </c:pt>
                <c:pt idx="14">
                  <c:v>89.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42-4A85-ADF1-0BE6F863D0B2}"/>
                </c:ext>
              </c:extLst>
            </c:dLbl>
            <c:dLbl>
              <c:idx val="1"/>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42-4A85-ADF1-0BE6F863D0B2}"/>
                </c:ext>
              </c:extLst>
            </c:dLbl>
            <c:dLbl>
              <c:idx val="2"/>
              <c:tx>
                <c:rich>
                  <a:bodyPr/>
                  <a:lstStyle/>
                  <a:p>
                    <a:r>
                      <a:t>38.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742-4A85-ADF1-0BE6F863D0B2}"/>
                </c:ext>
              </c:extLst>
            </c:dLbl>
            <c:dLbl>
              <c:idx val="3"/>
              <c:tx>
                <c:rich>
                  <a:bodyPr/>
                  <a:lstStyle/>
                  <a:p>
                    <a:r>
                      <a:t>49.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742-4A85-ADF1-0BE6F863D0B2}"/>
                </c:ext>
              </c:extLst>
            </c:dLbl>
            <c:dLbl>
              <c:idx val="4"/>
              <c:tx>
                <c:rich>
                  <a:bodyPr/>
                  <a:lstStyle/>
                  <a:p>
                    <a:r>
                      <a:t>97.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742-4A85-ADF1-0BE6F863D0B2}"/>
                </c:ext>
              </c:extLst>
            </c:dLbl>
            <c:dLbl>
              <c:idx val="5"/>
              <c:tx>
                <c:rich>
                  <a:bodyPr/>
                  <a:lstStyle/>
                  <a:p>
                    <a:r>
                      <a:t>60.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742-4A85-ADF1-0BE6F863D0B2}"/>
                </c:ext>
              </c:extLst>
            </c:dLbl>
            <c:dLbl>
              <c:idx val="6"/>
              <c:tx>
                <c:rich>
                  <a:bodyPr/>
                  <a:lstStyle/>
                  <a:p>
                    <a:r>
                      <a:t>20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742-4A85-ADF1-0BE6F863D0B2}"/>
                </c:ext>
              </c:extLst>
            </c:dLbl>
            <c:dLbl>
              <c:idx val="7"/>
              <c:tx>
                <c:rich>
                  <a:bodyPr/>
                  <a:lstStyle/>
                  <a:p>
                    <a:r>
                      <a:t>27.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742-4A85-ADF1-0BE6F863D0B2}"/>
                </c:ext>
              </c:extLst>
            </c:dLbl>
            <c:dLbl>
              <c:idx val="8"/>
              <c:tx>
                <c:rich>
                  <a:bodyPr/>
                  <a:lstStyle/>
                  <a:p>
                    <a:r>
                      <a:t>5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742-4A85-ADF1-0BE6F863D0B2}"/>
                </c:ext>
              </c:extLst>
            </c:dLbl>
            <c:dLbl>
              <c:idx val="9"/>
              <c:tx>
                <c:rich>
                  <a:bodyPr/>
                  <a:lstStyle/>
                  <a:p>
                    <a:r>
                      <a:t>9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742-4A85-ADF1-0BE6F863D0B2}"/>
                </c:ext>
              </c:extLst>
            </c:dLbl>
            <c:dLbl>
              <c:idx val="10"/>
              <c:tx>
                <c:rich>
                  <a:bodyPr/>
                  <a:lstStyle/>
                  <a:p>
                    <a:r>
                      <a:t>14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742-4A85-ADF1-0BE6F863D0B2}"/>
                </c:ext>
              </c:extLst>
            </c:dLbl>
            <c:dLbl>
              <c:idx val="11"/>
              <c:tx>
                <c:rich>
                  <a:bodyPr/>
                  <a:lstStyle/>
                  <a:p>
                    <a:r>
                      <a:t>6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742-4A85-ADF1-0BE6F863D0B2}"/>
                </c:ext>
              </c:extLst>
            </c:dLbl>
            <c:dLbl>
              <c:idx val="12"/>
              <c:tx>
                <c:rich>
                  <a:bodyPr/>
                  <a:lstStyle/>
                  <a:p>
                    <a:r>
                      <a:t>95.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742-4A85-ADF1-0BE6F863D0B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DEUTZ CLASSIC BRUT 1CT X 750ML</c:v>
                </c:pt>
                <c:pt idx="4">
                  <c:v>MG DEUTZ CLASSIC 1CT X 1500ML</c:v>
                </c:pt>
                <c:pt idx="5">
                  <c:v>DEUTZ ROSE 1CT X 750ML</c:v>
                </c:pt>
                <c:pt idx="6">
                  <c:v>DEUTZ "AMOUR DE DEUTZ" 2013 1CT X 750ML</c:v>
                </c:pt>
                <c:pt idx="7">
                  <c:v>1/2 DEUTZ CLASSIC BRUT 1CT X 375ML</c:v>
                </c:pt>
                <c:pt idx="8">
                  <c:v>RUINART BRUT (NUE) 1CT X 750ML</c:v>
                </c:pt>
                <c:pt idx="9">
                  <c:v>RUINART BLANC DE BLANCS (NUE) 1CT X 750ML</c:v>
                </c:pt>
                <c:pt idx="10">
                  <c:v>MG RUINART BRUT SECOND SKIN 1CT X 1500ML</c:v>
                </c:pt>
                <c:pt idx="11">
                  <c:v>RUINART BRUT SECOND SKIN 1CT X 750ML</c:v>
                </c:pt>
                <c:pt idx="12">
                  <c:v>RUINART BLANC DE BLANCS SECOND 1CT X 750ML</c:v>
                </c:pt>
              </c:strCache>
            </c:strRef>
          </c:cat>
          <c:val>
            <c:numRef>
              <c:f>Sheet1!$B$2:$B$14</c:f>
              <c:numCache>
                <c:formatCode>General</c:formatCode>
                <c:ptCount val="13"/>
                <c:pt idx="0">
                  <c:v>21.4</c:v>
                </c:pt>
                <c:pt idx="1">
                  <c:v>24.99</c:v>
                </c:pt>
                <c:pt idx="2">
                  <c:v>38.72</c:v>
                </c:pt>
                <c:pt idx="3">
                  <c:v>49.81</c:v>
                </c:pt>
                <c:pt idx="4">
                  <c:v>97.59</c:v>
                </c:pt>
                <c:pt idx="5">
                  <c:v>60.64</c:v>
                </c:pt>
                <c:pt idx="6">
                  <c:v>201.36</c:v>
                </c:pt>
                <c:pt idx="7">
                  <c:v>27.36</c:v>
                </c:pt>
                <c:pt idx="8">
                  <c:v>57.71</c:v>
                </c:pt>
                <c:pt idx="9">
                  <c:v>95.01</c:v>
                </c:pt>
                <c:pt idx="10">
                  <c:v>141.91</c:v>
                </c:pt>
                <c:pt idx="11">
                  <c:v>61.02</c:v>
                </c:pt>
                <c:pt idx="12">
                  <c:v>95.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18C-4D13-A35B-0CB6E07AF88B}"/>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18C-4D13-A35B-0CB6E07AF88B}"/>
                </c:ext>
              </c:extLst>
            </c:dLbl>
            <c:dLbl>
              <c:idx val="2"/>
              <c:tx>
                <c:rich>
                  <a:bodyPr/>
                  <a:lstStyle/>
                  <a:p>
                    <a:r>
                      <a:t>36.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18C-4D13-A35B-0CB6E07AF88B}"/>
                </c:ext>
              </c:extLst>
            </c:dLbl>
            <c:dLbl>
              <c:idx val="3"/>
              <c:tx>
                <c:rich>
                  <a:bodyPr/>
                  <a:lstStyle/>
                  <a:p>
                    <a:r>
                      <a:t>24.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18C-4D13-A35B-0CB6E07AF88B}"/>
                </c:ext>
              </c:extLst>
            </c:dLbl>
            <c:dLbl>
              <c:idx val="4"/>
              <c:tx>
                <c:rich>
                  <a:bodyPr/>
                  <a:lstStyle/>
                  <a:p>
                    <a:r>
                      <a:t>40.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18C-4D13-A35B-0CB6E07AF88B}"/>
                </c:ext>
              </c:extLst>
            </c:dLbl>
            <c:dLbl>
              <c:idx val="5"/>
              <c:tx>
                <c:rich>
                  <a:bodyPr/>
                  <a:lstStyle/>
                  <a:p>
                    <a:r>
                      <a:t>49.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18C-4D13-A35B-0CB6E07AF88B}"/>
                </c:ext>
              </c:extLst>
            </c:dLbl>
            <c:dLbl>
              <c:idx val="6"/>
              <c:tx>
                <c:rich>
                  <a:bodyPr/>
                  <a:lstStyle/>
                  <a:p>
                    <a:r>
                      <a:t>6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18C-4D13-A35B-0CB6E07AF88B}"/>
                </c:ext>
              </c:extLst>
            </c:dLbl>
            <c:dLbl>
              <c:idx val="7"/>
              <c:tx>
                <c:rich>
                  <a:bodyPr/>
                  <a:lstStyle/>
                  <a:p>
                    <a:r>
                      <a:t>99.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18C-4D13-A35B-0CB6E07AF88B}"/>
                </c:ext>
              </c:extLst>
            </c:dLbl>
            <c:dLbl>
              <c:idx val="8"/>
              <c:tx>
                <c:rich>
                  <a:bodyPr/>
                  <a:lstStyle/>
                  <a:p>
                    <a:r>
                      <a:t>28.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18C-4D13-A35B-0CB6E07AF88B}"/>
                </c:ext>
              </c:extLst>
            </c:dLbl>
            <c:dLbl>
              <c:idx val="9"/>
              <c:tx>
                <c:rich>
                  <a:bodyPr/>
                  <a:lstStyle/>
                  <a:p>
                    <a:r>
                      <a:t>193.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18C-4D13-A35B-0CB6E07AF88B}"/>
                </c:ext>
              </c:extLst>
            </c:dLbl>
            <c:dLbl>
              <c:idx val="10"/>
              <c:tx>
                <c:rich>
                  <a:bodyPr/>
                  <a:lstStyle/>
                  <a:p>
                    <a:r>
                      <a:t>44.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18C-4D13-A35B-0CB6E07AF88B}"/>
                </c:ext>
              </c:extLst>
            </c:dLbl>
            <c:dLbl>
              <c:idx val="11"/>
              <c:tx>
                <c:rich>
                  <a:bodyPr/>
                  <a:lstStyle/>
                  <a:p>
                    <a:r>
                      <a:t>84.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18C-4D13-A35B-0CB6E07AF88B}"/>
                </c:ext>
              </c:extLst>
            </c:dLbl>
            <c:dLbl>
              <c:idx val="12"/>
              <c:tx>
                <c:rich>
                  <a:bodyPr/>
                  <a:lstStyle/>
                  <a:p>
                    <a:r>
                      <a:t>79.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18C-4D13-A35B-0CB6E07AF88B}"/>
                </c:ext>
              </c:extLst>
            </c:dLbl>
            <c:dLbl>
              <c:idx val="13"/>
              <c:tx>
                <c:rich>
                  <a:bodyPr/>
                  <a:lstStyle/>
                  <a:p>
                    <a:r>
                      <a:t>57.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18C-4D13-A35B-0CB6E07AF88B}"/>
                </c:ext>
              </c:extLst>
            </c:dLbl>
            <c:dLbl>
              <c:idx val="14"/>
              <c:tx>
                <c:rich>
                  <a:bodyPr/>
                  <a:lstStyle/>
                  <a:p>
                    <a:r>
                      <a:t>11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18C-4D13-A35B-0CB6E07AF88B}"/>
                </c:ext>
              </c:extLst>
            </c:dLbl>
            <c:dLbl>
              <c:idx val="1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318C-4D13-A35B-0CB6E07AF88B}"/>
                </c:ext>
              </c:extLst>
            </c:dLbl>
            <c:dLbl>
              <c:idx val="16"/>
              <c:tx>
                <c:rich>
                  <a:bodyPr/>
                  <a:lstStyle/>
                  <a:p>
                    <a:r>
                      <a:t>9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318C-4D13-A35B-0CB6E07AF88B}"/>
                </c:ext>
              </c:extLst>
            </c:dLbl>
            <c:dLbl>
              <c:idx val="17"/>
              <c:tx>
                <c:rich>
                  <a:bodyPr/>
                  <a:lstStyle/>
                  <a:p>
                    <a:r>
                      <a:t>97.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318C-4D13-A35B-0CB6E07AF88B}"/>
                </c:ext>
              </c:extLst>
            </c:dLbl>
            <c:dLbl>
              <c:idx val="18"/>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318C-4D13-A35B-0CB6E07AF88B}"/>
                </c:ext>
              </c:extLst>
            </c:dLbl>
            <c:dLbl>
              <c:idx val="19"/>
              <c:tx>
                <c:rich>
                  <a:bodyPr/>
                  <a:lstStyle/>
                  <a:p>
                    <a:r>
                      <a:t>139.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318C-4D13-A35B-0CB6E07AF88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87</c:v>
                </c:pt>
                <c:pt idx="1">
                  <c:v>39.090000000000003</c:v>
                </c:pt>
                <c:pt idx="2">
                  <c:v>36.840000000000003</c:v>
                </c:pt>
                <c:pt idx="3">
                  <c:v>24.94</c:v>
                </c:pt>
                <c:pt idx="4">
                  <c:v>40.71</c:v>
                </c:pt>
                <c:pt idx="5">
                  <c:v>49.92</c:v>
                </c:pt>
                <c:pt idx="6">
                  <c:v>62.69</c:v>
                </c:pt>
                <c:pt idx="7">
                  <c:v>99.89</c:v>
                </c:pt>
                <c:pt idx="8">
                  <c:v>28.13</c:v>
                </c:pt>
                <c:pt idx="9">
                  <c:v>193.34</c:v>
                </c:pt>
                <c:pt idx="10">
                  <c:v>44.47</c:v>
                </c:pt>
                <c:pt idx="11">
                  <c:v>84.54</c:v>
                </c:pt>
                <c:pt idx="12">
                  <c:v>79.239999999999995</c:v>
                </c:pt>
                <c:pt idx="13">
                  <c:v>57.51</c:v>
                </c:pt>
                <c:pt idx="14">
                  <c:v>116.83</c:v>
                </c:pt>
                <c:pt idx="15">
                  <c:v>57.87</c:v>
                </c:pt>
                <c:pt idx="16">
                  <c:v>94.21</c:v>
                </c:pt>
                <c:pt idx="17">
                  <c:v>97.21</c:v>
                </c:pt>
                <c:pt idx="18">
                  <c:v>61.89</c:v>
                </c:pt>
                <c:pt idx="19">
                  <c:v>139.36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FF9-4D50-A27C-2635D544CDFD}"/>
                </c:ext>
              </c:extLst>
            </c:dLbl>
            <c:dLbl>
              <c:idx val="1"/>
              <c:tx>
                <c:rich>
                  <a:bodyPr/>
                  <a:lstStyle/>
                  <a:p>
                    <a:r>
                      <a:t>3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FF9-4D50-A27C-2635D544CDFD}"/>
                </c:ext>
              </c:extLst>
            </c:dLbl>
            <c:dLbl>
              <c:idx val="2"/>
              <c:tx>
                <c:rich>
                  <a:bodyPr/>
                  <a:lstStyle/>
                  <a:p>
                    <a:r>
                      <a:t>2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FF9-4D50-A27C-2635D544CDFD}"/>
                </c:ext>
              </c:extLst>
            </c:dLbl>
            <c:dLbl>
              <c:idx val="3"/>
              <c:tx>
                <c:rich>
                  <a:bodyPr/>
                  <a:lstStyle/>
                  <a:p>
                    <a:r>
                      <a:t>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FF9-4D50-A27C-2635D544CDFD}"/>
                </c:ext>
              </c:extLst>
            </c:dLbl>
            <c:dLbl>
              <c:idx val="4"/>
              <c:tx>
                <c:rich>
                  <a:bodyPr/>
                  <a:lstStyle/>
                  <a:p>
                    <a:r>
                      <a:t>2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FF9-4D50-A27C-2635D544CDFD}"/>
                </c:ext>
              </c:extLst>
            </c:dLbl>
            <c:dLbl>
              <c:idx val="5"/>
              <c:tx>
                <c:rich>
                  <a:bodyPr/>
                  <a:lstStyle/>
                  <a:p>
                    <a:r>
                      <a:t>11.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FF9-4D50-A27C-2635D544CDFD}"/>
                </c:ext>
              </c:extLst>
            </c:dLbl>
            <c:dLbl>
              <c:idx val="6"/>
              <c:tx>
                <c:rich>
                  <a:bodyPr/>
                  <a:lstStyle/>
                  <a:p>
                    <a:r>
                      <a:t>58.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FF9-4D50-A27C-2635D544CDFD}"/>
                </c:ext>
              </c:extLst>
            </c:dLbl>
            <c:dLbl>
              <c:idx val="7"/>
              <c:tx>
                <c:rich>
                  <a:bodyPr/>
                  <a:lstStyle/>
                  <a:p>
                    <a:r>
                      <a:t>92.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FF9-4D50-A27C-2635D544CDFD}"/>
                </c:ext>
              </c:extLst>
            </c:dLbl>
            <c:dLbl>
              <c:idx val="8"/>
              <c:tx>
                <c:rich>
                  <a:bodyPr/>
                  <a:lstStyle/>
                  <a:p>
                    <a:r>
                      <a:t>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FF9-4D50-A27C-2635D544CDFD}"/>
                </c:ext>
              </c:extLst>
            </c:dLbl>
            <c:dLbl>
              <c:idx val="9"/>
              <c:tx>
                <c:rich>
                  <a:bodyPr/>
                  <a:lstStyle/>
                  <a:p>
                    <a:r>
                      <a:t>61.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FF9-4D50-A27C-2635D544CDFD}"/>
                </c:ext>
              </c:extLst>
            </c:dLbl>
            <c:dLbl>
              <c:idx val="10"/>
              <c:tx>
                <c:rich>
                  <a:bodyPr/>
                  <a:lstStyle/>
                  <a:p>
                    <a:r>
                      <a:t>141.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FF9-4D50-A27C-2635D544CDF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3</c:v>
                </c:pt>
                <c:pt idx="2">
                  <c:v>24.9</c:v>
                </c:pt>
                <c:pt idx="3">
                  <c:v>37.6</c:v>
                </c:pt>
                <c:pt idx="4">
                  <c:v>22.41</c:v>
                </c:pt>
                <c:pt idx="5">
                  <c:v>11.72</c:v>
                </c:pt>
                <c:pt idx="6">
                  <c:v>58.06</c:v>
                </c:pt>
                <c:pt idx="7">
                  <c:v>92.94</c:v>
                </c:pt>
                <c:pt idx="8">
                  <c:v>96.7</c:v>
                </c:pt>
                <c:pt idx="9">
                  <c:v>61.67</c:v>
                </c:pt>
                <c:pt idx="10">
                  <c:v>141.83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F95-437B-991E-A6228058A4D9}"/>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F95-437B-991E-A6228058A4D9}"/>
                </c:ext>
              </c:extLst>
            </c:dLbl>
            <c:dLbl>
              <c:idx val="2"/>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F95-437B-991E-A6228058A4D9}"/>
                </c:ext>
              </c:extLst>
            </c:dLbl>
            <c:dLbl>
              <c:idx val="3"/>
              <c:tx>
                <c:rich>
                  <a:bodyPr/>
                  <a:lstStyle/>
                  <a:p>
                    <a:r>
                      <a:t>36.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F95-437B-991E-A6228058A4D9}"/>
                </c:ext>
              </c:extLst>
            </c:dLbl>
            <c:dLbl>
              <c:idx val="4"/>
              <c:tx>
                <c:rich>
                  <a:bodyPr/>
                  <a:lstStyle/>
                  <a:p>
                    <a:r>
                      <a:t>41.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F95-437B-991E-A6228058A4D9}"/>
                </c:ext>
              </c:extLst>
            </c:dLbl>
            <c:dLbl>
              <c:idx val="5"/>
              <c:tx>
                <c:rich>
                  <a:bodyPr/>
                  <a:lstStyle/>
                  <a:p>
                    <a:r>
                      <a:t>11.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F95-437B-991E-A6228058A4D9}"/>
                </c:ext>
              </c:extLst>
            </c:dLbl>
            <c:dLbl>
              <c:idx val="6"/>
              <c:tx>
                <c:rich>
                  <a:bodyPr/>
                  <a:lstStyle/>
                  <a:p>
                    <a:r>
                      <a:t>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F95-437B-991E-A6228058A4D9}"/>
                </c:ext>
              </c:extLst>
            </c:dLbl>
            <c:dLbl>
              <c:idx val="7"/>
              <c:tx>
                <c:rich>
                  <a:bodyPr/>
                  <a:lstStyle/>
                  <a:p>
                    <a:r>
                      <a:t>92.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F95-437B-991E-A6228058A4D9}"/>
                </c:ext>
              </c:extLst>
            </c:dLbl>
            <c:dLbl>
              <c:idx val="8"/>
              <c:tx>
                <c:rich>
                  <a:bodyPr/>
                  <a:lstStyle/>
                  <a:p>
                    <a:r>
                      <a:t>9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F95-437B-991E-A6228058A4D9}"/>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F95-437B-991E-A6228058A4D9}"/>
                </c:ext>
              </c:extLst>
            </c:dLbl>
            <c:dLbl>
              <c:idx val="10"/>
              <c:tx>
                <c:rich>
                  <a:bodyPr/>
                  <a:lstStyle/>
                  <a:p>
                    <a:r>
                      <a:t>139.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F95-437B-991E-A6228058A4D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9</c:v>
                </c:pt>
                <c:pt idx="1">
                  <c:v>38.979999999999997</c:v>
                </c:pt>
                <c:pt idx="2">
                  <c:v>25.01</c:v>
                </c:pt>
                <c:pt idx="3">
                  <c:v>36.950000000000003</c:v>
                </c:pt>
                <c:pt idx="4">
                  <c:v>41.25</c:v>
                </c:pt>
                <c:pt idx="5">
                  <c:v>11.74</c:v>
                </c:pt>
                <c:pt idx="6">
                  <c:v>57.8</c:v>
                </c:pt>
                <c:pt idx="7">
                  <c:v>92.87</c:v>
                </c:pt>
                <c:pt idx="8">
                  <c:v>96.98</c:v>
                </c:pt>
                <c:pt idx="9">
                  <c:v>62.03</c:v>
                </c:pt>
                <c:pt idx="10">
                  <c:v>139.83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157-4A5E-8F0B-46E3FE8A3A9D}"/>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157-4A5E-8F0B-46E3FE8A3A9D}"/>
                </c:ext>
              </c:extLst>
            </c:dLbl>
            <c:dLbl>
              <c:idx val="2"/>
              <c:tx>
                <c:rich>
                  <a:bodyPr/>
                  <a:lstStyle/>
                  <a:p>
                    <a:r>
                      <a:t>36.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157-4A5E-8F0B-46E3FE8A3A9D}"/>
                </c:ext>
              </c:extLst>
            </c:dLbl>
            <c:dLbl>
              <c:idx val="3"/>
              <c:tx>
                <c:rich>
                  <a:bodyPr/>
                  <a:lstStyle/>
                  <a:p>
                    <a:r>
                      <a:t>25.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157-4A5E-8F0B-46E3FE8A3A9D}"/>
                </c:ext>
              </c:extLst>
            </c:dLbl>
            <c:dLbl>
              <c:idx val="4"/>
              <c:tx>
                <c:rich>
                  <a:bodyPr/>
                  <a:lstStyle/>
                  <a:p>
                    <a:r>
                      <a:t>41.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157-4A5E-8F0B-46E3FE8A3A9D}"/>
                </c:ext>
              </c:extLst>
            </c:dLbl>
            <c:dLbl>
              <c:idx val="5"/>
              <c:tx>
                <c:rich>
                  <a:bodyPr/>
                  <a:lstStyle/>
                  <a:p>
                    <a:r>
                      <a:t>11.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157-4A5E-8F0B-46E3FE8A3A9D}"/>
                </c:ext>
              </c:extLst>
            </c:dLbl>
            <c:dLbl>
              <c:idx val="6"/>
              <c:tx>
                <c:rich>
                  <a:bodyPr/>
                  <a:lstStyle/>
                  <a:p>
                    <a:r>
                      <a:t>5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157-4A5E-8F0B-46E3FE8A3A9D}"/>
                </c:ext>
              </c:extLst>
            </c:dLbl>
            <c:dLbl>
              <c:idx val="7"/>
              <c:tx>
                <c:rich>
                  <a:bodyPr/>
                  <a:lstStyle/>
                  <a:p>
                    <a:r>
                      <a:t>93.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157-4A5E-8F0B-46E3FE8A3A9D}"/>
                </c:ext>
              </c:extLst>
            </c:dLbl>
            <c:dLbl>
              <c:idx val="8"/>
              <c:tx>
                <c:rich>
                  <a:bodyPr/>
                  <a:lstStyle/>
                  <a:p>
                    <a:r>
                      <a:t>9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157-4A5E-8F0B-46E3FE8A3A9D}"/>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157-4A5E-8F0B-46E3FE8A3A9D}"/>
                </c:ext>
              </c:extLst>
            </c:dLbl>
            <c:dLbl>
              <c:idx val="10"/>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157-4A5E-8F0B-46E3FE8A3A9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2</c:v>
                </c:pt>
                <c:pt idx="1">
                  <c:v>39.090000000000003</c:v>
                </c:pt>
                <c:pt idx="2">
                  <c:v>36.92</c:v>
                </c:pt>
                <c:pt idx="3">
                  <c:v>25.12</c:v>
                </c:pt>
                <c:pt idx="4">
                  <c:v>41.31</c:v>
                </c:pt>
                <c:pt idx="5">
                  <c:v>11.78</c:v>
                </c:pt>
                <c:pt idx="6">
                  <c:v>57.75</c:v>
                </c:pt>
                <c:pt idx="7">
                  <c:v>93.04</c:v>
                </c:pt>
                <c:pt idx="8">
                  <c:v>96.31</c:v>
                </c:pt>
                <c:pt idx="9">
                  <c:v>62.03</c:v>
                </c:pt>
                <c:pt idx="10">
                  <c:v>139.44999999999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704-411C-B729-9767F9D71A70}"/>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704-411C-B729-9767F9D71A70}"/>
                </c:ext>
              </c:extLst>
            </c:dLbl>
            <c:dLbl>
              <c:idx val="2"/>
              <c:tx>
                <c:rich>
                  <a:bodyPr/>
                  <a:lstStyle/>
                  <a:p>
                    <a:r>
                      <a:t>2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704-411C-B729-9767F9D71A70}"/>
                </c:ext>
              </c:extLst>
            </c:dLbl>
            <c:dLbl>
              <c:idx val="3"/>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704-411C-B729-9767F9D71A70}"/>
                </c:ext>
              </c:extLst>
            </c:dLbl>
            <c:dLbl>
              <c:idx val="4"/>
              <c:tx>
                <c:rich>
                  <a:bodyPr/>
                  <a:lstStyle/>
                  <a:p>
                    <a:r>
                      <a:t>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704-411C-B729-9767F9D71A70}"/>
                </c:ext>
              </c:extLst>
            </c:dLbl>
            <c:dLbl>
              <c:idx val="5"/>
              <c:tx>
                <c:rich>
                  <a:bodyPr/>
                  <a:lstStyle/>
                  <a:p>
                    <a:r>
                      <a:t>1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704-411C-B729-9767F9D71A70}"/>
                </c:ext>
              </c:extLst>
            </c:dLbl>
            <c:dLbl>
              <c:idx val="6"/>
              <c:tx>
                <c:rich>
                  <a:bodyPr/>
                  <a:lstStyle/>
                  <a:p>
                    <a:r>
                      <a:t>5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704-411C-B729-9767F9D71A70}"/>
                </c:ext>
              </c:extLst>
            </c:dLbl>
            <c:dLbl>
              <c:idx val="7"/>
              <c:tx>
                <c:rich>
                  <a:bodyPr/>
                  <a:lstStyle/>
                  <a:p>
                    <a:r>
                      <a:t>9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704-411C-B729-9767F9D71A70}"/>
                </c:ext>
              </c:extLst>
            </c:dLbl>
            <c:dLbl>
              <c:idx val="8"/>
              <c:tx>
                <c:rich>
                  <a:bodyPr/>
                  <a:lstStyle/>
                  <a:p>
                    <a:r>
                      <a:t>9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704-411C-B729-9767F9D71A70}"/>
                </c:ext>
              </c:extLst>
            </c:dLbl>
            <c:dLbl>
              <c:idx val="9"/>
              <c:tx>
                <c:rich>
                  <a:bodyPr/>
                  <a:lstStyle/>
                  <a:p>
                    <a:r>
                      <a:t>61.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704-411C-B729-9767F9D71A70}"/>
                </c:ext>
              </c:extLst>
            </c:dLbl>
            <c:dLbl>
              <c:idx val="10"/>
              <c:tx>
                <c:rich>
                  <a:bodyPr/>
                  <a:lstStyle/>
                  <a:p>
                    <a:r>
                      <a:t>13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704-411C-B729-9767F9D71A7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YRE'S CLASSICO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3</c:v>
                </c:pt>
                <c:pt idx="1">
                  <c:v>39.08</c:v>
                </c:pt>
                <c:pt idx="2">
                  <c:v>25.05</c:v>
                </c:pt>
                <c:pt idx="3">
                  <c:v>36.979999999999997</c:v>
                </c:pt>
                <c:pt idx="4">
                  <c:v>45.8</c:v>
                </c:pt>
                <c:pt idx="5">
                  <c:v>11.8</c:v>
                </c:pt>
                <c:pt idx="6">
                  <c:v>57.84</c:v>
                </c:pt>
                <c:pt idx="7">
                  <c:v>92.93</c:v>
                </c:pt>
                <c:pt idx="8">
                  <c:v>96.93</c:v>
                </c:pt>
                <c:pt idx="9">
                  <c:v>61.47</c:v>
                </c:pt>
                <c:pt idx="10">
                  <c:v>13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0B-483F-8D67-99E69E6192E3}"/>
                </c:ext>
              </c:extLst>
            </c:dLbl>
            <c:dLbl>
              <c:idx val="1"/>
              <c:tx>
                <c:rich>
                  <a:bodyPr/>
                  <a:lstStyle/>
                  <a:p>
                    <a:r>
                      <a:rPr lang="en-CH"/>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50B-483F-8D67-99E69E6192E3}"/>
                </c:ext>
              </c:extLst>
            </c:dLbl>
            <c:dLbl>
              <c:idx val="2"/>
              <c:tx>
                <c:rich>
                  <a:bodyPr/>
                  <a:lstStyle/>
                  <a:p>
                    <a:r>
                      <a:rPr lang="en-CH"/>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50B-483F-8D67-99E69E6192E3}"/>
                </c:ext>
              </c:extLst>
            </c:dLbl>
            <c:dLbl>
              <c:idx val="3"/>
              <c:tx>
                <c:rich>
                  <a:bodyPr/>
                  <a:lstStyle/>
                  <a:p>
                    <a:r>
                      <a:rPr lang="en-CH"/>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50B-483F-8D67-99E69E6192E3}"/>
                </c:ext>
              </c:extLst>
            </c:dLbl>
            <c:dLbl>
              <c:idx val="4"/>
              <c:tx>
                <c:rich>
                  <a:bodyPr/>
                  <a:lstStyle/>
                  <a:p>
                    <a:r>
                      <a:rPr lang="en-CH"/>
                      <a:t>4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50B-483F-8D67-99E69E6192E3}"/>
                </c:ext>
              </c:extLst>
            </c:dLbl>
            <c:dLbl>
              <c:idx val="5"/>
              <c:tx>
                <c:rich>
                  <a:bodyPr/>
                  <a:lstStyle/>
                  <a:p>
                    <a:r>
                      <a:rPr lang="en-CH"/>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50B-483F-8D67-99E69E6192E3}"/>
                </c:ext>
              </c:extLst>
            </c:dLbl>
            <c:dLbl>
              <c:idx val="6"/>
              <c:tx>
                <c:rich>
                  <a:bodyPr/>
                  <a:lstStyle/>
                  <a:p>
                    <a:r>
                      <a:rPr lang="en-CH"/>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50B-483F-8D67-99E69E6192E3}"/>
                </c:ext>
              </c:extLst>
            </c:dLbl>
            <c:dLbl>
              <c:idx val="7"/>
              <c:tx>
                <c:rich>
                  <a:bodyPr/>
                  <a:lstStyle/>
                  <a:p>
                    <a:r>
                      <a:rPr lang="en-CH"/>
                      <a:t>3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50B-483F-8D67-99E69E6192E3}"/>
                </c:ext>
              </c:extLst>
            </c:dLbl>
            <c:dLbl>
              <c:idx val="8"/>
              <c:tx>
                <c:rich>
                  <a:bodyPr/>
                  <a:lstStyle/>
                  <a:p>
                    <a:r>
                      <a:rPr lang="en-CH"/>
                      <a:t>2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50B-483F-8D67-99E69E6192E3}"/>
                </c:ext>
              </c:extLst>
            </c:dLbl>
            <c:dLbl>
              <c:idx val="9"/>
              <c:tx>
                <c:rich>
                  <a:bodyPr/>
                  <a:lstStyle/>
                  <a:p>
                    <a:r>
                      <a:rPr lang="en-CH"/>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50B-483F-8D67-99E69E6192E3}"/>
                </c:ext>
              </c:extLst>
            </c:dLbl>
            <c:dLbl>
              <c:idx val="10"/>
              <c:tx>
                <c:rich>
                  <a:bodyPr/>
                  <a:lstStyle/>
                  <a:p>
                    <a:r>
                      <a:rPr lang="en-CH"/>
                      <a:t>89.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50B-483F-8D67-99E69E6192E3}"/>
                </c:ext>
              </c:extLst>
            </c:dLbl>
            <c:dLbl>
              <c:idx val="11"/>
              <c:tx>
                <c:rich>
                  <a:bodyPr/>
                  <a:lstStyle/>
                  <a:p>
                    <a:r>
                      <a:rPr lang="en-CH"/>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50B-483F-8D67-99E69E6192E3}"/>
                </c:ext>
              </c:extLst>
            </c:dLbl>
            <c:dLbl>
              <c:idx val="12"/>
              <c:tx>
                <c:rich>
                  <a:bodyPr/>
                  <a:lstStyle/>
                  <a:p>
                    <a:r>
                      <a:rPr lang="en-CH"/>
                      <a:t>4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50B-483F-8D67-99E69E6192E3}"/>
                </c:ext>
              </c:extLst>
            </c:dLbl>
            <c:dLbl>
              <c:idx val="13"/>
              <c:tx>
                <c:rich>
                  <a:bodyPr/>
                  <a:lstStyle/>
                  <a:p>
                    <a:r>
                      <a:rPr lang="en-CH"/>
                      <a:t>4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50B-483F-8D67-99E69E6192E3}"/>
                </c:ext>
              </c:extLst>
            </c:dLbl>
            <c:dLbl>
              <c:idx val="14"/>
              <c:tx>
                <c:rich>
                  <a:bodyPr/>
                  <a:lstStyle/>
                  <a:p>
                    <a:r>
                      <a:rPr lang="en-CH"/>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D50B-483F-8D67-99E69E6192E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strCache>
            </c:strRef>
          </c:cat>
          <c:val>
            <c:numRef>
              <c:f>Sheet1!$B$2:$B$16</c:f>
              <c:numCache>
                <c:formatCode>General</c:formatCode>
                <c:ptCount val="15"/>
                <c:pt idx="0">
                  <c:v>21.91</c:v>
                </c:pt>
                <c:pt idx="1">
                  <c:v>39.020000000000003</c:v>
                </c:pt>
                <c:pt idx="2">
                  <c:v>24.95</c:v>
                </c:pt>
                <c:pt idx="3">
                  <c:v>36.89</c:v>
                </c:pt>
                <c:pt idx="4">
                  <c:v>43.32</c:v>
                </c:pt>
                <c:pt idx="5">
                  <c:v>85.35</c:v>
                </c:pt>
                <c:pt idx="6">
                  <c:v>23.76</c:v>
                </c:pt>
                <c:pt idx="7">
                  <c:v>39.39</c:v>
                </c:pt>
                <c:pt idx="8">
                  <c:v>23.02</c:v>
                </c:pt>
                <c:pt idx="9">
                  <c:v>24.95</c:v>
                </c:pt>
                <c:pt idx="10">
                  <c:v>89.26</c:v>
                </c:pt>
                <c:pt idx="11">
                  <c:v>36.18</c:v>
                </c:pt>
                <c:pt idx="12">
                  <c:v>46.79</c:v>
                </c:pt>
                <c:pt idx="13">
                  <c:v>40.67</c:v>
                </c:pt>
                <c:pt idx="14">
                  <c:v>38.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01F-47B1-9118-5000958BDED6}"/>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01F-47B1-9118-5000958BDED6}"/>
                </c:ext>
              </c:extLst>
            </c:dLbl>
            <c:dLbl>
              <c:idx val="2"/>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01F-47B1-9118-5000958BDED6}"/>
                </c:ext>
              </c:extLst>
            </c:dLbl>
            <c:dLbl>
              <c:idx val="3"/>
              <c:tx>
                <c:rich>
                  <a:bodyPr/>
                  <a:lstStyle/>
                  <a:p>
                    <a:r>
                      <a:t>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01F-47B1-9118-5000958BDED6}"/>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01F-47B1-9118-5000958BDED6}"/>
                </c:ext>
              </c:extLst>
            </c:dLbl>
            <c:dLbl>
              <c:idx val="5"/>
              <c:tx>
                <c:rich>
                  <a:bodyPr/>
                  <a:lstStyle/>
                  <a:p>
                    <a:r>
                      <a:t>33.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01F-47B1-9118-5000958BDED6}"/>
                </c:ext>
              </c:extLst>
            </c:dLbl>
            <c:dLbl>
              <c:idx val="6"/>
              <c:tx>
                <c:rich>
                  <a:bodyPr/>
                  <a:lstStyle/>
                  <a:p>
                    <a:r>
                      <a:t>3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01F-47B1-9118-5000958BDED6}"/>
                </c:ext>
              </c:extLst>
            </c:dLbl>
            <c:dLbl>
              <c:idx val="7"/>
              <c:tx>
                <c:rich>
                  <a:bodyPr/>
                  <a:lstStyle/>
                  <a:p>
                    <a:r>
                      <a:t>57.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01F-47B1-9118-5000958BDED6}"/>
                </c:ext>
              </c:extLst>
            </c:dLbl>
            <c:dLbl>
              <c:idx val="8"/>
              <c:tx>
                <c:rich>
                  <a:bodyPr/>
                  <a:lstStyle/>
                  <a:p>
                    <a:r>
                      <a:t>93.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01F-47B1-9118-5000958BDED6}"/>
                </c:ext>
              </c:extLst>
            </c:dLbl>
            <c:dLbl>
              <c:idx val="9"/>
              <c:tx>
                <c:rich>
                  <a:bodyPr/>
                  <a:lstStyle/>
                  <a:p>
                    <a:r>
                      <a:t>96.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01F-47B1-9118-5000958BDED6}"/>
                </c:ext>
              </c:extLst>
            </c:dLbl>
            <c:dLbl>
              <c:idx val="10"/>
              <c:tx>
                <c:rich>
                  <a:bodyPr/>
                  <a:lstStyle/>
                  <a:p>
                    <a:r>
                      <a:t>6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01F-47B1-9118-5000958BDED6}"/>
                </c:ext>
              </c:extLst>
            </c:dLbl>
            <c:dLbl>
              <c:idx val="11"/>
              <c:tx>
                <c:rich>
                  <a:bodyPr/>
                  <a:lstStyle/>
                  <a:p>
                    <a:r>
                      <a:t>139.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01F-47B1-9118-5000958BDED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LOUIS MARTIN BRUT GRAND CRU 1CT X 750ML</c:v>
                </c:pt>
                <c:pt idx="7">
                  <c:v>RUINART BRUT (NUE) 1CT X 750ML</c:v>
                </c:pt>
                <c:pt idx="8">
                  <c:v>RUINART BLANC DE BLANCS (NUE) 1CT X 750ML</c:v>
                </c:pt>
                <c:pt idx="9">
                  <c:v>RUINART BLANC DE BLANCS SECOND 1CT X 750ML</c:v>
                </c:pt>
                <c:pt idx="10">
                  <c:v>RUINART BRUT SECOND SKIN 1CT X 750ML</c:v>
                </c:pt>
                <c:pt idx="11">
                  <c:v>MG RUINART BRUT SECOND SKIN 1CT X 1500ML</c:v>
                </c:pt>
              </c:strCache>
            </c:strRef>
          </c:cat>
          <c:val>
            <c:numRef>
              <c:f>Sheet1!$B$2:$B$13</c:f>
              <c:numCache>
                <c:formatCode>General</c:formatCode>
                <c:ptCount val="12"/>
                <c:pt idx="0">
                  <c:v>21.9</c:v>
                </c:pt>
                <c:pt idx="1">
                  <c:v>39.090000000000003</c:v>
                </c:pt>
                <c:pt idx="2">
                  <c:v>24.99</c:v>
                </c:pt>
                <c:pt idx="3">
                  <c:v>37.1</c:v>
                </c:pt>
                <c:pt idx="4">
                  <c:v>41.37</c:v>
                </c:pt>
                <c:pt idx="5">
                  <c:v>33.32</c:v>
                </c:pt>
                <c:pt idx="6">
                  <c:v>34</c:v>
                </c:pt>
                <c:pt idx="7">
                  <c:v>57.88</c:v>
                </c:pt>
                <c:pt idx="8">
                  <c:v>93.81</c:v>
                </c:pt>
                <c:pt idx="9">
                  <c:v>96.96</c:v>
                </c:pt>
                <c:pt idx="10">
                  <c:v>61.81</c:v>
                </c:pt>
                <c:pt idx="11">
                  <c:v>139.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FE6-497A-BCF7-89F3A2C7846A}"/>
                </c:ext>
              </c:extLst>
            </c:dLbl>
            <c:dLbl>
              <c:idx val="1"/>
              <c:tx>
                <c:rich>
                  <a:bodyPr/>
                  <a:lstStyle/>
                  <a:p>
                    <a:r>
                      <a:t>3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FE6-497A-BCF7-89F3A2C7846A}"/>
                </c:ext>
              </c:extLst>
            </c:dLbl>
            <c:dLbl>
              <c:idx val="2"/>
              <c:tx>
                <c:rich>
                  <a:bodyPr/>
                  <a:lstStyle/>
                  <a:p>
                    <a:r>
                      <a:t>37.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FE6-497A-BCF7-89F3A2C7846A}"/>
                </c:ext>
              </c:extLst>
            </c:dLbl>
            <c:dLbl>
              <c:idx val="3"/>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FE6-497A-BCF7-89F3A2C7846A}"/>
                </c:ext>
              </c:extLst>
            </c:dLbl>
            <c:dLbl>
              <c:idx val="4"/>
              <c:tx>
                <c:rich>
                  <a:bodyPr/>
                  <a:lstStyle/>
                  <a:p>
                    <a:r>
                      <a:t>41.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FE6-497A-BCF7-89F3A2C7846A}"/>
                </c:ext>
              </c:extLst>
            </c:dLbl>
            <c:dLbl>
              <c:idx val="5"/>
              <c:tx>
                <c:rich>
                  <a:bodyPr/>
                  <a:lstStyle/>
                  <a:p>
                    <a:r>
                      <a:t>33.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FE6-497A-BCF7-89F3A2C7846A}"/>
                </c:ext>
              </c:extLst>
            </c:dLbl>
            <c:dLbl>
              <c:idx val="6"/>
              <c:tx>
                <c:rich>
                  <a:bodyPr/>
                  <a:lstStyle/>
                  <a:p>
                    <a:r>
                      <a:t>57.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FE6-497A-BCF7-89F3A2C7846A}"/>
                </c:ext>
              </c:extLst>
            </c:dLbl>
            <c:dLbl>
              <c:idx val="7"/>
              <c:tx>
                <c:rich>
                  <a:bodyPr/>
                  <a:lstStyle/>
                  <a:p>
                    <a:r>
                      <a:t>9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FE6-497A-BCF7-89F3A2C7846A}"/>
                </c:ext>
              </c:extLst>
            </c:dLbl>
            <c:dLbl>
              <c:idx val="8"/>
              <c:tx>
                <c:rich>
                  <a:bodyPr/>
                  <a:lstStyle/>
                  <a:p>
                    <a:r>
                      <a:t>9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FE6-497A-BCF7-89F3A2C7846A}"/>
                </c:ext>
              </c:extLst>
            </c:dLbl>
            <c:dLbl>
              <c:idx val="9"/>
              <c:tx>
                <c:rich>
                  <a:bodyPr/>
                  <a:lstStyle/>
                  <a:p>
                    <a:r>
                      <a:t>61.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FE6-497A-BCF7-89F3A2C7846A}"/>
                </c:ext>
              </c:extLst>
            </c:dLbl>
            <c:dLbl>
              <c:idx val="10"/>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FE6-497A-BCF7-89F3A2C7846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49999999999997</c:v>
                </c:pt>
                <c:pt idx="2">
                  <c:v>37.08</c:v>
                </c:pt>
                <c:pt idx="3">
                  <c:v>25.02</c:v>
                </c:pt>
                <c:pt idx="4">
                  <c:v>41.04</c:v>
                </c:pt>
                <c:pt idx="5">
                  <c:v>33.28</c:v>
                </c:pt>
                <c:pt idx="6">
                  <c:v>57.93</c:v>
                </c:pt>
                <c:pt idx="7">
                  <c:v>93</c:v>
                </c:pt>
                <c:pt idx="8">
                  <c:v>96.83</c:v>
                </c:pt>
                <c:pt idx="9">
                  <c:v>61.85</c:v>
                </c:pt>
                <c:pt idx="10">
                  <c:v>139.44999999999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CC7-4DF4-89AA-76E83324168E}"/>
                </c:ext>
              </c:extLst>
            </c:dLbl>
            <c:dLbl>
              <c:idx val="1"/>
              <c:tx>
                <c:rich>
                  <a:bodyPr/>
                  <a:lstStyle/>
                  <a:p>
                    <a:r>
                      <a:t>39.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CC7-4DF4-89AA-76E83324168E}"/>
                </c:ext>
              </c:extLst>
            </c:dLbl>
            <c:dLbl>
              <c:idx val="2"/>
              <c:tx>
                <c:rich>
                  <a:bodyPr/>
                  <a:lstStyle/>
                  <a:p>
                    <a:r>
                      <a:t>24.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CC7-4DF4-89AA-76E83324168E}"/>
                </c:ext>
              </c:extLst>
            </c:dLbl>
            <c:dLbl>
              <c:idx val="3"/>
              <c:tx>
                <c:rich>
                  <a:bodyPr/>
                  <a:lstStyle/>
                  <a:p>
                    <a:r>
                      <a:t>37.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CC7-4DF4-89AA-76E83324168E}"/>
                </c:ext>
              </c:extLst>
            </c:dLbl>
            <c:dLbl>
              <c:idx val="4"/>
              <c:tx>
                <c:rich>
                  <a:bodyPr/>
                  <a:lstStyle/>
                  <a:p>
                    <a:r>
                      <a:t>42.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CC7-4DF4-89AA-76E83324168E}"/>
                </c:ext>
              </c:extLst>
            </c:dLbl>
            <c:dLbl>
              <c:idx val="5"/>
              <c:tx>
                <c:rich>
                  <a:bodyPr/>
                  <a:lstStyle/>
                  <a:p>
                    <a:r>
                      <a:t>33.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C7-4DF4-89AA-76E83324168E}"/>
                </c:ext>
              </c:extLst>
            </c:dLbl>
            <c:dLbl>
              <c:idx val="6"/>
              <c:tx>
                <c:rich>
                  <a:bodyPr/>
                  <a:lstStyle/>
                  <a:p>
                    <a:r>
                      <a:t>5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CC7-4DF4-89AA-76E83324168E}"/>
                </c:ext>
              </c:extLst>
            </c:dLbl>
            <c:dLbl>
              <c:idx val="7"/>
              <c:tx>
                <c:rich>
                  <a:bodyPr/>
                  <a:lstStyle/>
                  <a:p>
                    <a:r>
                      <a:t>92.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CC7-4DF4-89AA-76E83324168E}"/>
                </c:ext>
              </c:extLst>
            </c:dLbl>
            <c:dLbl>
              <c:idx val="8"/>
              <c:tx>
                <c:rich>
                  <a:bodyPr/>
                  <a:lstStyle/>
                  <a:p>
                    <a:r>
                      <a:t>97.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CC7-4DF4-89AA-76E83324168E}"/>
                </c:ext>
              </c:extLst>
            </c:dLbl>
            <c:dLbl>
              <c:idx val="9"/>
              <c:tx>
                <c:rich>
                  <a:bodyPr/>
                  <a:lstStyle/>
                  <a:p>
                    <a:r>
                      <a:t>6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CC7-4DF4-89AA-76E83324168E}"/>
                </c:ext>
              </c:extLst>
            </c:dLbl>
            <c:dLbl>
              <c:idx val="10"/>
              <c:tx>
                <c:rich>
                  <a:bodyPr/>
                  <a:lstStyle/>
                  <a:p>
                    <a:r>
                      <a:t>138.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CC7-4DF4-89AA-76E83324168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1</c:v>
                </c:pt>
                <c:pt idx="1">
                  <c:v>39.020000000000003</c:v>
                </c:pt>
                <c:pt idx="2">
                  <c:v>24.91</c:v>
                </c:pt>
                <c:pt idx="3">
                  <c:v>37.07</c:v>
                </c:pt>
                <c:pt idx="4">
                  <c:v>42.78</c:v>
                </c:pt>
                <c:pt idx="5">
                  <c:v>33.18</c:v>
                </c:pt>
                <c:pt idx="6">
                  <c:v>57.7</c:v>
                </c:pt>
                <c:pt idx="7">
                  <c:v>92.85</c:v>
                </c:pt>
                <c:pt idx="8">
                  <c:v>97.19</c:v>
                </c:pt>
                <c:pt idx="9">
                  <c:v>61.53</c:v>
                </c:pt>
                <c:pt idx="10">
                  <c:v>138.58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EDC-4592-B333-54EC164CE799}"/>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EDC-4592-B333-54EC164CE799}"/>
                </c:ext>
              </c:extLst>
            </c:dLbl>
            <c:dLbl>
              <c:idx val="2"/>
              <c:tx>
                <c:rich>
                  <a:bodyPr/>
                  <a:lstStyle/>
                  <a:p>
                    <a:r>
                      <a:t>37.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EDC-4592-B333-54EC164CE799}"/>
                </c:ext>
              </c:extLst>
            </c:dLbl>
            <c:dLbl>
              <c:idx val="3"/>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EDC-4592-B333-54EC164CE799}"/>
                </c:ext>
              </c:extLst>
            </c:dLbl>
            <c:dLbl>
              <c:idx val="4"/>
              <c:tx>
                <c:rich>
                  <a:bodyPr/>
                  <a:lstStyle/>
                  <a:p>
                    <a:r>
                      <a:t>2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EDC-4592-B333-54EC164CE799}"/>
                </c:ext>
              </c:extLst>
            </c:dLbl>
            <c:dLbl>
              <c:idx val="5"/>
              <c:tx>
                <c:rich>
                  <a:bodyPr/>
                  <a:lstStyle/>
                  <a:p>
                    <a:r>
                      <a:t>49.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EDC-4592-B333-54EC164CE799}"/>
                </c:ext>
              </c:extLst>
            </c:dLbl>
            <c:dLbl>
              <c:idx val="6"/>
              <c:tx>
                <c:rich>
                  <a:bodyPr/>
                  <a:lstStyle/>
                  <a:p>
                    <a:r>
                      <a:t>62.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EDC-4592-B333-54EC164CE799}"/>
                </c:ext>
              </c:extLst>
            </c:dLbl>
            <c:dLbl>
              <c:idx val="7"/>
              <c:tx>
                <c:rich>
                  <a:bodyPr/>
                  <a:lstStyle/>
                  <a:p>
                    <a:r>
                      <a:t>98.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EDC-4592-B333-54EC164CE799}"/>
                </c:ext>
              </c:extLst>
            </c:dLbl>
            <c:dLbl>
              <c:idx val="8"/>
              <c:tx>
                <c:rich>
                  <a:bodyPr/>
                  <a:lstStyle/>
                  <a:p>
                    <a:r>
                      <a:t>28.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EDC-4592-B333-54EC164CE799}"/>
                </c:ext>
              </c:extLst>
            </c:dLbl>
            <c:dLbl>
              <c:idx val="9"/>
              <c:tx>
                <c:rich>
                  <a:bodyPr/>
                  <a:lstStyle/>
                  <a:p>
                    <a:r>
                      <a:t>183.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EDC-4592-B333-54EC164CE799}"/>
                </c:ext>
              </c:extLst>
            </c:dLbl>
            <c:dLbl>
              <c:idx val="10"/>
              <c:tx>
                <c:rich>
                  <a:bodyPr/>
                  <a:lstStyle/>
                  <a:p>
                    <a:r>
                      <a:t>4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EDC-4592-B333-54EC164CE799}"/>
                </c:ext>
              </c:extLst>
            </c:dLbl>
            <c:dLbl>
              <c:idx val="11"/>
              <c:tx>
                <c:rich>
                  <a:bodyPr/>
                  <a:lstStyle/>
                  <a:p>
                    <a:r>
                      <a:t>84.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EDC-4592-B333-54EC164CE799}"/>
                </c:ext>
              </c:extLst>
            </c:dLbl>
            <c:dLbl>
              <c:idx val="12"/>
              <c:tx>
                <c:rich>
                  <a:bodyPr/>
                  <a:lstStyle/>
                  <a:p>
                    <a:r>
                      <a:t>79.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EDC-4592-B333-54EC164CE799}"/>
                </c:ext>
              </c:extLst>
            </c:dLbl>
            <c:dLbl>
              <c:idx val="13"/>
              <c:tx>
                <c:rich>
                  <a:bodyPr/>
                  <a:lstStyle/>
                  <a:p>
                    <a:r>
                      <a:t>57.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EDC-4592-B333-54EC164CE799}"/>
                </c:ext>
              </c:extLst>
            </c:dLbl>
            <c:dLbl>
              <c:idx val="14"/>
              <c:tx>
                <c:rich>
                  <a:bodyPr/>
                  <a:lstStyle/>
                  <a:p>
                    <a:r>
                      <a:t>109.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EDC-4592-B333-54EC164CE799}"/>
                </c:ext>
              </c:extLst>
            </c:dLbl>
            <c:dLbl>
              <c:idx val="15"/>
              <c:tx>
                <c:rich>
                  <a:bodyPr/>
                  <a:lstStyle/>
                  <a:p>
                    <a:r>
                      <a:t>5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EDC-4592-B333-54EC164CE799}"/>
                </c:ext>
              </c:extLst>
            </c:dLbl>
            <c:dLbl>
              <c:idx val="16"/>
              <c:tx>
                <c:rich>
                  <a:bodyPr/>
                  <a:lstStyle/>
                  <a:p>
                    <a:r>
                      <a:t>9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BEDC-4592-B333-54EC164CE799}"/>
                </c:ext>
              </c:extLst>
            </c:dLbl>
            <c:dLbl>
              <c:idx val="17"/>
              <c:tx>
                <c:rich>
                  <a:bodyPr/>
                  <a:lstStyle/>
                  <a:p>
                    <a:r>
                      <a:t>9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EDC-4592-B333-54EC164CE799}"/>
                </c:ext>
              </c:extLst>
            </c:dLbl>
            <c:dLbl>
              <c:idx val="18"/>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EDC-4592-B333-54EC164CE799}"/>
                </c:ext>
              </c:extLst>
            </c:dLbl>
            <c:dLbl>
              <c:idx val="19"/>
              <c:tx>
                <c:rich>
                  <a:bodyPr/>
                  <a:lstStyle/>
                  <a:p>
                    <a:r>
                      <a:t>139.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EDC-4592-B333-54EC164CE79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92</c:v>
                </c:pt>
                <c:pt idx="1">
                  <c:v>38.979999999999997</c:v>
                </c:pt>
                <c:pt idx="2">
                  <c:v>37.26</c:v>
                </c:pt>
                <c:pt idx="3">
                  <c:v>25.01</c:v>
                </c:pt>
                <c:pt idx="4">
                  <c:v>22.3</c:v>
                </c:pt>
                <c:pt idx="5">
                  <c:v>49.98</c:v>
                </c:pt>
                <c:pt idx="6">
                  <c:v>62.13</c:v>
                </c:pt>
                <c:pt idx="7">
                  <c:v>98.85</c:v>
                </c:pt>
                <c:pt idx="8">
                  <c:v>28.14</c:v>
                </c:pt>
                <c:pt idx="9">
                  <c:v>183.53</c:v>
                </c:pt>
                <c:pt idx="10">
                  <c:v>44.58</c:v>
                </c:pt>
                <c:pt idx="11">
                  <c:v>84.48</c:v>
                </c:pt>
                <c:pt idx="12">
                  <c:v>79.989999999999995</c:v>
                </c:pt>
                <c:pt idx="13">
                  <c:v>57.16</c:v>
                </c:pt>
                <c:pt idx="14">
                  <c:v>109.48</c:v>
                </c:pt>
                <c:pt idx="15">
                  <c:v>57.9</c:v>
                </c:pt>
                <c:pt idx="16">
                  <c:v>93.15</c:v>
                </c:pt>
                <c:pt idx="17">
                  <c:v>96.97</c:v>
                </c:pt>
                <c:pt idx="18">
                  <c:v>61.89</c:v>
                </c:pt>
                <c:pt idx="19">
                  <c:v>139.27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645-4E90-918B-FF988CBD535D}"/>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645-4E90-918B-FF988CBD535D}"/>
                </c:ext>
              </c:extLst>
            </c:dLbl>
            <c:dLbl>
              <c:idx val="2"/>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645-4E90-918B-FF988CBD535D}"/>
                </c:ext>
              </c:extLst>
            </c:dLbl>
            <c:dLbl>
              <c:idx val="3"/>
              <c:tx>
                <c:rich>
                  <a:bodyPr/>
                  <a:lstStyle/>
                  <a:p>
                    <a:r>
                      <a:t>36.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645-4E90-918B-FF988CBD535D}"/>
                </c:ext>
              </c:extLst>
            </c:dLbl>
            <c:dLbl>
              <c:idx val="4"/>
              <c:tx>
                <c:rich>
                  <a:bodyPr/>
                  <a:lstStyle/>
                  <a:p>
                    <a:r>
                      <a:t>4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645-4E90-918B-FF988CBD535D}"/>
                </c:ext>
              </c:extLst>
            </c:dLbl>
            <c:dLbl>
              <c:idx val="5"/>
              <c:tx>
                <c:rich>
                  <a:bodyPr/>
                  <a:lstStyle/>
                  <a:p>
                    <a:r>
                      <a:t>44.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645-4E90-918B-FF988CBD535D}"/>
                </c:ext>
              </c:extLst>
            </c:dLbl>
            <c:dLbl>
              <c:idx val="6"/>
              <c:tx>
                <c:rich>
                  <a:bodyPr/>
                  <a:lstStyle/>
                  <a:p>
                    <a:r>
                      <a:t>8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645-4E90-918B-FF988CBD535D}"/>
                </c:ext>
              </c:extLst>
            </c:dLbl>
            <c:dLbl>
              <c:idx val="7"/>
              <c:tx>
                <c:rich>
                  <a:bodyPr/>
                  <a:lstStyle/>
                  <a:p>
                    <a:r>
                      <a:t>79.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645-4E90-918B-FF988CBD535D}"/>
                </c:ext>
              </c:extLst>
            </c:dLbl>
            <c:dLbl>
              <c:idx val="8"/>
              <c:tx>
                <c:rich>
                  <a:bodyPr/>
                  <a:lstStyle/>
                  <a:p>
                    <a:r>
                      <a:t>57.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645-4E90-918B-FF988CBD535D}"/>
                </c:ext>
              </c:extLst>
            </c:dLbl>
            <c:dLbl>
              <c:idx val="9"/>
              <c:tx>
                <c:rich>
                  <a:bodyPr/>
                  <a:lstStyle/>
                  <a:p>
                    <a:r>
                      <a:t>64.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645-4E90-918B-FF988CBD535D}"/>
                </c:ext>
              </c:extLst>
            </c:dLbl>
            <c:dLbl>
              <c:idx val="10"/>
              <c:tx>
                <c:rich>
                  <a:bodyPr/>
                  <a:lstStyle/>
                  <a:p>
                    <a:r>
                      <a:t>33.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645-4E90-918B-FF988CBD535D}"/>
                </c:ext>
              </c:extLst>
            </c:dLbl>
            <c:dLbl>
              <c:idx val="11"/>
              <c:tx>
                <c:rich>
                  <a:bodyPr/>
                  <a:lstStyle/>
                  <a:p>
                    <a:r>
                      <a:t>9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645-4E90-918B-FF988CBD535D}"/>
                </c:ext>
              </c:extLst>
            </c:dLbl>
            <c:dLbl>
              <c:idx val="12"/>
              <c:tx>
                <c:rich>
                  <a:bodyPr/>
                  <a:lstStyle/>
                  <a:p>
                    <a:r>
                      <a:t>58.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645-4E90-918B-FF988CBD535D}"/>
                </c:ext>
              </c:extLst>
            </c:dLbl>
            <c:dLbl>
              <c:idx val="13"/>
              <c:tx>
                <c:rich>
                  <a:bodyPr/>
                  <a:lstStyle/>
                  <a:p>
                    <a:r>
                      <a:t>9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645-4E90-918B-FF988CBD535D}"/>
                </c:ext>
              </c:extLst>
            </c:dLbl>
            <c:dLbl>
              <c:idx val="14"/>
              <c:tx>
                <c:rich>
                  <a:bodyPr/>
                  <a:lstStyle/>
                  <a:p>
                    <a:r>
                      <a:t>62.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645-4E90-918B-FF988CBD535D}"/>
                </c:ext>
              </c:extLst>
            </c:dLbl>
            <c:dLbl>
              <c:idx val="15"/>
              <c:tx>
                <c:rich>
                  <a:bodyPr/>
                  <a:lstStyle/>
                  <a:p>
                    <a:r>
                      <a:t>13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645-4E90-918B-FF988CBD535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AURENT PERRIER LA CUVEE BRUT 1CT X 750ML</c:v>
                </c:pt>
                <c:pt idx="6">
                  <c:v>MG LAURENT PERRIER LA CUVEE 1CT X 1500ML</c:v>
                </c:pt>
                <c:pt idx="7">
                  <c:v>LAURENT PERRIER ROSE 1CT X 750ML</c:v>
                </c:pt>
                <c:pt idx="8">
                  <c:v>LAURENT PERRIER ULTRA BRUT 1CT X 750ML</c:v>
                </c:pt>
                <c:pt idx="9">
                  <c:v>LAURENT PERRIER 2012 1CT X 750ML</c:v>
                </c:pt>
                <c:pt idx="10">
                  <c:v>LOUIS MARTIN BRUT PREMIER CRU 1CT X 750ML</c:v>
                </c:pt>
                <c:pt idx="11">
                  <c:v>RUINART BLANC DE BLANCS (NUE) 1CT X 750ML</c:v>
                </c:pt>
                <c:pt idx="12">
                  <c:v>RUINART BRUT (NUE) 1CT X 750ML</c:v>
                </c:pt>
                <c:pt idx="13">
                  <c:v>RUINART BLANC DE BLANCS SECOND 1CT X 750ML</c:v>
                </c:pt>
                <c:pt idx="14">
                  <c:v>RUINART BRUT SECOND SKIN 1CT X 750ML</c:v>
                </c:pt>
                <c:pt idx="15">
                  <c:v>MG RUINART BRUT SECOND SKIN 1CT X 1500ML</c:v>
                </c:pt>
              </c:strCache>
            </c:strRef>
          </c:cat>
          <c:val>
            <c:numRef>
              <c:f>Sheet1!$B$2:$B$17</c:f>
              <c:numCache>
                <c:formatCode>General</c:formatCode>
                <c:ptCount val="16"/>
                <c:pt idx="0">
                  <c:v>21.93</c:v>
                </c:pt>
                <c:pt idx="1">
                  <c:v>39.08</c:v>
                </c:pt>
                <c:pt idx="2">
                  <c:v>25.02</c:v>
                </c:pt>
                <c:pt idx="3">
                  <c:v>36.89</c:v>
                </c:pt>
                <c:pt idx="4">
                  <c:v>46.93</c:v>
                </c:pt>
                <c:pt idx="5">
                  <c:v>44.64</c:v>
                </c:pt>
                <c:pt idx="6">
                  <c:v>85.28</c:v>
                </c:pt>
                <c:pt idx="7">
                  <c:v>79.84</c:v>
                </c:pt>
                <c:pt idx="8">
                  <c:v>57.69</c:v>
                </c:pt>
                <c:pt idx="9">
                  <c:v>64.09</c:v>
                </c:pt>
                <c:pt idx="10">
                  <c:v>33.28</c:v>
                </c:pt>
                <c:pt idx="11">
                  <c:v>92.88</c:v>
                </c:pt>
                <c:pt idx="12">
                  <c:v>58.24</c:v>
                </c:pt>
                <c:pt idx="13">
                  <c:v>97.84</c:v>
                </c:pt>
                <c:pt idx="14">
                  <c:v>62.54</c:v>
                </c:pt>
                <c:pt idx="15">
                  <c:v>1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5BC-42FE-8533-5A691F231B25}"/>
                </c:ext>
              </c:extLst>
            </c:dLbl>
            <c:dLbl>
              <c:idx val="1"/>
              <c:tx>
                <c:rich>
                  <a:bodyPr/>
                  <a:lstStyle/>
                  <a:p>
                    <a:r>
                      <a:t>39.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5BC-42FE-8533-5A691F231B25}"/>
                </c:ext>
              </c:extLst>
            </c:dLbl>
            <c:dLbl>
              <c:idx val="2"/>
              <c:tx>
                <c:rich>
                  <a:bodyPr/>
                  <a:lstStyle/>
                  <a:p>
                    <a:r>
                      <a:t>2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5BC-42FE-8533-5A691F231B25}"/>
                </c:ext>
              </c:extLst>
            </c:dLbl>
            <c:dLbl>
              <c:idx val="3"/>
              <c:tx>
                <c:rich>
                  <a:bodyPr/>
                  <a:lstStyle/>
                  <a:p>
                    <a:r>
                      <a:t>36.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5BC-42FE-8533-5A691F231B25}"/>
                </c:ext>
              </c:extLst>
            </c:dLbl>
            <c:dLbl>
              <c:idx val="4"/>
              <c:tx>
                <c:rich>
                  <a:bodyPr/>
                  <a:lstStyle/>
                  <a:p>
                    <a:r>
                      <a:t>4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5BC-42FE-8533-5A691F231B25}"/>
                </c:ext>
              </c:extLst>
            </c:dLbl>
            <c:dLbl>
              <c:idx val="5"/>
              <c:tx>
                <c:rich>
                  <a:bodyPr/>
                  <a:lstStyle/>
                  <a:p>
                    <a:r>
                      <a:t>100.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5BC-42FE-8533-5A691F231B25}"/>
                </c:ext>
              </c:extLst>
            </c:dLbl>
            <c:dLbl>
              <c:idx val="6"/>
              <c:tx>
                <c:rich>
                  <a:bodyPr/>
                  <a:lstStyle/>
                  <a:p>
                    <a:r>
                      <a:t>57.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5BC-42FE-8533-5A691F231B25}"/>
                </c:ext>
              </c:extLst>
            </c:dLbl>
            <c:dLbl>
              <c:idx val="7"/>
              <c:tx>
                <c:rich>
                  <a:bodyPr/>
                  <a:lstStyle/>
                  <a:p>
                    <a:r>
                      <a:t>96.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5BC-42FE-8533-5A691F231B25}"/>
                </c:ext>
              </c:extLst>
            </c:dLbl>
            <c:dLbl>
              <c:idx val="8"/>
              <c:tx>
                <c:rich>
                  <a:bodyPr/>
                  <a:lstStyle/>
                  <a:p>
                    <a:r>
                      <a:t>61.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5BC-42FE-8533-5A691F231B25}"/>
                </c:ext>
              </c:extLst>
            </c:dLbl>
            <c:dLbl>
              <c:idx val="9"/>
              <c:tx>
                <c:rich>
                  <a:bodyPr/>
                  <a:lstStyle/>
                  <a:p>
                    <a:r>
                      <a:t>55.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5BC-42FE-8533-5A691F231B2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RUINART BLANC DE BLANCS (NUE) 1CT X 750ML</c:v>
                </c:pt>
                <c:pt idx="6">
                  <c:v>RUINART BRUT (NUE) 1CT X 750ML</c:v>
                </c:pt>
                <c:pt idx="7">
                  <c:v>RUINART BLANC DE BLANCS SECOND 1CT X 750ML</c:v>
                </c:pt>
                <c:pt idx="8">
                  <c:v>RUINART BRUT SECOND SKIN 1CT X 750ML</c:v>
                </c:pt>
                <c:pt idx="9">
                  <c:v>1/2 RUINART BLANC DE BLANCS 1CT X 375ML</c:v>
                </c:pt>
              </c:strCache>
            </c:strRef>
          </c:cat>
          <c:val>
            <c:numRef>
              <c:f>Sheet1!$B$2:$B$11</c:f>
              <c:numCache>
                <c:formatCode>General</c:formatCode>
                <c:ptCount val="10"/>
                <c:pt idx="0">
                  <c:v>21.94</c:v>
                </c:pt>
                <c:pt idx="1">
                  <c:v>39.590000000000003</c:v>
                </c:pt>
                <c:pt idx="2">
                  <c:v>25.1</c:v>
                </c:pt>
                <c:pt idx="3">
                  <c:v>36.22</c:v>
                </c:pt>
                <c:pt idx="4">
                  <c:v>41.44</c:v>
                </c:pt>
                <c:pt idx="5">
                  <c:v>100.91</c:v>
                </c:pt>
                <c:pt idx="6">
                  <c:v>57.67</c:v>
                </c:pt>
                <c:pt idx="7">
                  <c:v>96.87</c:v>
                </c:pt>
                <c:pt idx="8">
                  <c:v>61.84</c:v>
                </c:pt>
                <c:pt idx="9">
                  <c:v>55.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39C-4050-B510-F81D2E43F891}"/>
                </c:ext>
              </c:extLst>
            </c:dLbl>
            <c:dLbl>
              <c:idx val="1"/>
              <c:tx>
                <c:rich>
                  <a:bodyPr/>
                  <a:lstStyle/>
                  <a:p>
                    <a:r>
                      <a:t>3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39C-4050-B510-F81D2E43F891}"/>
                </c:ext>
              </c:extLst>
            </c:dLbl>
            <c:dLbl>
              <c:idx val="2"/>
              <c:tx>
                <c:rich>
                  <a:bodyPr/>
                  <a:lstStyle/>
                  <a:p>
                    <a:r>
                      <a:t>2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9C-4050-B510-F81D2E43F891}"/>
                </c:ext>
              </c:extLst>
            </c:dLbl>
            <c:dLbl>
              <c:idx val="3"/>
              <c:tx>
                <c:rich>
                  <a:bodyPr/>
                  <a:lstStyle/>
                  <a:p>
                    <a:r>
                      <a:t>36.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9C-4050-B510-F81D2E43F891}"/>
                </c:ext>
              </c:extLst>
            </c:dLbl>
            <c:dLbl>
              <c:idx val="4"/>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39C-4050-B510-F81D2E43F891}"/>
                </c:ext>
              </c:extLst>
            </c:dLbl>
            <c:dLbl>
              <c:idx val="5"/>
              <c:tx>
                <c:rich>
                  <a:bodyPr/>
                  <a:lstStyle/>
                  <a:p>
                    <a:r>
                      <a:t>33.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39C-4050-B510-F81D2E43F891}"/>
                </c:ext>
              </c:extLst>
            </c:dLbl>
            <c:dLbl>
              <c:idx val="6"/>
              <c:tx>
                <c:rich>
                  <a:bodyPr/>
                  <a:lstStyle/>
                  <a:p>
                    <a:r>
                      <a:t>3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39C-4050-B510-F81D2E43F891}"/>
                </c:ext>
              </c:extLst>
            </c:dLbl>
            <c:dLbl>
              <c:idx val="7"/>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39C-4050-B510-F81D2E43F891}"/>
                </c:ext>
              </c:extLst>
            </c:dLbl>
            <c:dLbl>
              <c:idx val="8"/>
              <c:tx>
                <c:rich>
                  <a:bodyPr/>
                  <a:lstStyle/>
                  <a:p>
                    <a:r>
                      <a:t>9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39C-4050-B510-F81D2E43F891}"/>
                </c:ext>
              </c:extLst>
            </c:dLbl>
            <c:dLbl>
              <c:idx val="9"/>
              <c:tx>
                <c:rich>
                  <a:bodyPr/>
                  <a:lstStyle/>
                  <a:p>
                    <a:r>
                      <a:t>97.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39C-4050-B510-F81D2E43F891}"/>
                </c:ext>
              </c:extLst>
            </c:dLbl>
            <c:dLbl>
              <c:idx val="10"/>
              <c:tx>
                <c:rich>
                  <a:bodyPr/>
                  <a:lstStyle/>
                  <a:p>
                    <a:r>
                      <a:t>6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39C-4050-B510-F81D2E43F891}"/>
                </c:ext>
              </c:extLst>
            </c:dLbl>
            <c:dLbl>
              <c:idx val="11"/>
              <c:tx>
                <c:rich>
                  <a:bodyPr/>
                  <a:lstStyle/>
                  <a:p>
                    <a:r>
                      <a:t>139.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39C-4050-B510-F81D2E43F89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LOUIS MARTIN BRUT GRAND CRU 1CT X 750ML</c:v>
                </c:pt>
                <c:pt idx="7">
                  <c:v>RUINART BRUT (NUE) 1CT X 750ML</c:v>
                </c:pt>
                <c:pt idx="8">
                  <c:v>RUINART BLANC DE BLANCS (NUE) 1CT X 750ML</c:v>
                </c:pt>
                <c:pt idx="9">
                  <c:v>RUINART BLANC DE BLANCS SECOND 1CT X 750ML</c:v>
                </c:pt>
                <c:pt idx="10">
                  <c:v>RUINART BRUT SECOND SKIN 1CT X 750ML</c:v>
                </c:pt>
                <c:pt idx="11">
                  <c:v>MG RUINART BRUT SECOND SKIN 1CT X 1500ML</c:v>
                </c:pt>
              </c:strCache>
            </c:strRef>
          </c:cat>
          <c:val>
            <c:numRef>
              <c:f>Sheet1!$B$2:$B$13</c:f>
              <c:numCache>
                <c:formatCode>General</c:formatCode>
                <c:ptCount val="12"/>
                <c:pt idx="0">
                  <c:v>21.92</c:v>
                </c:pt>
                <c:pt idx="1">
                  <c:v>39</c:v>
                </c:pt>
                <c:pt idx="2">
                  <c:v>25</c:v>
                </c:pt>
                <c:pt idx="3">
                  <c:v>36.99</c:v>
                </c:pt>
                <c:pt idx="4">
                  <c:v>41.37</c:v>
                </c:pt>
                <c:pt idx="5">
                  <c:v>33.19</c:v>
                </c:pt>
                <c:pt idx="6">
                  <c:v>32.69</c:v>
                </c:pt>
                <c:pt idx="7">
                  <c:v>57.87</c:v>
                </c:pt>
                <c:pt idx="8">
                  <c:v>92.9</c:v>
                </c:pt>
                <c:pt idx="9">
                  <c:v>97.18</c:v>
                </c:pt>
                <c:pt idx="10">
                  <c:v>61.93</c:v>
                </c:pt>
                <c:pt idx="11">
                  <c:v>139.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5D-473D-99AF-FBC63AB0DDCD}"/>
                </c:ext>
              </c:extLst>
            </c:dLbl>
            <c:dLbl>
              <c:idx val="1"/>
              <c:tx>
                <c:rich>
                  <a:bodyPr/>
                  <a:lstStyle/>
                  <a:p>
                    <a:r>
                      <a:t>3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85D-473D-99AF-FBC63AB0DDCD}"/>
                </c:ext>
              </c:extLst>
            </c:dLbl>
            <c:dLbl>
              <c:idx val="2"/>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85D-473D-99AF-FBC63AB0DDCD}"/>
                </c:ext>
              </c:extLst>
            </c:dLbl>
            <c:dLbl>
              <c:idx val="3"/>
              <c:tx>
                <c:rich>
                  <a:bodyPr/>
                  <a:lstStyle/>
                  <a:p>
                    <a:r>
                      <a:t>25.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5D-473D-99AF-FBC63AB0DDCD}"/>
                </c:ext>
              </c:extLst>
            </c:dLbl>
            <c:dLbl>
              <c:idx val="4"/>
              <c:tx>
                <c:rich>
                  <a:bodyPr/>
                  <a:lstStyle/>
                  <a:p>
                    <a:r>
                      <a:t>4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85D-473D-99AF-FBC63AB0DDCD}"/>
                </c:ext>
              </c:extLst>
            </c:dLbl>
            <c:dLbl>
              <c:idx val="5"/>
              <c:tx>
                <c:rich>
                  <a:bodyPr/>
                  <a:lstStyle/>
                  <a:p>
                    <a:r>
                      <a:t>32.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85D-473D-99AF-FBC63AB0DDCD}"/>
                </c:ext>
              </c:extLst>
            </c:dLbl>
            <c:dLbl>
              <c:idx val="6"/>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85D-473D-99AF-FBC63AB0DDCD}"/>
                </c:ext>
              </c:extLst>
            </c:dLbl>
            <c:dLbl>
              <c:idx val="7"/>
              <c:tx>
                <c:rich>
                  <a:bodyPr/>
                  <a:lstStyle/>
                  <a:p>
                    <a:r>
                      <a:t>57.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85D-473D-99AF-FBC63AB0DDCD}"/>
                </c:ext>
              </c:extLst>
            </c:dLbl>
            <c:dLbl>
              <c:idx val="8"/>
              <c:tx>
                <c:rich>
                  <a:bodyPr/>
                  <a:lstStyle/>
                  <a:p>
                    <a:r>
                      <a:t>96.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85D-473D-99AF-FBC63AB0DDCD}"/>
                </c:ext>
              </c:extLst>
            </c:dLbl>
            <c:dLbl>
              <c:idx val="9"/>
              <c:tx>
                <c:rich>
                  <a:bodyPr/>
                  <a:lstStyle/>
                  <a:p>
                    <a:r>
                      <a:t>6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85D-473D-99AF-FBC63AB0DDCD}"/>
                </c:ext>
              </c:extLst>
            </c:dLbl>
            <c:dLbl>
              <c:idx val="10"/>
              <c:tx>
                <c:rich>
                  <a:bodyPr/>
                  <a:lstStyle/>
                  <a:p>
                    <a:r>
                      <a:t>90.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85D-473D-99AF-FBC63AB0DDC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OUIS MARTIN BRUT PREMIER CRU 1CT X 750ML</c:v>
                </c:pt>
                <c:pt idx="6">
                  <c:v>RUINART BLANC DE BLANCS (NUE) 1CT X 750ML</c:v>
                </c:pt>
                <c:pt idx="7">
                  <c:v>RUINART BRUT (NUE) 1CT X 750ML</c:v>
                </c:pt>
                <c:pt idx="8">
                  <c:v>RUINART BLANC DE BLANCS SECOND 1CT X 750ML</c:v>
                </c:pt>
                <c:pt idx="9">
                  <c:v>RUINART BRUT SECOND SKIN 1CT X 750ML</c:v>
                </c:pt>
                <c:pt idx="10">
                  <c:v>RUINART ROSE (NUE) 1CT X 750ML</c:v>
                </c:pt>
              </c:strCache>
            </c:strRef>
          </c:cat>
          <c:val>
            <c:numRef>
              <c:f>Sheet1!$B$2:$B$12</c:f>
              <c:numCache>
                <c:formatCode>General</c:formatCode>
                <c:ptCount val="11"/>
                <c:pt idx="0">
                  <c:v>21.92</c:v>
                </c:pt>
                <c:pt idx="1">
                  <c:v>39.200000000000003</c:v>
                </c:pt>
                <c:pt idx="2">
                  <c:v>37.29</c:v>
                </c:pt>
                <c:pt idx="3">
                  <c:v>25.16</c:v>
                </c:pt>
                <c:pt idx="4">
                  <c:v>40.729999999999997</c:v>
                </c:pt>
                <c:pt idx="5">
                  <c:v>32.56</c:v>
                </c:pt>
                <c:pt idx="6">
                  <c:v>95.19</c:v>
                </c:pt>
                <c:pt idx="7">
                  <c:v>57.77</c:v>
                </c:pt>
                <c:pt idx="8">
                  <c:v>96.67</c:v>
                </c:pt>
                <c:pt idx="9">
                  <c:v>62.43</c:v>
                </c:pt>
                <c:pt idx="10">
                  <c:v>90.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140-4765-B10D-3D1FCB5BD143}"/>
                </c:ext>
              </c:extLst>
            </c:dLbl>
            <c:dLbl>
              <c:idx val="1"/>
              <c:tx>
                <c:rich>
                  <a:bodyPr/>
                  <a:lstStyle/>
                  <a:p>
                    <a:r>
                      <a:t>37.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140-4765-B10D-3D1FCB5BD143}"/>
                </c:ext>
              </c:extLst>
            </c:dLbl>
            <c:dLbl>
              <c:idx val="2"/>
              <c:tx>
                <c:rich>
                  <a:bodyPr/>
                  <a:lstStyle/>
                  <a:p>
                    <a:r>
                      <a:t>39.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140-4765-B10D-3D1FCB5BD143}"/>
                </c:ext>
              </c:extLst>
            </c:dLbl>
            <c:dLbl>
              <c:idx val="3"/>
              <c:tx>
                <c:rich>
                  <a:bodyPr/>
                  <a:lstStyle/>
                  <a:p>
                    <a:r>
                      <a:t>2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140-4765-B10D-3D1FCB5BD143}"/>
                </c:ext>
              </c:extLst>
            </c:dLbl>
            <c:dLbl>
              <c:idx val="4"/>
              <c:tx>
                <c:rich>
                  <a:bodyPr/>
                  <a:lstStyle/>
                  <a:p>
                    <a:r>
                      <a:t>42.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140-4765-B10D-3D1FCB5BD143}"/>
                </c:ext>
              </c:extLst>
            </c:dLbl>
            <c:dLbl>
              <c:idx val="5"/>
              <c:tx>
                <c:rich>
                  <a:bodyPr/>
                  <a:lstStyle/>
                  <a:p>
                    <a:r>
                      <a:t>4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140-4765-B10D-3D1FCB5BD143}"/>
                </c:ext>
              </c:extLst>
            </c:dLbl>
            <c:dLbl>
              <c:idx val="6"/>
              <c:tx>
                <c:rich>
                  <a:bodyPr/>
                  <a:lstStyle/>
                  <a:p>
                    <a:r>
                      <a:t>10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140-4765-B10D-3D1FCB5BD143}"/>
                </c:ext>
              </c:extLst>
            </c:dLbl>
            <c:dLbl>
              <c:idx val="7"/>
              <c:tx>
                <c:rich>
                  <a:bodyPr/>
                  <a:lstStyle/>
                  <a:p>
                    <a:r>
                      <a:t>64.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140-4765-B10D-3D1FCB5BD143}"/>
                </c:ext>
              </c:extLst>
            </c:dLbl>
            <c:dLbl>
              <c:idx val="8"/>
              <c:tx>
                <c:rich>
                  <a:bodyPr/>
                  <a:lstStyle/>
                  <a:p>
                    <a:r>
                      <a:t>27.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140-4765-B10D-3D1FCB5BD143}"/>
                </c:ext>
              </c:extLst>
            </c:dLbl>
            <c:dLbl>
              <c:idx val="9"/>
              <c:tx>
                <c:rich>
                  <a:bodyPr/>
                  <a:lstStyle/>
                  <a:p>
                    <a:r>
                      <a:t>35.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140-4765-B10D-3D1FCB5BD143}"/>
                </c:ext>
              </c:extLst>
            </c:dLbl>
            <c:dLbl>
              <c:idx val="10"/>
              <c:tx>
                <c:rich>
                  <a:bodyPr/>
                  <a:lstStyle/>
                  <a:p>
                    <a:r>
                      <a:t>58.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140-4765-B10D-3D1FCB5BD143}"/>
                </c:ext>
              </c:extLst>
            </c:dLbl>
            <c:dLbl>
              <c:idx val="11"/>
              <c:tx>
                <c:rich>
                  <a:bodyPr/>
                  <a:lstStyle/>
                  <a:p>
                    <a:r>
                      <a:t>9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140-4765-B10D-3D1FCB5BD143}"/>
                </c:ext>
              </c:extLst>
            </c:dLbl>
            <c:dLbl>
              <c:idx val="12"/>
              <c:tx>
                <c:rich>
                  <a:bodyPr/>
                  <a:lstStyle/>
                  <a:p>
                    <a:r>
                      <a:t>95.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140-4765-B10D-3D1FCB5BD143}"/>
                </c:ext>
              </c:extLst>
            </c:dLbl>
            <c:dLbl>
              <c:idx val="13"/>
              <c:tx>
                <c:rich>
                  <a:bodyPr/>
                  <a:lstStyle/>
                  <a:p>
                    <a:r>
                      <a:t>6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140-4765-B10D-3D1FCB5BD143}"/>
                </c:ext>
              </c:extLst>
            </c:dLbl>
            <c:dLbl>
              <c:idx val="14"/>
              <c:tx>
                <c:rich>
                  <a:bodyPr/>
                  <a:lstStyle/>
                  <a:p>
                    <a:r>
                      <a:t>141.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8140-4765-B10D-3D1FCB5BD14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DEUTZ CLASSIC BRUT 1CT X 750ML</c:v>
                </c:pt>
                <c:pt idx="6">
                  <c:v>MG DEUTZ CLASSIC 1CT X 1500ML</c:v>
                </c:pt>
                <c:pt idx="7">
                  <c:v>DEUTZ ROSE 1CT X 750ML</c:v>
                </c:pt>
                <c:pt idx="8">
                  <c:v>1/2 DEUTZ CLASSIC BRUT 1CT X 375ML</c:v>
                </c:pt>
                <c:pt idx="9">
                  <c:v>LOUIS MARTIN BRUT PREMIER CRU 1CT X 750ML</c:v>
                </c:pt>
                <c:pt idx="10">
                  <c:v>RUINART BRUT (NUE) 1CT X 750ML</c:v>
                </c:pt>
                <c:pt idx="11">
                  <c:v>RUINART BLANC DE BLANCS (NUE) 1CT X 750ML</c:v>
                </c:pt>
                <c:pt idx="12">
                  <c:v>RUINART BLANC DE BLANCS SECOND 1CT X 750ML</c:v>
                </c:pt>
                <c:pt idx="13">
                  <c:v>RUINART BRUT SECOND SKIN 1CT X 750ML</c:v>
                </c:pt>
                <c:pt idx="14">
                  <c:v>MG RUINART BRUT SECOND SKIN 1CT X 1500ML</c:v>
                </c:pt>
              </c:strCache>
            </c:strRef>
          </c:cat>
          <c:val>
            <c:numRef>
              <c:f>Sheet1!$B$2:$B$16</c:f>
              <c:numCache>
                <c:formatCode>General</c:formatCode>
                <c:ptCount val="15"/>
                <c:pt idx="0">
                  <c:v>21.94</c:v>
                </c:pt>
                <c:pt idx="1">
                  <c:v>37.090000000000003</c:v>
                </c:pt>
                <c:pt idx="2">
                  <c:v>39.229999999999997</c:v>
                </c:pt>
                <c:pt idx="3">
                  <c:v>25.28</c:v>
                </c:pt>
                <c:pt idx="4">
                  <c:v>42.73</c:v>
                </c:pt>
                <c:pt idx="5">
                  <c:v>49.79</c:v>
                </c:pt>
                <c:pt idx="6">
                  <c:v>101.52</c:v>
                </c:pt>
                <c:pt idx="7">
                  <c:v>64.53</c:v>
                </c:pt>
                <c:pt idx="8">
                  <c:v>27.56</c:v>
                </c:pt>
                <c:pt idx="9">
                  <c:v>35.54</c:v>
                </c:pt>
                <c:pt idx="10">
                  <c:v>58.22</c:v>
                </c:pt>
                <c:pt idx="11">
                  <c:v>93.33</c:v>
                </c:pt>
                <c:pt idx="12">
                  <c:v>95.56</c:v>
                </c:pt>
                <c:pt idx="13">
                  <c:v>61.44</c:v>
                </c:pt>
                <c:pt idx="14">
                  <c:v>141.16999999999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7BB-42EB-AC8E-85D4AD6BA4EA}"/>
                </c:ext>
              </c:extLst>
            </c:dLbl>
            <c:dLbl>
              <c:idx val="1"/>
              <c:tx>
                <c:rich>
                  <a:bodyPr/>
                  <a:lstStyle/>
                  <a:p>
                    <a:r>
                      <a:t>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7BB-42EB-AC8E-85D4AD6BA4EA}"/>
                </c:ext>
              </c:extLst>
            </c:dLbl>
            <c:dLbl>
              <c:idx val="2"/>
              <c:tx>
                <c:rich>
                  <a:bodyPr/>
                  <a:lstStyle/>
                  <a:p>
                    <a:r>
                      <a:t>38.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7BB-42EB-AC8E-85D4AD6BA4EA}"/>
                </c:ext>
              </c:extLst>
            </c:dLbl>
            <c:dLbl>
              <c:idx val="3"/>
              <c:tx>
                <c:rich>
                  <a:bodyPr/>
                  <a:lstStyle/>
                  <a:p>
                    <a:r>
                      <a:t>36.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7BB-42EB-AC8E-85D4AD6BA4EA}"/>
                </c:ext>
              </c:extLst>
            </c:dLbl>
            <c:dLbl>
              <c:idx val="4"/>
              <c:tx>
                <c:rich>
                  <a:bodyPr/>
                  <a:lstStyle/>
                  <a:p>
                    <a:r>
                      <a:t>3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7BB-42EB-AC8E-85D4AD6BA4EA}"/>
                </c:ext>
              </c:extLst>
            </c:dLbl>
            <c:dLbl>
              <c:idx val="5"/>
              <c:tx>
                <c:rich>
                  <a:bodyPr/>
                  <a:lstStyle/>
                  <a:p>
                    <a:r>
                      <a:t>50.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7BB-42EB-AC8E-85D4AD6BA4EA}"/>
                </c:ext>
              </c:extLst>
            </c:dLbl>
            <c:dLbl>
              <c:idx val="6"/>
              <c:tx>
                <c:rich>
                  <a:bodyPr/>
                  <a:lstStyle/>
                  <a:p>
                    <a:r>
                      <a:t>102.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7BB-42EB-AC8E-85D4AD6BA4EA}"/>
                </c:ext>
              </c:extLst>
            </c:dLbl>
            <c:dLbl>
              <c:idx val="7"/>
              <c:tx>
                <c:rich>
                  <a:bodyPr/>
                  <a:lstStyle/>
                  <a:p>
                    <a:r>
                      <a:t>6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7BB-42EB-AC8E-85D4AD6BA4EA}"/>
                </c:ext>
              </c:extLst>
            </c:dLbl>
            <c:dLbl>
              <c:idx val="8"/>
              <c:tx>
                <c:rich>
                  <a:bodyPr/>
                  <a:lstStyle/>
                  <a:p>
                    <a:r>
                      <a:t>27.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7BB-42EB-AC8E-85D4AD6BA4EA}"/>
                </c:ext>
              </c:extLst>
            </c:dLbl>
            <c:dLbl>
              <c:idx val="9"/>
              <c:tx>
                <c:rich>
                  <a:bodyPr/>
                  <a:lstStyle/>
                  <a:p>
                    <a:r>
                      <a:t>30.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7BB-42EB-AC8E-85D4AD6BA4EA}"/>
                </c:ext>
              </c:extLst>
            </c:dLbl>
            <c:dLbl>
              <c:idx val="10"/>
              <c:tx>
                <c:rich>
                  <a:bodyPr/>
                  <a:lstStyle/>
                  <a:p>
                    <a:r>
                      <a:t>57.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7BB-42EB-AC8E-85D4AD6BA4EA}"/>
                </c:ext>
              </c:extLst>
            </c:dLbl>
            <c:dLbl>
              <c:idx val="11"/>
              <c:tx>
                <c:rich>
                  <a:bodyPr/>
                  <a:lstStyle/>
                  <a:p>
                    <a:r>
                      <a:t>94.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7BB-42EB-AC8E-85D4AD6BA4EA}"/>
                </c:ext>
              </c:extLst>
            </c:dLbl>
            <c:dLbl>
              <c:idx val="12"/>
              <c:tx>
                <c:rich>
                  <a:bodyPr/>
                  <a:lstStyle/>
                  <a:p>
                    <a:r>
                      <a:t>13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7BB-42EB-AC8E-85D4AD6BA4EA}"/>
                </c:ext>
              </c:extLst>
            </c:dLbl>
            <c:dLbl>
              <c:idx val="13"/>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7BB-42EB-AC8E-85D4AD6BA4EA}"/>
                </c:ext>
              </c:extLst>
            </c:dLbl>
            <c:dLbl>
              <c:idx val="14"/>
              <c:tx>
                <c:rich>
                  <a:bodyPr/>
                  <a:lstStyle/>
                  <a:p>
                    <a:r>
                      <a:t>89.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7BB-42EB-AC8E-85D4AD6BA4E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pt idx="5">
                  <c:v>DEUTZ CLASSIC BRUT 1CT X 750ML</c:v>
                </c:pt>
                <c:pt idx="6">
                  <c:v>MG DEUTZ CLASSIC 1CT X 1500ML</c:v>
                </c:pt>
                <c:pt idx="7">
                  <c:v>DEUTZ ROSE 1CT X 750ML</c:v>
                </c:pt>
                <c:pt idx="8">
                  <c:v>1/2 DEUTZ CLASSIC BRUT 1CT X 375ML</c:v>
                </c:pt>
                <c:pt idx="9">
                  <c:v>LOUIS MARTIN BRUT PREMIER CRU 1CT X 750ML</c:v>
                </c:pt>
                <c:pt idx="10">
                  <c:v>RUINART BRUT (NUE) 1CT X 750ML</c:v>
                </c:pt>
                <c:pt idx="11">
                  <c:v>RUINART BLANC DE BLANCS (NUE) 1CT X 750ML</c:v>
                </c:pt>
                <c:pt idx="12">
                  <c:v>MG RUINART BRUT SECOND SKIN 1CT X 1500ML</c:v>
                </c:pt>
                <c:pt idx="13">
                  <c:v>RUINART BLANC DE BLANCS SECOND 1CT X 750ML</c:v>
                </c:pt>
                <c:pt idx="14">
                  <c:v>RUINART ROSE (NUE) 1CT X 750ML</c:v>
                </c:pt>
              </c:strCache>
            </c:strRef>
          </c:cat>
          <c:val>
            <c:numRef>
              <c:f>Sheet1!$B$2:$B$16</c:f>
              <c:numCache>
                <c:formatCode>General</c:formatCode>
                <c:ptCount val="15"/>
                <c:pt idx="0">
                  <c:v>21.91</c:v>
                </c:pt>
                <c:pt idx="1">
                  <c:v>25.19</c:v>
                </c:pt>
                <c:pt idx="2">
                  <c:v>38.74</c:v>
                </c:pt>
                <c:pt idx="3">
                  <c:v>36.64</c:v>
                </c:pt>
                <c:pt idx="4">
                  <c:v>36</c:v>
                </c:pt>
                <c:pt idx="5">
                  <c:v>50.19</c:v>
                </c:pt>
                <c:pt idx="6">
                  <c:v>102.32</c:v>
                </c:pt>
                <c:pt idx="7">
                  <c:v>61.97</c:v>
                </c:pt>
                <c:pt idx="8">
                  <c:v>27.52</c:v>
                </c:pt>
                <c:pt idx="9">
                  <c:v>30.89</c:v>
                </c:pt>
                <c:pt idx="10">
                  <c:v>57.91</c:v>
                </c:pt>
                <c:pt idx="11">
                  <c:v>94.19</c:v>
                </c:pt>
                <c:pt idx="12">
                  <c:v>133.91</c:v>
                </c:pt>
                <c:pt idx="13">
                  <c:v>99.39</c:v>
                </c:pt>
                <c:pt idx="14">
                  <c:v>89.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AE1-48A6-932E-584D075FED57}"/>
                </c:ext>
              </c:extLst>
            </c:dLbl>
            <c:dLbl>
              <c:idx val="1"/>
              <c:tx>
                <c:rich>
                  <a:bodyPr/>
                  <a:lstStyle/>
                  <a:p>
                    <a:r>
                      <a:rPr lang="en-CH"/>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AE1-48A6-932E-584D075FED57}"/>
                </c:ext>
              </c:extLst>
            </c:dLbl>
            <c:dLbl>
              <c:idx val="2"/>
              <c:tx>
                <c:rich>
                  <a:bodyPr/>
                  <a:lstStyle/>
                  <a:p>
                    <a:r>
                      <a:rPr lang="en-CH"/>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AE1-48A6-932E-584D075FED57}"/>
                </c:ext>
              </c:extLst>
            </c:dLbl>
            <c:dLbl>
              <c:idx val="3"/>
              <c:tx>
                <c:rich>
                  <a:bodyPr/>
                  <a:lstStyle/>
                  <a:p>
                    <a:r>
                      <a:rPr lang="en-CH"/>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AE1-48A6-932E-584D075FED57}"/>
                </c:ext>
              </c:extLst>
            </c:dLbl>
            <c:dLbl>
              <c:idx val="4"/>
              <c:tx>
                <c:rich>
                  <a:bodyPr/>
                  <a:lstStyle/>
                  <a:p>
                    <a:r>
                      <a:rPr lang="en-CH"/>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AE1-48A6-932E-584D075FED57}"/>
                </c:ext>
              </c:extLst>
            </c:dLbl>
            <c:dLbl>
              <c:idx val="5"/>
              <c:tx>
                <c:rich>
                  <a:bodyPr/>
                  <a:lstStyle/>
                  <a:p>
                    <a:r>
                      <a:rPr lang="en-CH"/>
                      <a:t>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AE1-48A6-932E-584D075FED57}"/>
                </c:ext>
              </c:extLst>
            </c:dLbl>
            <c:dLbl>
              <c:idx val="6"/>
              <c:tx>
                <c:rich>
                  <a:bodyPr/>
                  <a:lstStyle/>
                  <a:p>
                    <a:r>
                      <a:rPr lang="en-CH"/>
                      <a:t>41.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AE1-48A6-932E-584D075FED57}"/>
                </c:ext>
              </c:extLst>
            </c:dLbl>
            <c:dLbl>
              <c:idx val="7"/>
              <c:tx>
                <c:rich>
                  <a:bodyPr/>
                  <a:lstStyle/>
                  <a:p>
                    <a:r>
                      <a:rPr lang="en-CH"/>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AE1-48A6-932E-584D075FED57}"/>
                </c:ext>
              </c:extLst>
            </c:dLbl>
            <c:dLbl>
              <c:idx val="8"/>
              <c:tx>
                <c:rich>
                  <a:bodyPr/>
                  <a:lstStyle/>
                  <a:p>
                    <a:r>
                      <a:rPr lang="en-CH"/>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AE1-48A6-932E-584D075FED57}"/>
                </c:ext>
              </c:extLst>
            </c:dLbl>
            <c:dLbl>
              <c:idx val="9"/>
              <c:tx>
                <c:rich>
                  <a:bodyPr/>
                  <a:lstStyle/>
                  <a:p>
                    <a:r>
                      <a:rPr lang="en-CH"/>
                      <a:t>86.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AE1-48A6-932E-584D075FED57}"/>
                </c:ext>
              </c:extLst>
            </c:dLbl>
            <c:dLbl>
              <c:idx val="10"/>
              <c:tx>
                <c:rich>
                  <a:bodyPr/>
                  <a:lstStyle/>
                  <a:p>
                    <a:r>
                      <a:rPr lang="en-CH"/>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AE1-48A6-932E-584D075FED57}"/>
                </c:ext>
              </c:extLst>
            </c:dLbl>
            <c:dLbl>
              <c:idx val="11"/>
              <c:tx>
                <c:rich>
                  <a:bodyPr/>
                  <a:lstStyle/>
                  <a:p>
                    <a:r>
                      <a:rPr lang="en-CH"/>
                      <a:t>3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AE1-48A6-932E-584D075FED57}"/>
                </c:ext>
              </c:extLst>
            </c:dLbl>
            <c:dLbl>
              <c:idx val="12"/>
              <c:tx>
                <c:rich>
                  <a:bodyPr/>
                  <a:lstStyle/>
                  <a:p>
                    <a:r>
                      <a:rPr lang="en-CH"/>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AE1-48A6-932E-584D075FED57}"/>
                </c:ext>
              </c:extLst>
            </c:dLbl>
            <c:dLbl>
              <c:idx val="13"/>
              <c:tx>
                <c:rich>
                  <a:bodyPr/>
                  <a:lstStyle/>
                  <a:p>
                    <a:r>
                      <a:rPr lang="en-CH"/>
                      <a:t>76.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AE1-48A6-932E-584D075FED57}"/>
                </c:ext>
              </c:extLst>
            </c:dLbl>
            <c:dLbl>
              <c:idx val="14"/>
              <c:tx>
                <c:rich>
                  <a:bodyPr/>
                  <a:lstStyle/>
                  <a:p>
                    <a:r>
                      <a:rPr lang="en-CH"/>
                      <a:t>37.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AE1-48A6-932E-584D075FED5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c:v>
                </c:pt>
                <c:pt idx="2">
                  <c:v>25.01</c:v>
                </c:pt>
                <c:pt idx="3">
                  <c:v>36.99</c:v>
                </c:pt>
                <c:pt idx="4">
                  <c:v>22.28</c:v>
                </c:pt>
                <c:pt idx="5">
                  <c:v>45.37</c:v>
                </c:pt>
                <c:pt idx="6">
                  <c:v>41.24</c:v>
                </c:pt>
                <c:pt idx="7">
                  <c:v>46.38</c:v>
                </c:pt>
                <c:pt idx="8">
                  <c:v>23.97</c:v>
                </c:pt>
                <c:pt idx="9">
                  <c:v>86.54</c:v>
                </c:pt>
                <c:pt idx="10">
                  <c:v>23.99</c:v>
                </c:pt>
                <c:pt idx="11">
                  <c:v>37.19</c:v>
                </c:pt>
                <c:pt idx="12">
                  <c:v>37.020000000000003</c:v>
                </c:pt>
                <c:pt idx="13">
                  <c:v>76.13</c:v>
                </c:pt>
                <c:pt idx="14">
                  <c:v>37.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40F-496F-9454-610D3662E691}"/>
                </c:ext>
              </c:extLst>
            </c:dLbl>
            <c:dLbl>
              <c:idx val="1"/>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40F-496F-9454-610D3662E691}"/>
                </c:ext>
              </c:extLst>
            </c:dLbl>
            <c:dLbl>
              <c:idx val="2"/>
              <c:tx>
                <c:rich>
                  <a:bodyPr/>
                  <a:lstStyle/>
                  <a:p>
                    <a:r>
                      <a:t>38.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40F-496F-9454-610D3662E691}"/>
                </c:ext>
              </c:extLst>
            </c:dLbl>
            <c:dLbl>
              <c:idx val="3"/>
              <c:tx>
                <c:rich>
                  <a:bodyPr/>
                  <a:lstStyle/>
                  <a:p>
                    <a:r>
                      <a:t>49.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40F-496F-9454-610D3662E691}"/>
                </c:ext>
              </c:extLst>
            </c:dLbl>
            <c:dLbl>
              <c:idx val="4"/>
              <c:tx>
                <c:rich>
                  <a:bodyPr/>
                  <a:lstStyle/>
                  <a:p>
                    <a:r>
                      <a:t>97.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40F-496F-9454-610D3662E691}"/>
                </c:ext>
              </c:extLst>
            </c:dLbl>
            <c:dLbl>
              <c:idx val="5"/>
              <c:tx>
                <c:rich>
                  <a:bodyPr/>
                  <a:lstStyle/>
                  <a:p>
                    <a:r>
                      <a:t>60.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40F-496F-9454-610D3662E691}"/>
                </c:ext>
              </c:extLst>
            </c:dLbl>
            <c:dLbl>
              <c:idx val="6"/>
              <c:tx>
                <c:rich>
                  <a:bodyPr/>
                  <a:lstStyle/>
                  <a:p>
                    <a:r>
                      <a:t>20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40F-496F-9454-610D3662E691}"/>
                </c:ext>
              </c:extLst>
            </c:dLbl>
            <c:dLbl>
              <c:idx val="7"/>
              <c:tx>
                <c:rich>
                  <a:bodyPr/>
                  <a:lstStyle/>
                  <a:p>
                    <a:r>
                      <a:t>27.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40F-496F-9454-610D3662E691}"/>
                </c:ext>
              </c:extLst>
            </c:dLbl>
            <c:dLbl>
              <c:idx val="8"/>
              <c:tx>
                <c:rich>
                  <a:bodyPr/>
                  <a:lstStyle/>
                  <a:p>
                    <a:r>
                      <a:t>33.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40F-496F-9454-610D3662E691}"/>
                </c:ext>
              </c:extLst>
            </c:dLbl>
            <c:dLbl>
              <c:idx val="9"/>
              <c:tx>
                <c:rich>
                  <a:bodyPr/>
                  <a:lstStyle/>
                  <a:p>
                    <a:r>
                      <a:t>5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40F-496F-9454-610D3662E691}"/>
                </c:ext>
              </c:extLst>
            </c:dLbl>
            <c:dLbl>
              <c:idx val="10"/>
              <c:tx>
                <c:rich>
                  <a:bodyPr/>
                  <a:lstStyle/>
                  <a:p>
                    <a:r>
                      <a:t>9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40F-496F-9454-610D3662E691}"/>
                </c:ext>
              </c:extLst>
            </c:dLbl>
            <c:dLbl>
              <c:idx val="11"/>
              <c:tx>
                <c:rich>
                  <a:bodyPr/>
                  <a:lstStyle/>
                  <a:p>
                    <a:r>
                      <a:t>14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40F-496F-9454-610D3662E691}"/>
                </c:ext>
              </c:extLst>
            </c:dLbl>
            <c:dLbl>
              <c:idx val="12"/>
              <c:tx>
                <c:rich>
                  <a:bodyPr/>
                  <a:lstStyle/>
                  <a:p>
                    <a:r>
                      <a:t>6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40F-496F-9454-610D3662E691}"/>
                </c:ext>
              </c:extLst>
            </c:dLbl>
            <c:dLbl>
              <c:idx val="13"/>
              <c:tx>
                <c:rich>
                  <a:bodyPr/>
                  <a:lstStyle/>
                  <a:p>
                    <a:r>
                      <a:t>95.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40F-496F-9454-610D3662E69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E.NICOLAS ROSE 1CT X 750ML</c:v>
                </c:pt>
                <c:pt idx="2">
                  <c:v>CHAMPAGNE NICOLAS BLC/BLC BS 1CT X 750ML</c:v>
                </c:pt>
                <c:pt idx="3">
                  <c:v>DEUTZ CLASSIC BRUT 1CT X 750ML</c:v>
                </c:pt>
                <c:pt idx="4">
                  <c:v>MG DEUTZ CLASSIC 1CT X 1500ML</c:v>
                </c:pt>
                <c:pt idx="5">
                  <c:v>DEUTZ ROSE 1CT X 750ML</c:v>
                </c:pt>
                <c:pt idx="6">
                  <c:v>DEUTZ "AMOUR DE DEUTZ" 2013 1CT X 750ML</c:v>
                </c:pt>
                <c:pt idx="7">
                  <c:v>1/2 DEUTZ CLASSIC BRUT 1CT X 375ML</c:v>
                </c:pt>
                <c:pt idx="8">
                  <c:v>LOUIS MARTIN BRUT PREMIER CRU 1CT X 750ML</c:v>
                </c:pt>
                <c:pt idx="9">
                  <c:v>RUINART BRUT (NUE) 1CT X 750ML</c:v>
                </c:pt>
                <c:pt idx="10">
                  <c:v>RUINART BLANC DE BLANCS (NUE) 1CT X 750ML</c:v>
                </c:pt>
                <c:pt idx="11">
                  <c:v>MG RUINART BRUT SECOND SKIN 1CT X 1500ML</c:v>
                </c:pt>
                <c:pt idx="12">
                  <c:v>RUINART BRUT SECOND SKIN 1CT X 750ML</c:v>
                </c:pt>
                <c:pt idx="13">
                  <c:v>RUINART BLANC DE BLANCS SECOND 1CT X 750ML</c:v>
                </c:pt>
              </c:strCache>
            </c:strRef>
          </c:cat>
          <c:val>
            <c:numRef>
              <c:f>Sheet1!$B$2:$B$15</c:f>
              <c:numCache>
                <c:formatCode>General</c:formatCode>
                <c:ptCount val="14"/>
                <c:pt idx="0">
                  <c:v>21.4</c:v>
                </c:pt>
                <c:pt idx="1">
                  <c:v>24.99</c:v>
                </c:pt>
                <c:pt idx="2">
                  <c:v>38.72</c:v>
                </c:pt>
                <c:pt idx="3">
                  <c:v>49.81</c:v>
                </c:pt>
                <c:pt idx="4">
                  <c:v>97.59</c:v>
                </c:pt>
                <c:pt idx="5">
                  <c:v>60.64</c:v>
                </c:pt>
                <c:pt idx="6">
                  <c:v>201.36</c:v>
                </c:pt>
                <c:pt idx="7">
                  <c:v>27.36</c:v>
                </c:pt>
                <c:pt idx="8">
                  <c:v>33.479999999999997</c:v>
                </c:pt>
                <c:pt idx="9">
                  <c:v>57.71</c:v>
                </c:pt>
                <c:pt idx="10">
                  <c:v>95.01</c:v>
                </c:pt>
                <c:pt idx="11">
                  <c:v>141.91</c:v>
                </c:pt>
                <c:pt idx="12">
                  <c:v>61.02</c:v>
                </c:pt>
                <c:pt idx="13">
                  <c:v>95.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A7E-4953-8A32-3254C68DFE1B}"/>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A7E-4953-8A32-3254C68DFE1B}"/>
                </c:ext>
              </c:extLst>
            </c:dLbl>
            <c:dLbl>
              <c:idx val="2"/>
              <c:tx>
                <c:rich>
                  <a:bodyPr/>
                  <a:lstStyle/>
                  <a:p>
                    <a:r>
                      <a:t>36.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A7E-4953-8A32-3254C68DFE1B}"/>
                </c:ext>
              </c:extLst>
            </c:dLbl>
            <c:dLbl>
              <c:idx val="3"/>
              <c:tx>
                <c:rich>
                  <a:bodyPr/>
                  <a:lstStyle/>
                  <a:p>
                    <a:r>
                      <a:t>24.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A7E-4953-8A32-3254C68DFE1B}"/>
                </c:ext>
              </c:extLst>
            </c:dLbl>
            <c:dLbl>
              <c:idx val="4"/>
              <c:tx>
                <c:rich>
                  <a:bodyPr/>
                  <a:lstStyle/>
                  <a:p>
                    <a:r>
                      <a:t>40.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A7E-4953-8A32-3254C68DFE1B}"/>
                </c:ext>
              </c:extLst>
            </c:dLbl>
            <c:dLbl>
              <c:idx val="5"/>
              <c:tx>
                <c:rich>
                  <a:bodyPr/>
                  <a:lstStyle/>
                  <a:p>
                    <a:r>
                      <a:t>49.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A7E-4953-8A32-3254C68DFE1B}"/>
                </c:ext>
              </c:extLst>
            </c:dLbl>
            <c:dLbl>
              <c:idx val="6"/>
              <c:tx>
                <c:rich>
                  <a:bodyPr/>
                  <a:lstStyle/>
                  <a:p>
                    <a:r>
                      <a:t>6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A7E-4953-8A32-3254C68DFE1B}"/>
                </c:ext>
              </c:extLst>
            </c:dLbl>
            <c:dLbl>
              <c:idx val="7"/>
              <c:tx>
                <c:rich>
                  <a:bodyPr/>
                  <a:lstStyle/>
                  <a:p>
                    <a:r>
                      <a:t>99.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A7E-4953-8A32-3254C68DFE1B}"/>
                </c:ext>
              </c:extLst>
            </c:dLbl>
            <c:dLbl>
              <c:idx val="8"/>
              <c:tx>
                <c:rich>
                  <a:bodyPr/>
                  <a:lstStyle/>
                  <a:p>
                    <a:r>
                      <a:t>28.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A7E-4953-8A32-3254C68DFE1B}"/>
                </c:ext>
              </c:extLst>
            </c:dLbl>
            <c:dLbl>
              <c:idx val="9"/>
              <c:tx>
                <c:rich>
                  <a:bodyPr/>
                  <a:lstStyle/>
                  <a:p>
                    <a:r>
                      <a:t>193.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A7E-4953-8A32-3254C68DFE1B}"/>
                </c:ext>
              </c:extLst>
            </c:dLbl>
            <c:dLbl>
              <c:idx val="10"/>
              <c:tx>
                <c:rich>
                  <a:bodyPr/>
                  <a:lstStyle/>
                  <a:p>
                    <a:r>
                      <a:t>44.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A7E-4953-8A32-3254C68DFE1B}"/>
                </c:ext>
              </c:extLst>
            </c:dLbl>
            <c:dLbl>
              <c:idx val="11"/>
              <c:tx>
                <c:rich>
                  <a:bodyPr/>
                  <a:lstStyle/>
                  <a:p>
                    <a:r>
                      <a:t>84.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A7E-4953-8A32-3254C68DFE1B}"/>
                </c:ext>
              </c:extLst>
            </c:dLbl>
            <c:dLbl>
              <c:idx val="12"/>
              <c:tx>
                <c:rich>
                  <a:bodyPr/>
                  <a:lstStyle/>
                  <a:p>
                    <a:r>
                      <a:t>79.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A7E-4953-8A32-3254C68DFE1B}"/>
                </c:ext>
              </c:extLst>
            </c:dLbl>
            <c:dLbl>
              <c:idx val="13"/>
              <c:tx>
                <c:rich>
                  <a:bodyPr/>
                  <a:lstStyle/>
                  <a:p>
                    <a:r>
                      <a:t>57.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A7E-4953-8A32-3254C68DFE1B}"/>
                </c:ext>
              </c:extLst>
            </c:dLbl>
            <c:dLbl>
              <c:idx val="14"/>
              <c:tx>
                <c:rich>
                  <a:bodyPr/>
                  <a:lstStyle/>
                  <a:p>
                    <a:r>
                      <a:t>11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A7E-4953-8A32-3254C68DFE1B}"/>
                </c:ext>
              </c:extLst>
            </c:dLbl>
            <c:dLbl>
              <c:idx val="15"/>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A7E-4953-8A32-3254C68DFE1B}"/>
                </c:ext>
              </c:extLst>
            </c:dLbl>
            <c:dLbl>
              <c:idx val="16"/>
              <c:tx>
                <c:rich>
                  <a:bodyPr/>
                  <a:lstStyle/>
                  <a:p>
                    <a:r>
                      <a:t>9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A7E-4953-8A32-3254C68DFE1B}"/>
                </c:ext>
              </c:extLst>
            </c:dLbl>
            <c:dLbl>
              <c:idx val="17"/>
              <c:tx>
                <c:rich>
                  <a:bodyPr/>
                  <a:lstStyle/>
                  <a:p>
                    <a:r>
                      <a:t>97.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A7E-4953-8A32-3254C68DFE1B}"/>
                </c:ext>
              </c:extLst>
            </c:dLbl>
            <c:dLbl>
              <c:idx val="18"/>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EA7E-4953-8A32-3254C68DFE1B}"/>
                </c:ext>
              </c:extLst>
            </c:dLbl>
            <c:dLbl>
              <c:idx val="19"/>
              <c:tx>
                <c:rich>
                  <a:bodyPr/>
                  <a:lstStyle/>
                  <a:p>
                    <a:r>
                      <a:t>139.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EA7E-4953-8A32-3254C68DFE1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DEUTZ CLASSIC BRUT 1CT X 750ML</c:v>
                </c:pt>
                <c:pt idx="6">
                  <c:v>DEUTZ ROSE 1CT X 750ML</c:v>
                </c:pt>
                <c:pt idx="7">
                  <c:v>MG DEUTZ CLASSIC 1CT X 1500ML</c:v>
                </c:pt>
                <c:pt idx="8">
                  <c:v>1/2 DEUTZ CLASSIC BRUT 1CT X 375ML</c:v>
                </c:pt>
                <c:pt idx="9">
                  <c:v>DEUTZ "AMOUR DE DEUTZ" 2013 1CT X 750ML</c:v>
                </c:pt>
                <c:pt idx="10">
                  <c:v>LAURENT PERRIER LA CUVEE BRUT 1CT X 750ML</c:v>
                </c:pt>
                <c:pt idx="11">
                  <c:v>MG LAURENT PERRIER LA CUVEE 1CT X 1500ML</c:v>
                </c:pt>
                <c:pt idx="12">
                  <c:v>LAURENT PERRIER ROSE 1CT X 750ML</c:v>
                </c:pt>
                <c:pt idx="13">
                  <c:v>LAURENT PERRIER ULTRA BRUT 1CT X 750ML</c:v>
                </c:pt>
                <c:pt idx="14">
                  <c:v>LAURENT PERRIER BLC BLCS NATUR 1CT X 750ML</c:v>
                </c:pt>
                <c:pt idx="15">
                  <c:v>RUINART BRUT (NUE) 1CT X 750ML</c:v>
                </c:pt>
                <c:pt idx="16">
                  <c:v>RUINART BLANC DE BLANCS (NUE) 1CT X 750ML</c:v>
                </c:pt>
                <c:pt idx="17">
                  <c:v>RUINART BLANC DE BLANCS SECOND 1CT X 750ML</c:v>
                </c:pt>
                <c:pt idx="18">
                  <c:v>RUINART BRUT SECOND SKIN 1CT X 750ML</c:v>
                </c:pt>
                <c:pt idx="19">
                  <c:v>MG RUINART BRUT SECOND SKIN 1CT X 1500ML</c:v>
                </c:pt>
              </c:strCache>
            </c:strRef>
          </c:cat>
          <c:val>
            <c:numRef>
              <c:f>Sheet1!$B$2:$B$21</c:f>
              <c:numCache>
                <c:formatCode>General</c:formatCode>
                <c:ptCount val="20"/>
                <c:pt idx="0">
                  <c:v>21.87</c:v>
                </c:pt>
                <c:pt idx="1">
                  <c:v>39.090000000000003</c:v>
                </c:pt>
                <c:pt idx="2">
                  <c:v>36.840000000000003</c:v>
                </c:pt>
                <c:pt idx="3">
                  <c:v>24.94</c:v>
                </c:pt>
                <c:pt idx="4">
                  <c:v>40.71</c:v>
                </c:pt>
                <c:pt idx="5">
                  <c:v>49.92</c:v>
                </c:pt>
                <c:pt idx="6">
                  <c:v>62.69</c:v>
                </c:pt>
                <c:pt idx="7">
                  <c:v>99.89</c:v>
                </c:pt>
                <c:pt idx="8">
                  <c:v>28.13</c:v>
                </c:pt>
                <c:pt idx="9">
                  <c:v>193.34</c:v>
                </c:pt>
                <c:pt idx="10">
                  <c:v>44.47</c:v>
                </c:pt>
                <c:pt idx="11">
                  <c:v>84.54</c:v>
                </c:pt>
                <c:pt idx="12">
                  <c:v>79.239999999999995</c:v>
                </c:pt>
                <c:pt idx="13">
                  <c:v>57.51</c:v>
                </c:pt>
                <c:pt idx="14">
                  <c:v>116.83</c:v>
                </c:pt>
                <c:pt idx="15">
                  <c:v>57.87</c:v>
                </c:pt>
                <c:pt idx="16">
                  <c:v>94.21</c:v>
                </c:pt>
                <c:pt idx="17">
                  <c:v>97.21</c:v>
                </c:pt>
                <c:pt idx="18">
                  <c:v>61.89</c:v>
                </c:pt>
                <c:pt idx="19">
                  <c:v>139.36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ED7-4AF8-9918-3A3DB6C9A3ED}"/>
                </c:ext>
              </c:extLst>
            </c:dLbl>
            <c:dLbl>
              <c:idx val="1"/>
              <c:tx>
                <c:rich>
                  <a:bodyPr/>
                  <a:lstStyle/>
                  <a:p>
                    <a:r>
                      <a:t>3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ED7-4AF8-9918-3A3DB6C9A3ED}"/>
                </c:ext>
              </c:extLst>
            </c:dLbl>
            <c:dLbl>
              <c:idx val="2"/>
              <c:tx>
                <c:rich>
                  <a:bodyPr/>
                  <a:lstStyle/>
                  <a:p>
                    <a:r>
                      <a:t>2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ED7-4AF8-9918-3A3DB6C9A3ED}"/>
                </c:ext>
              </c:extLst>
            </c:dLbl>
            <c:dLbl>
              <c:idx val="3"/>
              <c:tx>
                <c:rich>
                  <a:bodyPr/>
                  <a:lstStyle/>
                  <a:p>
                    <a:r>
                      <a:t>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ED7-4AF8-9918-3A3DB6C9A3ED}"/>
                </c:ext>
              </c:extLst>
            </c:dLbl>
            <c:dLbl>
              <c:idx val="4"/>
              <c:tx>
                <c:rich>
                  <a:bodyPr/>
                  <a:lstStyle/>
                  <a:p>
                    <a:r>
                      <a:t>2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ED7-4AF8-9918-3A3DB6C9A3ED}"/>
                </c:ext>
              </c:extLst>
            </c:dLbl>
            <c:dLbl>
              <c:idx val="5"/>
              <c:tx>
                <c:rich>
                  <a:bodyPr/>
                  <a:lstStyle/>
                  <a:p>
                    <a:r>
                      <a:t>33.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ED7-4AF8-9918-3A3DB6C9A3ED}"/>
                </c:ext>
              </c:extLst>
            </c:dLbl>
            <c:dLbl>
              <c:idx val="6"/>
              <c:tx>
                <c:rich>
                  <a:bodyPr/>
                  <a:lstStyle/>
                  <a:p>
                    <a:r>
                      <a:t>58.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ED7-4AF8-9918-3A3DB6C9A3ED}"/>
                </c:ext>
              </c:extLst>
            </c:dLbl>
            <c:dLbl>
              <c:idx val="7"/>
              <c:tx>
                <c:rich>
                  <a:bodyPr/>
                  <a:lstStyle/>
                  <a:p>
                    <a:r>
                      <a:t>92.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ED7-4AF8-9918-3A3DB6C9A3ED}"/>
                </c:ext>
              </c:extLst>
            </c:dLbl>
            <c:dLbl>
              <c:idx val="8"/>
              <c:tx>
                <c:rich>
                  <a:bodyPr/>
                  <a:lstStyle/>
                  <a:p>
                    <a:r>
                      <a:t>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ED7-4AF8-9918-3A3DB6C9A3ED}"/>
                </c:ext>
              </c:extLst>
            </c:dLbl>
            <c:dLbl>
              <c:idx val="9"/>
              <c:tx>
                <c:rich>
                  <a:bodyPr/>
                  <a:lstStyle/>
                  <a:p>
                    <a:r>
                      <a:t>61.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ED7-4AF8-9918-3A3DB6C9A3ED}"/>
                </c:ext>
              </c:extLst>
            </c:dLbl>
            <c:dLbl>
              <c:idx val="10"/>
              <c:tx>
                <c:rich>
                  <a:bodyPr/>
                  <a:lstStyle/>
                  <a:p>
                    <a:r>
                      <a:t>141.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ED7-4AF8-9918-3A3DB6C9A3E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1</c:v>
                </c:pt>
                <c:pt idx="1">
                  <c:v>39.03</c:v>
                </c:pt>
                <c:pt idx="2">
                  <c:v>24.9</c:v>
                </c:pt>
                <c:pt idx="3">
                  <c:v>37.6</c:v>
                </c:pt>
                <c:pt idx="4">
                  <c:v>22.41</c:v>
                </c:pt>
                <c:pt idx="5">
                  <c:v>33.03</c:v>
                </c:pt>
                <c:pt idx="6">
                  <c:v>58.06</c:v>
                </c:pt>
                <c:pt idx="7">
                  <c:v>92.94</c:v>
                </c:pt>
                <c:pt idx="8">
                  <c:v>96.7</c:v>
                </c:pt>
                <c:pt idx="9">
                  <c:v>61.67</c:v>
                </c:pt>
                <c:pt idx="10">
                  <c:v>141.83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AF4-4D09-B5B5-26AC25B072EC}"/>
                </c:ext>
              </c:extLst>
            </c:dLbl>
            <c:dLbl>
              <c:idx val="1"/>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AF4-4D09-B5B5-26AC25B072EC}"/>
                </c:ext>
              </c:extLst>
            </c:dLbl>
            <c:dLbl>
              <c:idx val="2"/>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F4-4D09-B5B5-26AC25B072EC}"/>
                </c:ext>
              </c:extLst>
            </c:dLbl>
            <c:dLbl>
              <c:idx val="3"/>
              <c:tx>
                <c:rich>
                  <a:bodyPr/>
                  <a:lstStyle/>
                  <a:p>
                    <a:r>
                      <a:t>36.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AF4-4D09-B5B5-26AC25B072EC}"/>
                </c:ext>
              </c:extLst>
            </c:dLbl>
            <c:dLbl>
              <c:idx val="4"/>
              <c:tx>
                <c:rich>
                  <a:bodyPr/>
                  <a:lstStyle/>
                  <a:p>
                    <a:r>
                      <a:t>41.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AF4-4D09-B5B5-26AC25B072EC}"/>
                </c:ext>
              </c:extLst>
            </c:dLbl>
            <c:dLbl>
              <c:idx val="5"/>
              <c:tx>
                <c:rich>
                  <a:bodyPr/>
                  <a:lstStyle/>
                  <a:p>
                    <a:r>
                      <a:t>33.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AF4-4D09-B5B5-26AC25B072EC}"/>
                </c:ext>
              </c:extLst>
            </c:dLbl>
            <c:dLbl>
              <c:idx val="6"/>
              <c:tx>
                <c:rich>
                  <a:bodyPr/>
                  <a:lstStyle/>
                  <a:p>
                    <a:r>
                      <a:t>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AF4-4D09-B5B5-26AC25B072EC}"/>
                </c:ext>
              </c:extLst>
            </c:dLbl>
            <c:dLbl>
              <c:idx val="7"/>
              <c:tx>
                <c:rich>
                  <a:bodyPr/>
                  <a:lstStyle/>
                  <a:p>
                    <a:r>
                      <a:t>92.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AF4-4D09-B5B5-26AC25B072EC}"/>
                </c:ext>
              </c:extLst>
            </c:dLbl>
            <c:dLbl>
              <c:idx val="8"/>
              <c:tx>
                <c:rich>
                  <a:bodyPr/>
                  <a:lstStyle/>
                  <a:p>
                    <a:r>
                      <a:t>9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AF4-4D09-B5B5-26AC25B072EC}"/>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AF4-4D09-B5B5-26AC25B072EC}"/>
                </c:ext>
              </c:extLst>
            </c:dLbl>
            <c:dLbl>
              <c:idx val="10"/>
              <c:tx>
                <c:rich>
                  <a:bodyPr/>
                  <a:lstStyle/>
                  <a:p>
                    <a:r>
                      <a:t>139.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AF4-4D09-B5B5-26AC25B072E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89</c:v>
                </c:pt>
                <c:pt idx="1">
                  <c:v>38.979999999999997</c:v>
                </c:pt>
                <c:pt idx="2">
                  <c:v>25.01</c:v>
                </c:pt>
                <c:pt idx="3">
                  <c:v>36.950000000000003</c:v>
                </c:pt>
                <c:pt idx="4">
                  <c:v>41.25</c:v>
                </c:pt>
                <c:pt idx="5">
                  <c:v>33.369999999999997</c:v>
                </c:pt>
                <c:pt idx="6">
                  <c:v>57.8</c:v>
                </c:pt>
                <c:pt idx="7">
                  <c:v>92.87</c:v>
                </c:pt>
                <c:pt idx="8">
                  <c:v>96.98</c:v>
                </c:pt>
                <c:pt idx="9">
                  <c:v>62.03</c:v>
                </c:pt>
                <c:pt idx="10">
                  <c:v>139.830000000000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F32-4603-86DB-4B8F587C8175}"/>
                </c:ext>
              </c:extLst>
            </c:dLbl>
            <c:dLbl>
              <c:idx val="1"/>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F32-4603-86DB-4B8F587C8175}"/>
                </c:ext>
              </c:extLst>
            </c:dLbl>
            <c:dLbl>
              <c:idx val="2"/>
              <c:tx>
                <c:rich>
                  <a:bodyPr/>
                  <a:lstStyle/>
                  <a:p>
                    <a:r>
                      <a:t>36.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F32-4603-86DB-4B8F587C8175}"/>
                </c:ext>
              </c:extLst>
            </c:dLbl>
            <c:dLbl>
              <c:idx val="3"/>
              <c:tx>
                <c:rich>
                  <a:bodyPr/>
                  <a:lstStyle/>
                  <a:p>
                    <a:r>
                      <a:t>25.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F32-4603-86DB-4B8F587C8175}"/>
                </c:ext>
              </c:extLst>
            </c:dLbl>
            <c:dLbl>
              <c:idx val="4"/>
              <c:tx>
                <c:rich>
                  <a:bodyPr/>
                  <a:lstStyle/>
                  <a:p>
                    <a:r>
                      <a:t>41.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F32-4603-86DB-4B8F587C8175}"/>
                </c:ext>
              </c:extLst>
            </c:dLbl>
            <c:dLbl>
              <c:idx val="5"/>
              <c:tx>
                <c:rich>
                  <a:bodyPr/>
                  <a:lstStyle/>
                  <a:p>
                    <a:r>
                      <a:t>33.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F32-4603-86DB-4B8F587C8175}"/>
                </c:ext>
              </c:extLst>
            </c:dLbl>
            <c:dLbl>
              <c:idx val="6"/>
              <c:tx>
                <c:rich>
                  <a:bodyPr/>
                  <a:lstStyle/>
                  <a:p>
                    <a:r>
                      <a:t>5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F32-4603-86DB-4B8F587C8175}"/>
                </c:ext>
              </c:extLst>
            </c:dLbl>
            <c:dLbl>
              <c:idx val="7"/>
              <c:tx>
                <c:rich>
                  <a:bodyPr/>
                  <a:lstStyle/>
                  <a:p>
                    <a:r>
                      <a:t>93.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F32-4603-86DB-4B8F587C8175}"/>
                </c:ext>
              </c:extLst>
            </c:dLbl>
            <c:dLbl>
              <c:idx val="8"/>
              <c:tx>
                <c:rich>
                  <a:bodyPr/>
                  <a:lstStyle/>
                  <a:p>
                    <a:r>
                      <a:t>9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F32-4603-86DB-4B8F587C8175}"/>
                </c:ext>
              </c:extLst>
            </c:dLbl>
            <c:dLbl>
              <c:idx val="9"/>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F32-4603-86DB-4B8F587C8175}"/>
                </c:ext>
              </c:extLst>
            </c:dLbl>
            <c:dLbl>
              <c:idx val="10"/>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F32-4603-86DB-4B8F587C817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LOUIS MARTIN BRUT PREMIER CRU 1CT X 750ML</c:v>
                </c:pt>
                <c:pt idx="6">
                  <c:v>RUINART BRUT (NUE) 1CT X 750ML</c:v>
                </c:pt>
                <c:pt idx="7">
                  <c:v>RUINART BLANC DE BLANCS (NUE) 1CT X 750ML</c:v>
                </c:pt>
                <c:pt idx="8">
                  <c:v>RUINART BLANC DE BLANCS SECOND 1CT X 750ML</c:v>
                </c:pt>
                <c:pt idx="9">
                  <c:v>RUINART BRUT SECOND SKIN 1CT X 750ML</c:v>
                </c:pt>
                <c:pt idx="10">
                  <c:v>MG RUINART BRUT SECOND SKIN 1CT X 1500ML</c:v>
                </c:pt>
              </c:strCache>
            </c:strRef>
          </c:cat>
          <c:val>
            <c:numRef>
              <c:f>Sheet1!$B$2:$B$12</c:f>
              <c:numCache>
                <c:formatCode>General</c:formatCode>
                <c:ptCount val="11"/>
                <c:pt idx="0">
                  <c:v>21.92</c:v>
                </c:pt>
                <c:pt idx="1">
                  <c:v>39.090000000000003</c:v>
                </c:pt>
                <c:pt idx="2">
                  <c:v>36.92</c:v>
                </c:pt>
                <c:pt idx="3">
                  <c:v>25.12</c:v>
                </c:pt>
                <c:pt idx="4">
                  <c:v>41.31</c:v>
                </c:pt>
                <c:pt idx="5">
                  <c:v>33.479999999999997</c:v>
                </c:pt>
                <c:pt idx="6">
                  <c:v>57.75</c:v>
                </c:pt>
                <c:pt idx="7">
                  <c:v>93.04</c:v>
                </c:pt>
                <c:pt idx="8">
                  <c:v>96.31</c:v>
                </c:pt>
                <c:pt idx="9">
                  <c:v>62.03</c:v>
                </c:pt>
                <c:pt idx="10">
                  <c:v>139.44999999999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F28-48A4-99E4-12F4D20E29FF}"/>
                </c:ext>
              </c:extLst>
            </c:dLbl>
            <c:dLbl>
              <c:idx val="1"/>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F28-48A4-99E4-12F4D20E29FF}"/>
                </c:ext>
              </c:extLst>
            </c:dLbl>
            <c:dLbl>
              <c:idx val="2"/>
              <c:tx>
                <c:rich>
                  <a:bodyPr/>
                  <a:lstStyle/>
                  <a:p>
                    <a:r>
                      <a:t>2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F28-48A4-99E4-12F4D20E29FF}"/>
                </c:ext>
              </c:extLst>
            </c:dLbl>
            <c:dLbl>
              <c:idx val="3"/>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F28-48A4-99E4-12F4D20E29FF}"/>
                </c:ext>
              </c:extLst>
            </c:dLbl>
            <c:dLbl>
              <c:idx val="4"/>
              <c:tx>
                <c:rich>
                  <a:bodyPr/>
                  <a:lstStyle/>
                  <a:p>
                    <a:r>
                      <a:t>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F28-48A4-99E4-12F4D20E29FF}"/>
                </c:ext>
              </c:extLst>
            </c:dLbl>
            <c:dLbl>
              <c:idx val="5"/>
              <c:tx>
                <c:rich>
                  <a:bodyPr/>
                  <a:lstStyle/>
                  <a:p>
                    <a:r>
                      <a:t>32.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F28-48A4-99E4-12F4D20E29FF}"/>
                </c:ext>
              </c:extLst>
            </c:dLbl>
            <c:dLbl>
              <c:idx val="6"/>
              <c:tx>
                <c:rich>
                  <a:bodyPr/>
                  <a:lstStyle/>
                  <a:p>
                    <a:r>
                      <a:t>38.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F28-48A4-99E4-12F4D20E29FF}"/>
                </c:ext>
              </c:extLst>
            </c:dLbl>
            <c:dLbl>
              <c:idx val="7"/>
              <c:tx>
                <c:rich>
                  <a:bodyPr/>
                  <a:lstStyle/>
                  <a:p>
                    <a:r>
                      <a:t>5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F28-48A4-99E4-12F4D20E29FF}"/>
                </c:ext>
              </c:extLst>
            </c:dLbl>
            <c:dLbl>
              <c:idx val="8"/>
              <c:tx>
                <c:rich>
                  <a:bodyPr/>
                  <a:lstStyle/>
                  <a:p>
                    <a:r>
                      <a:t>9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F28-48A4-99E4-12F4D20E29FF}"/>
                </c:ext>
              </c:extLst>
            </c:dLbl>
            <c:dLbl>
              <c:idx val="9"/>
              <c:tx>
                <c:rich>
                  <a:bodyPr/>
                  <a:lstStyle/>
                  <a:p>
                    <a:r>
                      <a:t>9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F28-48A4-99E4-12F4D20E29FF}"/>
                </c:ext>
              </c:extLst>
            </c:dLbl>
            <c:dLbl>
              <c:idx val="10"/>
              <c:tx>
                <c:rich>
                  <a:bodyPr/>
                  <a:lstStyle/>
                  <a:p>
                    <a:r>
                      <a:t>61.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F28-48A4-99E4-12F4D20E29FF}"/>
                </c:ext>
              </c:extLst>
            </c:dLbl>
            <c:dLbl>
              <c:idx val="11"/>
              <c:tx>
                <c:rich>
                  <a:bodyPr/>
                  <a:lstStyle/>
                  <a:p>
                    <a:r>
                      <a:t>13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F28-48A4-99E4-12F4D20E29F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LOUIS MARTIN BRUT PREMIER CRU 1CT X 750ML</c:v>
                </c:pt>
                <c:pt idx="6">
                  <c:v>LOUIS MARTIN BRUT GRAND CRU 1CT X 750ML</c:v>
                </c:pt>
                <c:pt idx="7">
                  <c:v>RUINART BRUT (NUE) 1CT X 750ML</c:v>
                </c:pt>
                <c:pt idx="8">
                  <c:v>RUINART BLANC DE BLANCS (NUE) 1CT X 750ML</c:v>
                </c:pt>
                <c:pt idx="9">
                  <c:v>RUINART BLANC DE BLANCS SECOND 1CT X 750ML</c:v>
                </c:pt>
                <c:pt idx="10">
                  <c:v>RUINART BRUT SECOND SKIN 1CT X 750ML</c:v>
                </c:pt>
                <c:pt idx="11">
                  <c:v>MG RUINART BRUT SECOND SKIN 1CT X 1500ML</c:v>
                </c:pt>
              </c:strCache>
            </c:strRef>
          </c:cat>
          <c:val>
            <c:numRef>
              <c:f>Sheet1!$B$2:$B$13</c:f>
              <c:numCache>
                <c:formatCode>General</c:formatCode>
                <c:ptCount val="12"/>
                <c:pt idx="0">
                  <c:v>21.93</c:v>
                </c:pt>
                <c:pt idx="1">
                  <c:v>39.08</c:v>
                </c:pt>
                <c:pt idx="2">
                  <c:v>25.05</c:v>
                </c:pt>
                <c:pt idx="3">
                  <c:v>36.979999999999997</c:v>
                </c:pt>
                <c:pt idx="4">
                  <c:v>45.8</c:v>
                </c:pt>
                <c:pt idx="5">
                  <c:v>32.909999999999997</c:v>
                </c:pt>
                <c:pt idx="6">
                  <c:v>38.31</c:v>
                </c:pt>
                <c:pt idx="7">
                  <c:v>57.84</c:v>
                </c:pt>
                <c:pt idx="8">
                  <c:v>92.93</c:v>
                </c:pt>
                <c:pt idx="9">
                  <c:v>96.93</c:v>
                </c:pt>
                <c:pt idx="10">
                  <c:v>61.47</c:v>
                </c:pt>
                <c:pt idx="11">
                  <c:v>13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DB-4E15-9961-E2C89B91BE83}"/>
                </c:ext>
              </c:extLst>
            </c:dLbl>
            <c:dLbl>
              <c:idx val="1"/>
              <c:tx>
                <c:rich>
                  <a:bodyPr/>
                  <a:lstStyle/>
                  <a:p>
                    <a:r>
                      <a:t>23.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DB-4E15-9961-E2C89B91BE83}"/>
                </c:ext>
              </c:extLst>
            </c:dLbl>
            <c:dLbl>
              <c:idx val="2"/>
              <c:tx>
                <c:rich>
                  <a:bodyPr/>
                  <a:lstStyle/>
                  <a:p>
                    <a:r>
                      <a:t>85.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DB-4E15-9961-E2C89B91BE83}"/>
                </c:ext>
              </c:extLst>
            </c:dLbl>
            <c:dLbl>
              <c:idx val="3"/>
              <c:tx>
                <c:rich>
                  <a:bodyPr/>
                  <a:lstStyle/>
                  <a:p>
                    <a:r>
                      <a:t>99.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DB-4E15-9961-E2C89B91BE83}"/>
                </c:ext>
              </c:extLst>
            </c:dLbl>
            <c:dLbl>
              <c:idx val="4"/>
              <c:tx>
                <c:rich>
                  <a:bodyPr/>
                  <a:lstStyle/>
                  <a:p>
                    <a:r>
                      <a:t>93.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DB-4E15-9961-E2C89B91BE83}"/>
                </c:ext>
              </c:extLst>
            </c:dLbl>
            <c:dLbl>
              <c:idx val="5"/>
              <c:tx>
                <c:rich>
                  <a:bodyPr/>
                  <a:lstStyle/>
                  <a:p>
                    <a:r>
                      <a:t>96.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DB-4E15-9961-E2C89B91BE83}"/>
                </c:ext>
              </c:extLst>
            </c:dLbl>
            <c:dLbl>
              <c:idx val="6"/>
              <c:tx>
                <c:rich>
                  <a:bodyPr/>
                  <a:lstStyle/>
                  <a:p>
                    <a:r>
                      <a:t>222.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FDB-4E15-9961-E2C89B91BE83}"/>
                </c:ext>
              </c:extLst>
            </c:dLbl>
            <c:dLbl>
              <c:idx val="7"/>
              <c:tx>
                <c:rich>
                  <a:bodyPr/>
                  <a:lstStyle/>
                  <a:p>
                    <a:r>
                      <a:t>56.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FDB-4E15-9961-E2C89B91BE83}"/>
                </c:ext>
              </c:extLst>
            </c:dLbl>
            <c:dLbl>
              <c:idx val="8"/>
              <c:tx>
                <c:rich>
                  <a:bodyPr/>
                  <a:lstStyle/>
                  <a:p>
                    <a:r>
                      <a:t>76.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FDB-4E15-9961-E2C89B91BE83}"/>
                </c:ext>
              </c:extLst>
            </c:dLbl>
            <c:dLbl>
              <c:idx val="9"/>
              <c:tx>
                <c:rich>
                  <a:bodyPr/>
                  <a:lstStyle/>
                  <a:p>
                    <a:r>
                      <a:t>284.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FDB-4E15-9961-E2C89B91BE83}"/>
                </c:ext>
              </c:extLst>
            </c:dLbl>
            <c:dLbl>
              <c:idx val="10"/>
              <c:tx>
                <c:rich>
                  <a:bodyPr/>
                  <a:lstStyle/>
                  <a:p>
                    <a:r>
                      <a:t>6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FDB-4E15-9961-E2C89B91BE8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AYALA A/18 BLC BLCS EXTRA 2018 1CT X 750ML</c:v>
                </c:pt>
                <c:pt idx="9">
                  <c:v>DOM RUINART EXT BRUT SECO 2010 1CT X 750ML</c:v>
                </c:pt>
                <c:pt idx="10">
                  <c:v>AYALA BLANC DE BLANCS 2016 1CT X 750ML</c:v>
                </c:pt>
              </c:strCache>
            </c:strRef>
          </c:cat>
          <c:val>
            <c:numRef>
              <c:f>Sheet1!$B$2:$B$12</c:f>
              <c:numCache>
                <c:formatCode>General</c:formatCode>
                <c:ptCount val="11"/>
                <c:pt idx="0">
                  <c:v>39.090000000000003</c:v>
                </c:pt>
                <c:pt idx="1">
                  <c:v>23.96</c:v>
                </c:pt>
                <c:pt idx="2">
                  <c:v>85.88</c:v>
                </c:pt>
                <c:pt idx="3">
                  <c:v>99.48</c:v>
                </c:pt>
                <c:pt idx="4">
                  <c:v>93.81</c:v>
                </c:pt>
                <c:pt idx="5">
                  <c:v>96.96</c:v>
                </c:pt>
                <c:pt idx="6">
                  <c:v>222.68</c:v>
                </c:pt>
                <c:pt idx="7">
                  <c:v>56.06</c:v>
                </c:pt>
                <c:pt idx="8">
                  <c:v>76.37</c:v>
                </c:pt>
                <c:pt idx="9">
                  <c:v>284.32</c:v>
                </c:pt>
                <c:pt idx="10">
                  <c:v>62.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903-49A5-9149-6A1873201A88}"/>
                </c:ext>
              </c:extLst>
            </c:dLbl>
            <c:dLbl>
              <c:idx val="1"/>
              <c:tx>
                <c:rich>
                  <a:bodyPr/>
                  <a:lstStyle/>
                  <a:p>
                    <a:r>
                      <a:t>24.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903-49A5-9149-6A1873201A88}"/>
                </c:ext>
              </c:extLst>
            </c:dLbl>
            <c:dLbl>
              <c:idx val="2"/>
              <c:tx>
                <c:rich>
                  <a:bodyPr/>
                  <a:lstStyle/>
                  <a:p>
                    <a:r>
                      <a:t>8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903-49A5-9149-6A1873201A88}"/>
                </c:ext>
              </c:extLst>
            </c:dLbl>
            <c:dLbl>
              <c:idx val="3"/>
              <c:tx>
                <c:rich>
                  <a:bodyPr/>
                  <a:lstStyle/>
                  <a:p>
                    <a:r>
                      <a:t>89.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903-49A5-9149-6A1873201A88}"/>
                </c:ext>
              </c:extLst>
            </c:dLbl>
            <c:dLbl>
              <c:idx val="4"/>
              <c:tx>
                <c:rich>
                  <a:bodyPr/>
                  <a:lstStyle/>
                  <a:p>
                    <a:r>
                      <a:t>9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903-49A5-9149-6A1873201A88}"/>
                </c:ext>
              </c:extLst>
            </c:dLbl>
            <c:dLbl>
              <c:idx val="5"/>
              <c:tx>
                <c:rich>
                  <a:bodyPr/>
                  <a:lstStyle/>
                  <a:p>
                    <a:r>
                      <a:t>96.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903-49A5-9149-6A1873201A88}"/>
                </c:ext>
              </c:extLst>
            </c:dLbl>
            <c:dLbl>
              <c:idx val="6"/>
              <c:tx>
                <c:rich>
                  <a:bodyPr/>
                  <a:lstStyle/>
                  <a:p>
                    <a:r>
                      <a:t>22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903-49A5-9149-6A1873201A88}"/>
                </c:ext>
              </c:extLst>
            </c:dLbl>
            <c:dLbl>
              <c:idx val="7"/>
              <c:tx>
                <c:rich>
                  <a:bodyPr/>
                  <a:lstStyle/>
                  <a:p>
                    <a:r>
                      <a:t>56.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903-49A5-9149-6A1873201A88}"/>
                </c:ext>
              </c:extLst>
            </c:dLbl>
            <c:dLbl>
              <c:idx val="8"/>
              <c:tx>
                <c:rich>
                  <a:bodyPr/>
                  <a:lstStyle/>
                  <a:p>
                    <a:r>
                      <a:t>291.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903-49A5-9149-6A1873201A88}"/>
                </c:ext>
              </c:extLst>
            </c:dLbl>
            <c:dLbl>
              <c:idx val="9"/>
              <c:tx>
                <c:rich>
                  <a:bodyPr/>
                  <a:lstStyle/>
                  <a:p>
                    <a:r>
                      <a:t>76.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903-49A5-9149-6A1873201A88}"/>
                </c:ext>
              </c:extLst>
            </c:dLbl>
            <c:dLbl>
              <c:idx val="10"/>
              <c:tx>
                <c:rich>
                  <a:bodyPr/>
                  <a:lstStyle/>
                  <a:p>
                    <a:r>
                      <a:t>5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903-49A5-9149-6A1873201A8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DOM RUINART EXT BRUT SECO 2010 1CT X 750ML</c:v>
                </c:pt>
                <c:pt idx="9">
                  <c:v>AYALA A/18 BLC BLCS EXTRA 2018 1CT X 750ML</c:v>
                </c:pt>
                <c:pt idx="10">
                  <c:v>AYALA BLANC DE BLANCS 2016 1CT X 750ML</c:v>
                </c:pt>
              </c:strCache>
            </c:strRef>
          </c:cat>
          <c:val>
            <c:numRef>
              <c:f>Sheet1!$B$2:$B$12</c:f>
              <c:numCache>
                <c:formatCode>General</c:formatCode>
                <c:ptCount val="11"/>
                <c:pt idx="0">
                  <c:v>39.049999999999997</c:v>
                </c:pt>
                <c:pt idx="1">
                  <c:v>24.06</c:v>
                </c:pt>
                <c:pt idx="2">
                  <c:v>83.3</c:v>
                </c:pt>
                <c:pt idx="3">
                  <c:v>89.65</c:v>
                </c:pt>
                <c:pt idx="4">
                  <c:v>93</c:v>
                </c:pt>
                <c:pt idx="5">
                  <c:v>96.83</c:v>
                </c:pt>
                <c:pt idx="6">
                  <c:v>221.52</c:v>
                </c:pt>
                <c:pt idx="7">
                  <c:v>56.18</c:v>
                </c:pt>
                <c:pt idx="8">
                  <c:v>291.58999999999997</c:v>
                </c:pt>
                <c:pt idx="9">
                  <c:v>76.75</c:v>
                </c:pt>
                <c:pt idx="10">
                  <c:v>5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56D-474F-97BE-5740C49D9880}"/>
                </c:ext>
              </c:extLst>
            </c:dLbl>
            <c:dLbl>
              <c:idx val="1"/>
              <c:tx>
                <c:rich>
                  <a:bodyPr/>
                  <a:lstStyle/>
                  <a:p>
                    <a:r>
                      <a:t>8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56D-474F-97BE-5740C49D9880}"/>
                </c:ext>
              </c:extLst>
            </c:dLbl>
            <c:dLbl>
              <c:idx val="2"/>
              <c:tx>
                <c:rich>
                  <a:bodyPr/>
                  <a:lstStyle/>
                  <a:p>
                    <a:r>
                      <a:t>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56D-474F-97BE-5740C49D9880}"/>
                </c:ext>
              </c:extLst>
            </c:dLbl>
            <c:dLbl>
              <c:idx val="3"/>
              <c:tx>
                <c:rich>
                  <a:bodyPr/>
                  <a:lstStyle/>
                  <a:p>
                    <a:r>
                      <a:t>92.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56D-474F-97BE-5740C49D9880}"/>
                </c:ext>
              </c:extLst>
            </c:dLbl>
            <c:dLbl>
              <c:idx val="4"/>
              <c:tx>
                <c:rich>
                  <a:bodyPr/>
                  <a:lstStyle/>
                  <a:p>
                    <a:r>
                      <a:t>97.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56D-474F-97BE-5740C49D9880}"/>
                </c:ext>
              </c:extLst>
            </c:dLbl>
            <c:dLbl>
              <c:idx val="5"/>
              <c:tx>
                <c:rich>
                  <a:bodyPr/>
                  <a:lstStyle/>
                  <a:p>
                    <a:r>
                      <a:t>22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56D-474F-97BE-5740C49D9880}"/>
                </c:ext>
              </c:extLst>
            </c:dLbl>
            <c:dLbl>
              <c:idx val="6"/>
              <c:tx>
                <c:rich>
                  <a:bodyPr/>
                  <a:lstStyle/>
                  <a:p>
                    <a:r>
                      <a:t>7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56D-474F-97BE-5740C49D9880}"/>
                </c:ext>
              </c:extLst>
            </c:dLbl>
            <c:dLbl>
              <c:idx val="7"/>
              <c:tx>
                <c:rich>
                  <a:bodyPr/>
                  <a:lstStyle/>
                  <a:p>
                    <a:r>
                      <a:t>55.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56D-474F-97BE-5740C49D9880}"/>
                </c:ext>
              </c:extLst>
            </c:dLbl>
            <c:dLbl>
              <c:idx val="8"/>
              <c:tx>
                <c:rich>
                  <a:bodyPr/>
                  <a:lstStyle/>
                  <a:p>
                    <a:r>
                      <a:t>305.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56D-474F-97BE-5740C49D988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AYALA A/18 BLC BLCS EXTRA 2018 1CT X 750ML</c:v>
                </c:pt>
                <c:pt idx="7">
                  <c:v>1/2 RUINART BLANC DE BLANCS 1CT X 375ML</c:v>
                </c:pt>
                <c:pt idx="8">
                  <c:v>DOM RUINART EXT BRUT SECO 2010 1CT X 750ML</c:v>
                </c:pt>
              </c:strCache>
            </c:strRef>
          </c:cat>
          <c:val>
            <c:numRef>
              <c:f>Sheet1!$B$2:$B$10</c:f>
              <c:numCache>
                <c:formatCode>General</c:formatCode>
                <c:ptCount val="9"/>
                <c:pt idx="0">
                  <c:v>39.020000000000003</c:v>
                </c:pt>
                <c:pt idx="1">
                  <c:v>83.76</c:v>
                </c:pt>
                <c:pt idx="2">
                  <c:v>24.3</c:v>
                </c:pt>
                <c:pt idx="3">
                  <c:v>92.85</c:v>
                </c:pt>
                <c:pt idx="4">
                  <c:v>97.19</c:v>
                </c:pt>
                <c:pt idx="5">
                  <c:v>221.52</c:v>
                </c:pt>
                <c:pt idx="6">
                  <c:v>77.709999999999994</c:v>
                </c:pt>
                <c:pt idx="7">
                  <c:v>55.98</c:v>
                </c:pt>
                <c:pt idx="8">
                  <c:v>305.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405-4D91-ACD9-8D9FD505BA7A}"/>
                </c:ext>
              </c:extLst>
            </c:dLbl>
            <c:dLbl>
              <c:idx val="1"/>
              <c:tx>
                <c:rich>
                  <a:bodyPr/>
                  <a:lstStyle/>
                  <a:p>
                    <a:r>
                      <a:t>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405-4D91-ACD9-8D9FD505BA7A}"/>
                </c:ext>
              </c:extLst>
            </c:dLbl>
            <c:dLbl>
              <c:idx val="2"/>
              <c:tx>
                <c:rich>
                  <a:bodyPr/>
                  <a:lstStyle/>
                  <a:p>
                    <a:r>
                      <a:t>9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405-4D91-ACD9-8D9FD505BA7A}"/>
                </c:ext>
              </c:extLst>
            </c:dLbl>
            <c:dLbl>
              <c:idx val="3"/>
              <c:tx>
                <c:rich>
                  <a:bodyPr/>
                  <a:lstStyle/>
                  <a:p>
                    <a:r>
                      <a:t>9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405-4D91-ACD9-8D9FD505BA7A}"/>
                </c:ext>
              </c:extLst>
            </c:dLbl>
            <c:dLbl>
              <c:idx val="4"/>
              <c:tx>
                <c:rich>
                  <a:bodyPr/>
                  <a:lstStyle/>
                  <a:p>
                    <a:r>
                      <a:t>223.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405-4D91-ACD9-8D9FD505BA7A}"/>
                </c:ext>
              </c:extLst>
            </c:dLbl>
            <c:dLbl>
              <c:idx val="5"/>
              <c:tx>
                <c:rich>
                  <a:bodyPr/>
                  <a:lstStyle/>
                  <a:p>
                    <a:r>
                      <a:t>55.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405-4D91-ACD9-8D9FD505BA7A}"/>
                </c:ext>
              </c:extLst>
            </c:dLbl>
            <c:dLbl>
              <c:idx val="6"/>
              <c:tx>
                <c:rich>
                  <a:bodyPr/>
                  <a:lstStyle/>
                  <a:p>
                    <a:r>
                      <a:t>27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405-4D91-ACD9-8D9FD505BA7A}"/>
                </c:ext>
              </c:extLst>
            </c:dLbl>
            <c:dLbl>
              <c:idx val="7"/>
              <c:tx>
                <c:rich>
                  <a:bodyPr/>
                  <a:lstStyle/>
                  <a:p>
                    <a:r>
                      <a:t>74.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405-4D91-ACD9-8D9FD505BA7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DOM RUINART EXT BRUT SECO 2010 1CT X 750ML</c:v>
                </c:pt>
                <c:pt idx="7">
                  <c:v>AYALA A/18 BLC BLCS EXTRA 2018 1CT X 750ML</c:v>
                </c:pt>
              </c:strCache>
            </c:strRef>
          </c:cat>
          <c:val>
            <c:numRef>
              <c:f>Sheet1!$B$2:$B$9</c:f>
              <c:numCache>
                <c:formatCode>General</c:formatCode>
                <c:ptCount val="8"/>
                <c:pt idx="0">
                  <c:v>38.979999999999997</c:v>
                </c:pt>
                <c:pt idx="1">
                  <c:v>24.1</c:v>
                </c:pt>
                <c:pt idx="2">
                  <c:v>93.15</c:v>
                </c:pt>
                <c:pt idx="3">
                  <c:v>96.97</c:v>
                </c:pt>
                <c:pt idx="4">
                  <c:v>223.31</c:v>
                </c:pt>
                <c:pt idx="5">
                  <c:v>55.75</c:v>
                </c:pt>
                <c:pt idx="6">
                  <c:v>279.08</c:v>
                </c:pt>
                <c:pt idx="7">
                  <c:v>74.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2BE-454F-A380-77F8BB268F37}"/>
                </c:ext>
              </c:extLst>
            </c:dLbl>
            <c:dLbl>
              <c:idx val="1"/>
              <c:tx>
                <c:rich>
                  <a:bodyPr/>
                  <a:lstStyle/>
                  <a:p>
                    <a:r>
                      <a:rPr lang="en-CH"/>
                      <a:t>39.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2BE-454F-A380-77F8BB268F37}"/>
                </c:ext>
              </c:extLst>
            </c:dLbl>
            <c:dLbl>
              <c:idx val="2"/>
              <c:tx>
                <c:rich>
                  <a:bodyPr/>
                  <a:lstStyle/>
                  <a:p>
                    <a:r>
                      <a:rPr lang="en-CH"/>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2BE-454F-A380-77F8BB268F37}"/>
                </c:ext>
              </c:extLst>
            </c:dLbl>
            <c:dLbl>
              <c:idx val="3"/>
              <c:tx>
                <c:rich>
                  <a:bodyPr/>
                  <a:lstStyle/>
                  <a:p>
                    <a:r>
                      <a:rPr lang="en-CH"/>
                      <a:t>37.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2BE-454F-A380-77F8BB268F37}"/>
                </c:ext>
              </c:extLst>
            </c:dLbl>
            <c:dLbl>
              <c:idx val="4"/>
              <c:tx>
                <c:rich>
                  <a:bodyPr/>
                  <a:lstStyle/>
                  <a:p>
                    <a:r>
                      <a:rPr lang="en-CH"/>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2BE-454F-A380-77F8BB268F37}"/>
                </c:ext>
              </c:extLst>
            </c:dLbl>
            <c:dLbl>
              <c:idx val="5"/>
              <c:tx>
                <c:rich>
                  <a:bodyPr/>
                  <a:lstStyle/>
                  <a:p>
                    <a:r>
                      <a:rPr lang="en-CH"/>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2BE-454F-A380-77F8BB268F37}"/>
                </c:ext>
              </c:extLst>
            </c:dLbl>
            <c:dLbl>
              <c:idx val="6"/>
              <c:tx>
                <c:rich>
                  <a:bodyPr/>
                  <a:lstStyle/>
                  <a:p>
                    <a:r>
                      <a:rPr lang="en-CH"/>
                      <a:t>2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2BE-454F-A380-77F8BB268F37}"/>
                </c:ext>
              </c:extLst>
            </c:dLbl>
            <c:dLbl>
              <c:idx val="7"/>
              <c:tx>
                <c:rich>
                  <a:bodyPr/>
                  <a:lstStyle/>
                  <a:p>
                    <a:r>
                      <a:rPr lang="en-CH"/>
                      <a:t>4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2BE-454F-A380-77F8BB268F37}"/>
                </c:ext>
              </c:extLst>
            </c:dLbl>
            <c:dLbl>
              <c:idx val="8"/>
              <c:tx>
                <c:rich>
                  <a:bodyPr/>
                  <a:lstStyle/>
                  <a:p>
                    <a:r>
                      <a:rPr lang="en-CH"/>
                      <a:t>8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2BE-454F-A380-77F8BB268F37}"/>
                </c:ext>
              </c:extLst>
            </c:dLbl>
            <c:dLbl>
              <c:idx val="9"/>
              <c:tx>
                <c:rich>
                  <a:bodyPr/>
                  <a:lstStyle/>
                  <a:p>
                    <a:r>
                      <a:rPr lang="en-CH"/>
                      <a:t>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2BE-454F-A380-77F8BB268F37}"/>
                </c:ext>
              </c:extLst>
            </c:dLbl>
            <c:dLbl>
              <c:idx val="10"/>
              <c:tx>
                <c:rich>
                  <a:bodyPr/>
                  <a:lstStyle/>
                  <a:p>
                    <a:r>
                      <a:rPr lang="en-CH"/>
                      <a:t>7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2BE-454F-A380-77F8BB268F37}"/>
                </c:ext>
              </c:extLst>
            </c:dLbl>
            <c:dLbl>
              <c:idx val="11"/>
              <c:tx>
                <c:rich>
                  <a:bodyPr/>
                  <a:lstStyle/>
                  <a:p>
                    <a:r>
                      <a:rPr lang="en-CH"/>
                      <a:t>3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2BE-454F-A380-77F8BB268F37}"/>
                </c:ext>
              </c:extLst>
            </c:dLbl>
            <c:dLbl>
              <c:idx val="12"/>
              <c:tx>
                <c:rich>
                  <a:bodyPr/>
                  <a:lstStyle/>
                  <a:p>
                    <a:r>
                      <a:rPr lang="en-CH"/>
                      <a:t>24.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2BE-454F-A380-77F8BB268F37}"/>
                </c:ext>
              </c:extLst>
            </c:dLbl>
            <c:dLbl>
              <c:idx val="13"/>
              <c:tx>
                <c:rich>
                  <a:bodyPr/>
                  <a:lstStyle/>
                  <a:p>
                    <a:r>
                      <a:rPr lang="en-CH"/>
                      <a:t>3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2BE-454F-A380-77F8BB268F37}"/>
                </c:ext>
              </c:extLst>
            </c:dLbl>
            <c:dLbl>
              <c:idx val="14"/>
              <c:tx>
                <c:rich>
                  <a:bodyPr/>
                  <a:lstStyle/>
                  <a:p>
                    <a:r>
                      <a:rPr lang="en-CH"/>
                      <a:t>38.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2BE-454F-A380-77F8BB268F3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strCache>
            </c:strRef>
          </c:cat>
          <c:val>
            <c:numRef>
              <c:f>Sheet1!$B$2:$B$16</c:f>
              <c:numCache>
                <c:formatCode>General</c:formatCode>
                <c:ptCount val="15"/>
                <c:pt idx="0">
                  <c:v>21.87</c:v>
                </c:pt>
                <c:pt idx="1">
                  <c:v>39.07</c:v>
                </c:pt>
                <c:pt idx="2">
                  <c:v>24.99</c:v>
                </c:pt>
                <c:pt idx="3">
                  <c:v>37.229999999999997</c:v>
                </c:pt>
                <c:pt idx="4">
                  <c:v>44.67</c:v>
                </c:pt>
                <c:pt idx="5">
                  <c:v>22.49</c:v>
                </c:pt>
                <c:pt idx="6">
                  <c:v>24.19</c:v>
                </c:pt>
                <c:pt idx="7">
                  <c:v>41.02</c:v>
                </c:pt>
                <c:pt idx="8">
                  <c:v>86.05</c:v>
                </c:pt>
                <c:pt idx="9">
                  <c:v>47.8</c:v>
                </c:pt>
                <c:pt idx="10">
                  <c:v>76.92</c:v>
                </c:pt>
                <c:pt idx="11">
                  <c:v>38.659999999999997</c:v>
                </c:pt>
                <c:pt idx="12">
                  <c:v>24.72</c:v>
                </c:pt>
                <c:pt idx="13">
                  <c:v>37.770000000000003</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CCC-456A-9D29-A5D219364907}"/>
                </c:ext>
              </c:extLst>
            </c:dLbl>
            <c:dLbl>
              <c:idx val="1"/>
              <c:tx>
                <c:rich>
                  <a:bodyPr/>
                  <a:lstStyle/>
                  <a:p>
                    <a:r>
                      <a:t>24.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CC-456A-9D29-A5D219364907}"/>
                </c:ext>
              </c:extLst>
            </c:dLbl>
            <c:dLbl>
              <c:idx val="2"/>
              <c:tx>
                <c:rich>
                  <a:bodyPr/>
                  <a:lstStyle/>
                  <a:p>
                    <a:r>
                      <a:t>9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CCC-456A-9D29-A5D219364907}"/>
                </c:ext>
              </c:extLst>
            </c:dLbl>
            <c:dLbl>
              <c:idx val="3"/>
              <c:tx>
                <c:rich>
                  <a:bodyPr/>
                  <a:lstStyle/>
                  <a:p>
                    <a:r>
                      <a:t>9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CC-456A-9D29-A5D219364907}"/>
                </c:ext>
              </c:extLst>
            </c:dLbl>
            <c:dLbl>
              <c:idx val="4"/>
              <c:tx>
                <c:rich>
                  <a:bodyPr/>
                  <a:lstStyle/>
                  <a:p>
                    <a:r>
                      <a:t>221.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CCC-456A-9D29-A5D219364907}"/>
                </c:ext>
              </c:extLst>
            </c:dLbl>
            <c:dLbl>
              <c:idx val="5"/>
              <c:tx>
                <c:rich>
                  <a:bodyPr/>
                  <a:lstStyle/>
                  <a:p>
                    <a:r>
                      <a:t>56.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CCC-456A-9D29-A5D219364907}"/>
                </c:ext>
              </c:extLst>
            </c:dLbl>
            <c:dLbl>
              <c:idx val="6"/>
              <c:tx>
                <c:rich>
                  <a:bodyPr/>
                  <a:lstStyle/>
                  <a:p>
                    <a:r>
                      <a:t>73.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CCC-456A-9D29-A5D21936490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1/2 CHAMP NICOLAS BLC/BLC BS 1CT X 375ML</c:v>
                </c:pt>
                <c:pt idx="2">
                  <c:v>RUINART BLANC DE BLANCS (NUE) 1CT X 750ML</c:v>
                </c:pt>
                <c:pt idx="3">
                  <c:v>RUINART BLANC DE BLANCS SECOND 1CT X 750ML</c:v>
                </c:pt>
                <c:pt idx="4">
                  <c:v>MG RUINART BLC DE BLANC SECOND 1CT X 1500ML</c:v>
                </c:pt>
                <c:pt idx="5">
                  <c:v>1/2 RUINART BLANC DE BLANCS 1CT X 375ML</c:v>
                </c:pt>
                <c:pt idx="6">
                  <c:v>AYALA A/18 BLC BLCS EXTRA 2018 1CT X 750ML</c:v>
                </c:pt>
              </c:strCache>
            </c:strRef>
          </c:cat>
          <c:val>
            <c:numRef>
              <c:f>Sheet1!$B$2:$B$8</c:f>
              <c:numCache>
                <c:formatCode>General</c:formatCode>
                <c:ptCount val="7"/>
                <c:pt idx="0">
                  <c:v>39.08</c:v>
                </c:pt>
                <c:pt idx="1">
                  <c:v>24.16</c:v>
                </c:pt>
                <c:pt idx="2">
                  <c:v>92.88</c:v>
                </c:pt>
                <c:pt idx="3">
                  <c:v>97.84</c:v>
                </c:pt>
                <c:pt idx="4">
                  <c:v>221.12</c:v>
                </c:pt>
                <c:pt idx="5">
                  <c:v>56.74</c:v>
                </c:pt>
                <c:pt idx="6">
                  <c:v>7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B52-4BEB-93FE-859FE64B2CAC}"/>
                </c:ext>
              </c:extLst>
            </c:dLbl>
            <c:dLbl>
              <c:idx val="1"/>
              <c:tx>
                <c:rich>
                  <a:bodyPr/>
                  <a:lstStyle/>
                  <a:p>
                    <a:r>
                      <a:t>100.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B52-4BEB-93FE-859FE64B2CAC}"/>
                </c:ext>
              </c:extLst>
            </c:dLbl>
            <c:dLbl>
              <c:idx val="2"/>
              <c:tx>
                <c:rich>
                  <a:bodyPr/>
                  <a:lstStyle/>
                  <a:p>
                    <a:r>
                      <a:t>96.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B52-4BEB-93FE-859FE64B2CAC}"/>
                </c:ext>
              </c:extLst>
            </c:dLbl>
            <c:dLbl>
              <c:idx val="3"/>
              <c:tx>
                <c:rich>
                  <a:bodyPr/>
                  <a:lstStyle/>
                  <a:p>
                    <a:r>
                      <a:t>55.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B52-4BEB-93FE-859FE64B2CAC}"/>
                </c:ext>
              </c:extLst>
            </c:dLbl>
            <c:dLbl>
              <c:idx val="4"/>
              <c:tx>
                <c:rich>
                  <a:bodyPr/>
                  <a:lstStyle/>
                  <a:p>
                    <a:r>
                      <a:t>21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B52-4BEB-93FE-859FE64B2CAC}"/>
                </c:ext>
              </c:extLst>
            </c:dLbl>
            <c:dLbl>
              <c:idx val="5"/>
              <c:tx>
                <c:rich>
                  <a:bodyPr/>
                  <a:lstStyle/>
                  <a:p>
                    <a:r>
                      <a:t>74.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B52-4BEB-93FE-859FE64B2C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BLC/BLC BS 1CT X 750ML</c:v>
                </c:pt>
                <c:pt idx="1">
                  <c:v>RUINART BLANC DE BLANCS (NUE) 1CT X 750ML</c:v>
                </c:pt>
                <c:pt idx="2">
                  <c:v>RUINART BLANC DE BLANCS SECOND 1CT X 750ML</c:v>
                </c:pt>
                <c:pt idx="3">
                  <c:v>1/2 RUINART BLANC DE BLANCS 1CT X 375ML</c:v>
                </c:pt>
                <c:pt idx="4">
                  <c:v>MG RUINART BLC DE BLANC SECOND 1CT X 1500ML</c:v>
                </c:pt>
                <c:pt idx="5">
                  <c:v>AYALA A/18 BLC BLCS EXTRA 2018 1CT X 750ML</c:v>
                </c:pt>
              </c:strCache>
            </c:strRef>
          </c:cat>
          <c:val>
            <c:numRef>
              <c:f>Sheet1!$B$2:$B$7</c:f>
              <c:numCache>
                <c:formatCode>General</c:formatCode>
                <c:ptCount val="6"/>
                <c:pt idx="0">
                  <c:v>39.590000000000003</c:v>
                </c:pt>
                <c:pt idx="1">
                  <c:v>100.91</c:v>
                </c:pt>
                <c:pt idx="2">
                  <c:v>96.87</c:v>
                </c:pt>
                <c:pt idx="3">
                  <c:v>55.82</c:v>
                </c:pt>
                <c:pt idx="4">
                  <c:v>215.28</c:v>
                </c:pt>
                <c:pt idx="5">
                  <c:v>74.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15A-4BDA-BBCF-A737803AEA29}"/>
                </c:ext>
              </c:extLst>
            </c:dLbl>
            <c:dLbl>
              <c:idx val="1"/>
              <c:tx>
                <c:rich>
                  <a:bodyPr/>
                  <a:lstStyle/>
                  <a:p>
                    <a:r>
                      <a:t>23.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15A-4BDA-BBCF-A737803AEA29}"/>
                </c:ext>
              </c:extLst>
            </c:dLbl>
            <c:dLbl>
              <c:idx val="2"/>
              <c:tx>
                <c:rich>
                  <a:bodyPr/>
                  <a:lstStyle/>
                  <a:p>
                    <a:r>
                      <a:t>88.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15A-4BDA-BBCF-A737803AEA29}"/>
                </c:ext>
              </c:extLst>
            </c:dLbl>
            <c:dLbl>
              <c:idx val="3"/>
              <c:tx>
                <c:rich>
                  <a:bodyPr/>
                  <a:lstStyle/>
                  <a:p>
                    <a:r>
                      <a:t>93.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15A-4BDA-BBCF-A737803AEA29}"/>
                </c:ext>
              </c:extLst>
            </c:dLbl>
            <c:dLbl>
              <c:idx val="4"/>
              <c:tx>
                <c:rich>
                  <a:bodyPr/>
                  <a:lstStyle/>
                  <a:p>
                    <a:r>
                      <a:t>9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15A-4BDA-BBCF-A737803AEA29}"/>
                </c:ext>
              </c:extLst>
            </c:dLbl>
            <c:dLbl>
              <c:idx val="5"/>
              <c:tx>
                <c:rich>
                  <a:bodyPr/>
                  <a:lstStyle/>
                  <a:p>
                    <a:r>
                      <a:t>97.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15A-4BDA-BBCF-A737803AEA29}"/>
                </c:ext>
              </c:extLst>
            </c:dLbl>
            <c:dLbl>
              <c:idx val="6"/>
              <c:tx>
                <c:rich>
                  <a:bodyPr/>
                  <a:lstStyle/>
                  <a:p>
                    <a:r>
                      <a:t>220.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15A-4BDA-BBCF-A737803AEA29}"/>
                </c:ext>
              </c:extLst>
            </c:dLbl>
            <c:dLbl>
              <c:idx val="7"/>
              <c:tx>
                <c:rich>
                  <a:bodyPr/>
                  <a:lstStyle/>
                  <a:p>
                    <a:r>
                      <a:t>55.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15A-4BDA-BBCF-A737803AEA29}"/>
                </c:ext>
              </c:extLst>
            </c:dLbl>
            <c:dLbl>
              <c:idx val="8"/>
              <c:tx>
                <c:rich>
                  <a:bodyPr/>
                  <a:lstStyle/>
                  <a:p>
                    <a:r>
                      <a:t>76.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15A-4BDA-BBCF-A737803AEA29}"/>
                </c:ext>
              </c:extLst>
            </c:dLbl>
            <c:dLbl>
              <c:idx val="9"/>
              <c:tx>
                <c:rich>
                  <a:bodyPr/>
                  <a:lstStyle/>
                  <a:p>
                    <a:r>
                      <a:t>28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15A-4BDA-BBCF-A737803AEA29}"/>
                </c:ext>
              </c:extLst>
            </c:dLbl>
            <c:dLbl>
              <c:idx val="10"/>
              <c:tx>
                <c:rich>
                  <a:bodyPr/>
                  <a:lstStyle/>
                  <a:p>
                    <a:r>
                      <a:t>55.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15A-4BDA-BBCF-A737803AEA2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AYALA A/18 BLC BLCS EXTRA 2018 1CT X 750ML</c:v>
                </c:pt>
                <c:pt idx="9">
                  <c:v>DOM RUINART EXT BRUT SECO 2010 1CT X 750ML</c:v>
                </c:pt>
                <c:pt idx="10">
                  <c:v>AYALA BLANC DE BLANCS 2016 1CT X 750ML</c:v>
                </c:pt>
              </c:strCache>
            </c:strRef>
          </c:cat>
          <c:val>
            <c:numRef>
              <c:f>Sheet1!$B$2:$B$12</c:f>
              <c:numCache>
                <c:formatCode>General</c:formatCode>
                <c:ptCount val="11"/>
                <c:pt idx="0">
                  <c:v>39</c:v>
                </c:pt>
                <c:pt idx="1">
                  <c:v>23.89</c:v>
                </c:pt>
                <c:pt idx="2">
                  <c:v>88.11</c:v>
                </c:pt>
                <c:pt idx="3">
                  <c:v>93.55</c:v>
                </c:pt>
                <c:pt idx="4">
                  <c:v>92.9</c:v>
                </c:pt>
                <c:pt idx="5">
                  <c:v>97.18</c:v>
                </c:pt>
                <c:pt idx="6">
                  <c:v>220.12</c:v>
                </c:pt>
                <c:pt idx="7">
                  <c:v>55.74</c:v>
                </c:pt>
                <c:pt idx="8">
                  <c:v>76.06</c:v>
                </c:pt>
                <c:pt idx="9">
                  <c:v>282</c:v>
                </c:pt>
                <c:pt idx="10">
                  <c:v>55.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CD1-4577-8852-C8F307203DB5}"/>
                </c:ext>
              </c:extLst>
            </c:dLbl>
            <c:dLbl>
              <c:idx val="1"/>
              <c:tx>
                <c:rich>
                  <a:bodyPr/>
                  <a:lstStyle/>
                  <a:p>
                    <a:r>
                      <a:t>77.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CD1-4577-8852-C8F307203DB5}"/>
                </c:ext>
              </c:extLst>
            </c:dLbl>
            <c:dLbl>
              <c:idx val="2"/>
              <c:tx>
                <c:rich>
                  <a:bodyPr/>
                  <a:lstStyle/>
                  <a:p>
                    <a:r>
                      <a:t>24.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CD1-4577-8852-C8F307203DB5}"/>
                </c:ext>
              </c:extLst>
            </c:dLbl>
            <c:dLbl>
              <c:idx val="3"/>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CD1-4577-8852-C8F307203DB5}"/>
                </c:ext>
              </c:extLst>
            </c:dLbl>
            <c:dLbl>
              <c:idx val="4"/>
              <c:tx>
                <c:rich>
                  <a:bodyPr/>
                  <a:lstStyle/>
                  <a:p>
                    <a:r>
                      <a:t>96.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CD1-4577-8852-C8F307203DB5}"/>
                </c:ext>
              </c:extLst>
            </c:dLbl>
            <c:dLbl>
              <c:idx val="5"/>
              <c:tx>
                <c:rich>
                  <a:bodyPr/>
                  <a:lstStyle/>
                  <a:p>
                    <a:r>
                      <a:t>222.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CD1-4577-8852-C8F307203DB5}"/>
                </c:ext>
              </c:extLst>
            </c:dLbl>
            <c:dLbl>
              <c:idx val="6"/>
              <c:tx>
                <c:rich>
                  <a:bodyPr/>
                  <a:lstStyle/>
                  <a:p>
                    <a:r>
                      <a:t>55.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CD1-4577-8852-C8F307203DB5}"/>
                </c:ext>
              </c:extLst>
            </c:dLbl>
            <c:dLbl>
              <c:idx val="7"/>
              <c:tx>
                <c:rich>
                  <a:bodyPr/>
                  <a:lstStyle/>
                  <a:p>
                    <a:r>
                      <a:t>33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CD1-4577-8852-C8F307203DB5}"/>
                </c:ext>
              </c:extLst>
            </c:dLbl>
            <c:dLbl>
              <c:idx val="8"/>
              <c:tx>
                <c:rich>
                  <a:bodyPr/>
                  <a:lstStyle/>
                  <a:p>
                    <a:r>
                      <a:t>75.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CD1-4577-8852-C8F307203DB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DOM RUINART EXT BRUT SECO 2010 1CT X 750ML</c:v>
                </c:pt>
                <c:pt idx="8">
                  <c:v>AYALA A/18 BLC BLCS EXTRA 2018 1CT X 750ML</c:v>
                </c:pt>
              </c:strCache>
            </c:strRef>
          </c:cat>
          <c:val>
            <c:numRef>
              <c:f>Sheet1!$B$2:$B$10</c:f>
              <c:numCache>
                <c:formatCode>General</c:formatCode>
                <c:ptCount val="9"/>
                <c:pt idx="0">
                  <c:v>39.200000000000003</c:v>
                </c:pt>
                <c:pt idx="1">
                  <c:v>77.790000000000006</c:v>
                </c:pt>
                <c:pt idx="2">
                  <c:v>24.38</c:v>
                </c:pt>
                <c:pt idx="3">
                  <c:v>95.19</c:v>
                </c:pt>
                <c:pt idx="4">
                  <c:v>96.67</c:v>
                </c:pt>
                <c:pt idx="5">
                  <c:v>222.16</c:v>
                </c:pt>
                <c:pt idx="6">
                  <c:v>55.69</c:v>
                </c:pt>
                <c:pt idx="7">
                  <c:v>338.5</c:v>
                </c:pt>
                <c:pt idx="8">
                  <c:v>75.540000000000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3DC-45AF-A2A8-3699020E18BE}"/>
                </c:ext>
              </c:extLst>
            </c:dLbl>
            <c:dLbl>
              <c:idx val="1"/>
              <c:tx>
                <c:rich>
                  <a:bodyPr/>
                  <a:lstStyle/>
                  <a:p>
                    <a:r>
                      <a:t>9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3DC-45AF-A2A8-3699020E18BE}"/>
                </c:ext>
              </c:extLst>
            </c:dLbl>
            <c:dLbl>
              <c:idx val="2"/>
              <c:tx>
                <c:rich>
                  <a:bodyPr/>
                  <a:lstStyle/>
                  <a:p>
                    <a:r>
                      <a:t>95.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3DC-45AF-A2A8-3699020E18BE}"/>
                </c:ext>
              </c:extLst>
            </c:dLbl>
            <c:dLbl>
              <c:idx val="3"/>
              <c:tx>
                <c:rich>
                  <a:bodyPr/>
                  <a:lstStyle/>
                  <a:p>
                    <a:r>
                      <a:t>228.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3DC-45AF-A2A8-3699020E18BE}"/>
                </c:ext>
              </c:extLst>
            </c:dLbl>
            <c:dLbl>
              <c:idx val="4"/>
              <c:tx>
                <c:rich>
                  <a:bodyPr/>
                  <a:lstStyle/>
                  <a:p>
                    <a:r>
                      <a:t>5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3DC-45AF-A2A8-3699020E18BE}"/>
                </c:ext>
              </c:extLst>
            </c:dLbl>
            <c:dLbl>
              <c:idx val="5"/>
              <c:tx>
                <c:rich>
                  <a:bodyPr/>
                  <a:lstStyle/>
                  <a:p>
                    <a:r>
                      <a:t>74.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3DC-45AF-A2A8-3699020E18BE}"/>
                </c:ext>
              </c:extLst>
            </c:dLbl>
            <c:dLbl>
              <c:idx val="6"/>
              <c:tx>
                <c:rich>
                  <a:bodyPr/>
                  <a:lstStyle/>
                  <a:p>
                    <a:r>
                      <a:t>29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3DC-45AF-A2A8-3699020E18B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NICOLAS BLC/BLC BS 1CT X 750ML</c:v>
                </c:pt>
                <c:pt idx="1">
                  <c:v>RUINART BLANC DE BLANCS (NUE) 1CT X 750ML</c:v>
                </c:pt>
                <c:pt idx="2">
                  <c:v>RUINART BLANC DE BLANCS SECOND 1CT X 750ML</c:v>
                </c:pt>
                <c:pt idx="3">
                  <c:v>MG RUINART BLC DE BLANC SECOND 1CT X 1500ML</c:v>
                </c:pt>
                <c:pt idx="4">
                  <c:v>1/2 RUINART BLANC DE BLANCS 1CT X 375ML</c:v>
                </c:pt>
                <c:pt idx="5">
                  <c:v>AYALA A/18 BLC BLCS EXTRA 2018 1CT X 750ML</c:v>
                </c:pt>
                <c:pt idx="6">
                  <c:v>DOM RUINART EXT BRUT SECO 2010 1CT X 750ML</c:v>
                </c:pt>
              </c:strCache>
            </c:strRef>
          </c:cat>
          <c:val>
            <c:numRef>
              <c:f>Sheet1!$B$2:$B$8</c:f>
              <c:numCache>
                <c:formatCode>General</c:formatCode>
                <c:ptCount val="7"/>
                <c:pt idx="0">
                  <c:v>39.229999999999997</c:v>
                </c:pt>
                <c:pt idx="1">
                  <c:v>93.33</c:v>
                </c:pt>
                <c:pt idx="2">
                  <c:v>95.56</c:v>
                </c:pt>
                <c:pt idx="3">
                  <c:v>228.64</c:v>
                </c:pt>
                <c:pt idx="4">
                  <c:v>55.05</c:v>
                </c:pt>
                <c:pt idx="5">
                  <c:v>74.47</c:v>
                </c:pt>
                <c:pt idx="6">
                  <c:v>2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395-405F-B7CB-D3DFE24EC7A1}"/>
                </c:ext>
              </c:extLst>
            </c:dLbl>
            <c:dLbl>
              <c:idx val="1"/>
              <c:tx>
                <c:rich>
                  <a:bodyPr/>
                  <a:lstStyle/>
                  <a:p>
                    <a:r>
                      <a:t>94.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395-405F-B7CB-D3DFE24EC7A1}"/>
                </c:ext>
              </c:extLst>
            </c:dLbl>
            <c:dLbl>
              <c:idx val="2"/>
              <c:tx>
                <c:rich>
                  <a:bodyPr/>
                  <a:lstStyle/>
                  <a:p>
                    <a:r>
                      <a:t>99.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395-405F-B7CB-D3DFE24EC7A1}"/>
                </c:ext>
              </c:extLst>
            </c:dLbl>
            <c:dLbl>
              <c:idx val="3"/>
              <c:tx>
                <c:rich>
                  <a:bodyPr/>
                  <a:lstStyle/>
                  <a:p>
                    <a:r>
                      <a:t>56.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395-405F-B7CB-D3DFE24EC7A1}"/>
                </c:ext>
              </c:extLst>
            </c:dLbl>
            <c:dLbl>
              <c:idx val="4"/>
              <c:tx>
                <c:rich>
                  <a:bodyPr/>
                  <a:lstStyle/>
                  <a:p>
                    <a:r>
                      <a:t>244.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395-405F-B7CB-D3DFE24EC7A1}"/>
                </c:ext>
              </c:extLst>
            </c:dLbl>
            <c:dLbl>
              <c:idx val="5"/>
              <c:tx>
                <c:rich>
                  <a:bodyPr/>
                  <a:lstStyle/>
                  <a:p>
                    <a:r>
                      <a:t>7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395-405F-B7CB-D3DFE24EC7A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BLC/BLC BS 1CT X 750ML</c:v>
                </c:pt>
                <c:pt idx="1">
                  <c:v>RUINART BLANC DE BLANCS (NUE) 1CT X 750ML</c:v>
                </c:pt>
                <c:pt idx="2">
                  <c:v>RUINART BLANC DE BLANCS SECOND 1CT X 750ML</c:v>
                </c:pt>
                <c:pt idx="3">
                  <c:v>1/2 RUINART BLANC DE BLANCS 1CT X 375ML</c:v>
                </c:pt>
                <c:pt idx="4">
                  <c:v>MG RUINART BLC DE BLANC SECOND 1CT X 1500ML</c:v>
                </c:pt>
                <c:pt idx="5">
                  <c:v>AYALA A/18 BLC BLCS EXTRA 2018 1CT X 750ML</c:v>
                </c:pt>
              </c:strCache>
            </c:strRef>
          </c:cat>
          <c:val>
            <c:numRef>
              <c:f>Sheet1!$B$2:$B$7</c:f>
              <c:numCache>
                <c:formatCode>General</c:formatCode>
                <c:ptCount val="6"/>
                <c:pt idx="0">
                  <c:v>38.74</c:v>
                </c:pt>
                <c:pt idx="1">
                  <c:v>94.19</c:v>
                </c:pt>
                <c:pt idx="2">
                  <c:v>99.39</c:v>
                </c:pt>
                <c:pt idx="3">
                  <c:v>56.68</c:v>
                </c:pt>
                <c:pt idx="4">
                  <c:v>244.78</c:v>
                </c:pt>
                <c:pt idx="5">
                  <c:v>7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8B-45B0-8590-B708ED63A1CE}"/>
                </c:ext>
              </c:extLst>
            </c:dLbl>
            <c:dLbl>
              <c:idx val="1"/>
              <c:tx>
                <c:rich>
                  <a:bodyPr/>
                  <a:lstStyle/>
                  <a:p>
                    <a:r>
                      <a:t>9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48B-45B0-8590-B708ED63A1CE}"/>
                </c:ext>
              </c:extLst>
            </c:dLbl>
            <c:dLbl>
              <c:idx val="2"/>
              <c:tx>
                <c:rich>
                  <a:bodyPr/>
                  <a:lstStyle/>
                  <a:p>
                    <a:r>
                      <a:t>95.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48B-45B0-8590-B708ED63A1CE}"/>
                </c:ext>
              </c:extLst>
            </c:dLbl>
            <c:dLbl>
              <c:idx val="3"/>
              <c:tx>
                <c:rich>
                  <a:bodyPr/>
                  <a:lstStyle/>
                  <a:p>
                    <a:r>
                      <a:t>19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48B-45B0-8590-B708ED63A1CE}"/>
                </c:ext>
              </c:extLst>
            </c:dLbl>
            <c:dLbl>
              <c:idx val="4"/>
              <c:tx>
                <c:rich>
                  <a:bodyPr/>
                  <a:lstStyle/>
                  <a:p>
                    <a:r>
                      <a:t>76.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48B-45B0-8590-B708ED63A1C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BLC/BLC BS 1CT X 750ML</c:v>
                </c:pt>
                <c:pt idx="1">
                  <c:v>RUINART BLANC DE BLANCS (NUE) 1CT X 750ML</c:v>
                </c:pt>
                <c:pt idx="2">
                  <c:v>RUINART BLANC DE BLANCS SECOND 1CT X 750ML</c:v>
                </c:pt>
                <c:pt idx="3">
                  <c:v>MG RUINART BLC DE BLANC SECOND 1CT X 1500ML</c:v>
                </c:pt>
                <c:pt idx="4">
                  <c:v>AYALA A/18 BLC BLCS EXTRA 2018 1CT X 750ML</c:v>
                </c:pt>
              </c:strCache>
            </c:strRef>
          </c:cat>
          <c:val>
            <c:numRef>
              <c:f>Sheet1!$B$2:$B$6</c:f>
              <c:numCache>
                <c:formatCode>General</c:formatCode>
                <c:ptCount val="5"/>
                <c:pt idx="0">
                  <c:v>38.72</c:v>
                </c:pt>
                <c:pt idx="1">
                  <c:v>95.01</c:v>
                </c:pt>
                <c:pt idx="2">
                  <c:v>95.06</c:v>
                </c:pt>
                <c:pt idx="3">
                  <c:v>195</c:v>
                </c:pt>
                <c:pt idx="4">
                  <c:v>76.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D9A-4B87-AFA8-DEE6275122CD}"/>
                </c:ext>
              </c:extLst>
            </c:dLbl>
            <c:dLbl>
              <c:idx val="1"/>
              <c:tx>
                <c:rich>
                  <a:bodyPr/>
                  <a:lstStyle/>
                  <a:p>
                    <a:r>
                      <a:t>23.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D9A-4B87-AFA8-DEE6275122CD}"/>
                </c:ext>
              </c:extLst>
            </c:dLbl>
            <c:dLbl>
              <c:idx val="2"/>
              <c:tx>
                <c:rich>
                  <a:bodyPr/>
                  <a:lstStyle/>
                  <a:p>
                    <a:r>
                      <a:t>8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D9A-4B87-AFA8-DEE6275122CD}"/>
                </c:ext>
              </c:extLst>
            </c:dLbl>
            <c:dLbl>
              <c:idx val="3"/>
              <c:tx>
                <c:rich>
                  <a:bodyPr/>
                  <a:lstStyle/>
                  <a:p>
                    <a:r>
                      <a:t>100.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D9A-4B87-AFA8-DEE6275122CD}"/>
                </c:ext>
              </c:extLst>
            </c:dLbl>
            <c:dLbl>
              <c:idx val="4"/>
              <c:tx>
                <c:rich>
                  <a:bodyPr/>
                  <a:lstStyle/>
                  <a:p>
                    <a:r>
                      <a:t>9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D9A-4B87-AFA8-DEE6275122CD}"/>
                </c:ext>
              </c:extLst>
            </c:dLbl>
            <c:dLbl>
              <c:idx val="5"/>
              <c:tx>
                <c:rich>
                  <a:bodyPr/>
                  <a:lstStyle/>
                  <a:p>
                    <a:r>
                      <a:t>97.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D9A-4B87-AFA8-DEE6275122CD}"/>
                </c:ext>
              </c:extLst>
            </c:dLbl>
            <c:dLbl>
              <c:idx val="6"/>
              <c:tx>
                <c:rich>
                  <a:bodyPr/>
                  <a:lstStyle/>
                  <a:p>
                    <a:r>
                      <a:t>220.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D9A-4B87-AFA8-DEE6275122CD}"/>
                </c:ext>
              </c:extLst>
            </c:dLbl>
            <c:dLbl>
              <c:idx val="7"/>
              <c:tx>
                <c:rich>
                  <a:bodyPr/>
                  <a:lstStyle/>
                  <a:p>
                    <a:r>
                      <a:t>55.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D9A-4B87-AFA8-DEE6275122CD}"/>
                </c:ext>
              </c:extLst>
            </c:dLbl>
            <c:dLbl>
              <c:idx val="8"/>
              <c:tx>
                <c:rich>
                  <a:bodyPr/>
                  <a:lstStyle/>
                  <a:p>
                    <a:r>
                      <a:t>292.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D9A-4B87-AFA8-DEE6275122CD}"/>
                </c:ext>
              </c:extLst>
            </c:dLbl>
            <c:dLbl>
              <c:idx val="9"/>
              <c:tx>
                <c:rich>
                  <a:bodyPr/>
                  <a:lstStyle/>
                  <a:p>
                    <a:r>
                      <a:t>75.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D9A-4B87-AFA8-DEE6275122C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DOM RUINART EXT BRUT SECO 2010 1CT X 750ML</c:v>
                </c:pt>
                <c:pt idx="9">
                  <c:v>AYALA A/18 BLC BLCS EXTRA 2018 1CT X 750ML</c:v>
                </c:pt>
              </c:strCache>
            </c:strRef>
          </c:cat>
          <c:val>
            <c:numRef>
              <c:f>Sheet1!$B$2:$B$11</c:f>
              <c:numCache>
                <c:formatCode>General</c:formatCode>
                <c:ptCount val="10"/>
                <c:pt idx="0">
                  <c:v>39.090000000000003</c:v>
                </c:pt>
                <c:pt idx="1">
                  <c:v>23.86</c:v>
                </c:pt>
                <c:pt idx="2">
                  <c:v>87.71</c:v>
                </c:pt>
                <c:pt idx="3">
                  <c:v>100.14</c:v>
                </c:pt>
                <c:pt idx="4">
                  <c:v>94.21</c:v>
                </c:pt>
                <c:pt idx="5">
                  <c:v>97.21</c:v>
                </c:pt>
                <c:pt idx="6">
                  <c:v>220.32</c:v>
                </c:pt>
                <c:pt idx="7">
                  <c:v>55.88</c:v>
                </c:pt>
                <c:pt idx="8">
                  <c:v>292.92</c:v>
                </c:pt>
                <c:pt idx="9">
                  <c:v>75.2900000000000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7E3-4329-A7E7-A2D555DC9866}"/>
                </c:ext>
              </c:extLst>
            </c:dLbl>
            <c:dLbl>
              <c:idx val="1"/>
              <c:tx>
                <c:rich>
                  <a:bodyPr/>
                  <a:lstStyle/>
                  <a:p>
                    <a:r>
                      <a:t>24.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7E3-4329-A7E7-A2D555DC9866}"/>
                </c:ext>
              </c:extLst>
            </c:dLbl>
            <c:dLbl>
              <c:idx val="2"/>
              <c:tx>
                <c:rich>
                  <a:bodyPr/>
                  <a:lstStyle/>
                  <a:p>
                    <a:r>
                      <a:t>103.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7E3-4329-A7E7-A2D555DC9866}"/>
                </c:ext>
              </c:extLst>
            </c:dLbl>
            <c:dLbl>
              <c:idx val="3"/>
              <c:tx>
                <c:rich>
                  <a:bodyPr/>
                  <a:lstStyle/>
                  <a:p>
                    <a:r>
                      <a:t>92.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7E3-4329-A7E7-A2D555DC9866}"/>
                </c:ext>
              </c:extLst>
            </c:dLbl>
            <c:dLbl>
              <c:idx val="4"/>
              <c:tx>
                <c:rich>
                  <a:bodyPr/>
                  <a:lstStyle/>
                  <a:p>
                    <a:r>
                      <a:t>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7E3-4329-A7E7-A2D555DC9866}"/>
                </c:ext>
              </c:extLst>
            </c:dLbl>
            <c:dLbl>
              <c:idx val="5"/>
              <c:tx>
                <c:rich>
                  <a:bodyPr/>
                  <a:lstStyle/>
                  <a:p>
                    <a:r>
                      <a:t>2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7E3-4329-A7E7-A2D555DC9866}"/>
                </c:ext>
              </c:extLst>
            </c:dLbl>
            <c:dLbl>
              <c:idx val="6"/>
              <c:tx>
                <c:rich>
                  <a:bodyPr/>
                  <a:lstStyle/>
                  <a:p>
                    <a:r>
                      <a:t>56.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7E3-4329-A7E7-A2D555DC9866}"/>
                </c:ext>
              </c:extLst>
            </c:dLbl>
            <c:dLbl>
              <c:idx val="7"/>
              <c:tx>
                <c:rich>
                  <a:bodyPr/>
                  <a:lstStyle/>
                  <a:p>
                    <a:r>
                      <a:t>7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7E3-4329-A7E7-A2D555DC986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NICOLAS BLC/BLC BS 1CT X 750ML</c:v>
                </c:pt>
                <c:pt idx="1">
                  <c:v>1/2 CHAMP NICOLAS BLC/BLC BS 1CT X 375ML</c:v>
                </c:pt>
                <c:pt idx="2">
                  <c:v>MG CHAMPAGNE NICOLAS BLC/BL BS 1CT X 1500ML</c:v>
                </c:pt>
                <c:pt idx="3">
                  <c:v>RUINART BLANC DE BLANCS (NUE) 1CT X 750ML</c:v>
                </c:pt>
                <c:pt idx="4">
                  <c:v>RUINART BLANC DE BLANCS SECOND 1CT X 750ML</c:v>
                </c:pt>
                <c:pt idx="5">
                  <c:v>MG RUINART BLC DE BLANC SECOND 1CT X 1500ML</c:v>
                </c:pt>
                <c:pt idx="6">
                  <c:v>1/2 RUINART BLANC DE BLANCS 1CT X 375ML</c:v>
                </c:pt>
                <c:pt idx="7">
                  <c:v>AYALA A/18 BLC BLCS EXTRA 2018 1CT X 750ML</c:v>
                </c:pt>
              </c:strCache>
            </c:strRef>
          </c:cat>
          <c:val>
            <c:numRef>
              <c:f>Sheet1!$B$2:$B$9</c:f>
              <c:numCache>
                <c:formatCode>General</c:formatCode>
                <c:ptCount val="8"/>
                <c:pt idx="0">
                  <c:v>39.03</c:v>
                </c:pt>
                <c:pt idx="1">
                  <c:v>24.26</c:v>
                </c:pt>
                <c:pt idx="2">
                  <c:v>103.82</c:v>
                </c:pt>
                <c:pt idx="3">
                  <c:v>92.94</c:v>
                </c:pt>
                <c:pt idx="4">
                  <c:v>96.7</c:v>
                </c:pt>
                <c:pt idx="5">
                  <c:v>214.4</c:v>
                </c:pt>
                <c:pt idx="6">
                  <c:v>56.49</c:v>
                </c:pt>
                <c:pt idx="7">
                  <c:v>7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1CB-47FE-8E55-6B0271A77C43}"/>
                </c:ext>
              </c:extLst>
            </c:dLbl>
            <c:dLbl>
              <c:idx val="1"/>
              <c:tx>
                <c:rich>
                  <a:bodyPr/>
                  <a:lstStyle/>
                  <a:p>
                    <a:r>
                      <a:t>2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1CB-47FE-8E55-6B0271A77C43}"/>
                </c:ext>
              </c:extLst>
            </c:dLbl>
            <c:dLbl>
              <c:idx val="2"/>
              <c:tx>
                <c:rich>
                  <a:bodyPr/>
                  <a:lstStyle/>
                  <a:p>
                    <a:r>
                      <a:t>88.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1CB-47FE-8E55-6B0271A77C43}"/>
                </c:ext>
              </c:extLst>
            </c:dLbl>
            <c:dLbl>
              <c:idx val="3"/>
              <c:tx>
                <c:rich>
                  <a:bodyPr/>
                  <a:lstStyle/>
                  <a:p>
                    <a:r>
                      <a:t>92.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1CB-47FE-8E55-6B0271A77C43}"/>
                </c:ext>
              </c:extLst>
            </c:dLbl>
            <c:dLbl>
              <c:idx val="4"/>
              <c:tx>
                <c:rich>
                  <a:bodyPr/>
                  <a:lstStyle/>
                  <a:p>
                    <a:r>
                      <a:t>92.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1CB-47FE-8E55-6B0271A77C43}"/>
                </c:ext>
              </c:extLst>
            </c:dLbl>
            <c:dLbl>
              <c:idx val="5"/>
              <c:tx>
                <c:rich>
                  <a:bodyPr/>
                  <a:lstStyle/>
                  <a:p>
                    <a:r>
                      <a:t>9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1CB-47FE-8E55-6B0271A77C43}"/>
                </c:ext>
              </c:extLst>
            </c:dLbl>
            <c:dLbl>
              <c:idx val="6"/>
              <c:tx>
                <c:rich>
                  <a:bodyPr/>
                  <a:lstStyle/>
                  <a:p>
                    <a:r>
                      <a:t>221.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1CB-47FE-8E55-6B0271A77C43}"/>
                </c:ext>
              </c:extLst>
            </c:dLbl>
            <c:dLbl>
              <c:idx val="7"/>
              <c:tx>
                <c:rich>
                  <a:bodyPr/>
                  <a:lstStyle/>
                  <a:p>
                    <a:r>
                      <a:t>56.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1CB-47FE-8E55-6B0271A77C43}"/>
                </c:ext>
              </c:extLst>
            </c:dLbl>
            <c:dLbl>
              <c:idx val="8"/>
              <c:tx>
                <c:rich>
                  <a:bodyPr/>
                  <a:lstStyle/>
                  <a:p>
                    <a:r>
                      <a:t>76.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1CB-47FE-8E55-6B0271A77C43}"/>
                </c:ext>
              </c:extLst>
            </c:dLbl>
            <c:dLbl>
              <c:idx val="9"/>
              <c:tx>
                <c:rich>
                  <a:bodyPr/>
                  <a:lstStyle/>
                  <a:p>
                    <a:r>
                      <a:t>259.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1CB-47FE-8E55-6B0271A77C4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1/2 RUINART BLANC DE BLANCS 1CT X 375ML</c:v>
                </c:pt>
                <c:pt idx="8">
                  <c:v>AYALA A/18 BLC BLCS EXTRA 2018 1CT X 750ML</c:v>
                </c:pt>
                <c:pt idx="9">
                  <c:v>DOM RUINART EXT BRUT SECO 2010 1CT X 750ML</c:v>
                </c:pt>
              </c:strCache>
            </c:strRef>
          </c:cat>
          <c:val>
            <c:numRef>
              <c:f>Sheet1!$B$2:$B$11</c:f>
              <c:numCache>
                <c:formatCode>General</c:formatCode>
                <c:ptCount val="10"/>
                <c:pt idx="0">
                  <c:v>38.979999999999997</c:v>
                </c:pt>
                <c:pt idx="1">
                  <c:v>23.9</c:v>
                </c:pt>
                <c:pt idx="2">
                  <c:v>88.12</c:v>
                </c:pt>
                <c:pt idx="3">
                  <c:v>92.56</c:v>
                </c:pt>
                <c:pt idx="4">
                  <c:v>92.87</c:v>
                </c:pt>
                <c:pt idx="5">
                  <c:v>96.98</c:v>
                </c:pt>
                <c:pt idx="6">
                  <c:v>221.11</c:v>
                </c:pt>
                <c:pt idx="7">
                  <c:v>56.04</c:v>
                </c:pt>
                <c:pt idx="8">
                  <c:v>76.78</c:v>
                </c:pt>
                <c:pt idx="9">
                  <c:v>259.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E83-4D86-AB17-DD9D809AFD23}"/>
                </c:ext>
              </c:extLst>
            </c:dLbl>
            <c:dLbl>
              <c:idx val="1"/>
              <c:tx>
                <c:rich>
                  <a:bodyPr/>
                  <a:lstStyle/>
                  <a:p>
                    <a:r>
                      <a:rPr lang="en-CH"/>
                      <a:t>2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E83-4D86-AB17-DD9D809AFD23}"/>
                </c:ext>
              </c:extLst>
            </c:dLbl>
            <c:dLbl>
              <c:idx val="2"/>
              <c:tx>
                <c:rich>
                  <a:bodyPr/>
                  <a:lstStyle/>
                  <a:p>
                    <a:r>
                      <a:rPr lang="en-CH"/>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E83-4D86-AB17-DD9D809AFD23}"/>
                </c:ext>
              </c:extLst>
            </c:dLbl>
            <c:dLbl>
              <c:idx val="3"/>
              <c:tx>
                <c:rich>
                  <a:bodyPr/>
                  <a:lstStyle/>
                  <a:p>
                    <a:r>
                      <a:rPr lang="en-CH"/>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E83-4D86-AB17-DD9D809AFD23}"/>
                </c:ext>
              </c:extLst>
            </c:dLbl>
            <c:dLbl>
              <c:idx val="4"/>
              <c:tx>
                <c:rich>
                  <a:bodyPr/>
                  <a:lstStyle/>
                  <a:p>
                    <a:r>
                      <a:rPr lang="en-CH"/>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E83-4D86-AB17-DD9D809AFD23}"/>
                </c:ext>
              </c:extLst>
            </c:dLbl>
            <c:dLbl>
              <c:idx val="5"/>
              <c:tx>
                <c:rich>
                  <a:bodyPr/>
                  <a:lstStyle/>
                  <a:p>
                    <a:r>
                      <a:rPr lang="en-CH"/>
                      <a:t>2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E83-4D86-AB17-DD9D809AFD23}"/>
                </c:ext>
              </c:extLst>
            </c:dLbl>
            <c:dLbl>
              <c:idx val="6"/>
              <c:tx>
                <c:rich>
                  <a:bodyPr/>
                  <a:lstStyle/>
                  <a:p>
                    <a:r>
                      <a:rPr lang="en-CH"/>
                      <a:t>8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E83-4D86-AB17-DD9D809AFD23}"/>
                </c:ext>
              </c:extLst>
            </c:dLbl>
            <c:dLbl>
              <c:idx val="7"/>
              <c:tx>
                <c:rich>
                  <a:bodyPr/>
                  <a:lstStyle/>
                  <a:p>
                    <a:r>
                      <a:rPr lang="en-CH"/>
                      <a:t>40.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E83-4D86-AB17-DD9D809AFD23}"/>
                </c:ext>
              </c:extLst>
            </c:dLbl>
            <c:dLbl>
              <c:idx val="8"/>
              <c:tx>
                <c:rich>
                  <a:bodyPr/>
                  <a:lstStyle/>
                  <a:p>
                    <a:r>
                      <a:rPr lang="en-CH"/>
                      <a:t>4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E83-4D86-AB17-DD9D809AFD23}"/>
                </c:ext>
              </c:extLst>
            </c:dLbl>
            <c:dLbl>
              <c:idx val="9"/>
              <c:tx>
                <c:rich>
                  <a:bodyPr/>
                  <a:lstStyle/>
                  <a:p>
                    <a:r>
                      <a:rPr lang="en-CH"/>
                      <a:t>2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E83-4D86-AB17-DD9D809AFD23}"/>
                </c:ext>
              </c:extLst>
            </c:dLbl>
            <c:dLbl>
              <c:idx val="10"/>
              <c:tx>
                <c:rich>
                  <a:bodyPr/>
                  <a:lstStyle/>
                  <a:p>
                    <a:r>
                      <a:rPr lang="en-CH"/>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E83-4D86-AB17-DD9D809AFD23}"/>
                </c:ext>
              </c:extLst>
            </c:dLbl>
            <c:dLbl>
              <c:idx val="11"/>
              <c:tx>
                <c:rich>
                  <a:bodyPr/>
                  <a:lstStyle/>
                  <a:p>
                    <a:r>
                      <a:rPr lang="en-CH"/>
                      <a:t>37.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E83-4D86-AB17-DD9D809AFD23}"/>
                </c:ext>
              </c:extLst>
            </c:dLbl>
            <c:dLbl>
              <c:idx val="12"/>
              <c:tx>
                <c:rich>
                  <a:bodyPr/>
                  <a:lstStyle/>
                  <a:p>
                    <a:r>
                      <a:rPr lang="en-CH"/>
                      <a:t>81.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E83-4D86-AB17-DD9D809AFD23}"/>
                </c:ext>
              </c:extLst>
            </c:dLbl>
            <c:dLbl>
              <c:idx val="13"/>
              <c:tx>
                <c:rich>
                  <a:bodyPr/>
                  <a:lstStyle/>
                  <a:p>
                    <a:r>
                      <a:rPr lang="en-CH"/>
                      <a:t>37.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E83-4D86-AB17-DD9D809AFD23}"/>
                </c:ext>
              </c:extLst>
            </c:dLbl>
            <c:dLbl>
              <c:idx val="14"/>
              <c:tx>
                <c:rich>
                  <a:bodyPr/>
                  <a:lstStyle/>
                  <a:p>
                    <a:r>
                      <a:rPr lang="en-CH"/>
                      <a:t>3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E83-4D86-AB17-DD9D809AFD2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92</c:v>
                </c:pt>
                <c:pt idx="1">
                  <c:v>25.07</c:v>
                </c:pt>
                <c:pt idx="2">
                  <c:v>39.049999999999997</c:v>
                </c:pt>
                <c:pt idx="3">
                  <c:v>37.020000000000003</c:v>
                </c:pt>
                <c:pt idx="4">
                  <c:v>44.67</c:v>
                </c:pt>
                <c:pt idx="5">
                  <c:v>22.57</c:v>
                </c:pt>
                <c:pt idx="6">
                  <c:v>82.76</c:v>
                </c:pt>
                <c:pt idx="7">
                  <c:v>40.36</c:v>
                </c:pt>
                <c:pt idx="8">
                  <c:v>44.76</c:v>
                </c:pt>
                <c:pt idx="9">
                  <c:v>24.36</c:v>
                </c:pt>
                <c:pt idx="10">
                  <c:v>23.9</c:v>
                </c:pt>
                <c:pt idx="11">
                  <c:v>37.380000000000003</c:v>
                </c:pt>
                <c:pt idx="12">
                  <c:v>81.819999999999993</c:v>
                </c:pt>
                <c:pt idx="13">
                  <c:v>37.880000000000003</c:v>
                </c:pt>
                <c:pt idx="14">
                  <c:v>37.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19F-4302-B37E-2BD66A2E99EE}"/>
                </c:ext>
              </c:extLst>
            </c:dLbl>
            <c:dLbl>
              <c:idx val="1"/>
              <c:tx>
                <c:rich>
                  <a:bodyPr/>
                  <a:lstStyle/>
                  <a:p>
                    <a:r>
                      <a:t>24.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19F-4302-B37E-2BD66A2E99EE}"/>
                </c:ext>
              </c:extLst>
            </c:dLbl>
            <c:dLbl>
              <c:idx val="2"/>
              <c:tx>
                <c:rich>
                  <a:bodyPr/>
                  <a:lstStyle/>
                  <a:p>
                    <a:r>
                      <a:t>89.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19F-4302-B37E-2BD66A2E99EE}"/>
                </c:ext>
              </c:extLst>
            </c:dLbl>
            <c:dLbl>
              <c:idx val="3"/>
              <c:tx>
                <c:rich>
                  <a:bodyPr/>
                  <a:lstStyle/>
                  <a:p>
                    <a:r>
                      <a:t>93.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19F-4302-B37E-2BD66A2E99EE}"/>
                </c:ext>
              </c:extLst>
            </c:dLbl>
            <c:dLbl>
              <c:idx val="4"/>
              <c:tx>
                <c:rich>
                  <a:bodyPr/>
                  <a:lstStyle/>
                  <a:p>
                    <a:r>
                      <a:t>93.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19F-4302-B37E-2BD66A2E99EE}"/>
                </c:ext>
              </c:extLst>
            </c:dLbl>
            <c:dLbl>
              <c:idx val="5"/>
              <c:tx>
                <c:rich>
                  <a:bodyPr/>
                  <a:lstStyle/>
                  <a:p>
                    <a:r>
                      <a:t>9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19F-4302-B37E-2BD66A2E99EE}"/>
                </c:ext>
              </c:extLst>
            </c:dLbl>
            <c:dLbl>
              <c:idx val="6"/>
              <c:tx>
                <c:rich>
                  <a:bodyPr/>
                  <a:lstStyle/>
                  <a:p>
                    <a:r>
                      <a:t>217.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19F-4302-B37E-2BD66A2E99EE}"/>
                </c:ext>
              </c:extLst>
            </c:dLbl>
            <c:dLbl>
              <c:idx val="7"/>
              <c:tx>
                <c:rich>
                  <a:bodyPr/>
                  <a:lstStyle/>
                  <a:p>
                    <a:r>
                      <a:t>77.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19F-4302-B37E-2BD66A2E99EE}"/>
                </c:ext>
              </c:extLst>
            </c:dLbl>
            <c:dLbl>
              <c:idx val="8"/>
              <c:tx>
                <c:rich>
                  <a:bodyPr/>
                  <a:lstStyle/>
                  <a:p>
                    <a:r>
                      <a:t>56.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19F-4302-B37E-2BD66A2E99EE}"/>
                </c:ext>
              </c:extLst>
            </c:dLbl>
            <c:dLbl>
              <c:idx val="9"/>
              <c:tx>
                <c:rich>
                  <a:bodyPr/>
                  <a:lstStyle/>
                  <a:p>
                    <a:r>
                      <a:t>29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19F-4302-B37E-2BD66A2E99E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NICOLAS BLC/BLC BS 1CT X 750ML</c:v>
                </c:pt>
                <c:pt idx="1">
                  <c:v>1/2 CHAMP NICOLAS BLC/BLC BS 1CT X 375ML</c:v>
                </c:pt>
                <c:pt idx="2">
                  <c:v>MG CHAMPAGNE NICOLAS BLC/BL BS 1CT X 1500ML</c:v>
                </c:pt>
                <c:pt idx="3">
                  <c:v>CHAMPAGNE NICOLAS BLC/BLC 2002 1CT X 750ML</c:v>
                </c:pt>
                <c:pt idx="4">
                  <c:v>RUINART BLANC DE BLANCS (NUE) 1CT X 750ML</c:v>
                </c:pt>
                <c:pt idx="5">
                  <c:v>RUINART BLANC DE BLANCS SECOND 1CT X 750ML</c:v>
                </c:pt>
                <c:pt idx="6">
                  <c:v>MG RUINART BLC DE BLANC SECOND 1CT X 1500ML</c:v>
                </c:pt>
                <c:pt idx="7">
                  <c:v>AYALA A/18 BLC BLCS EXTRA 2018 1CT X 750ML</c:v>
                </c:pt>
                <c:pt idx="8">
                  <c:v>1/2 RUINART BLANC DE BLANCS 1CT X 375ML</c:v>
                </c:pt>
                <c:pt idx="9">
                  <c:v>DOM RUINART EXT BRUT SECO 2010 1CT X 750ML</c:v>
                </c:pt>
              </c:strCache>
            </c:strRef>
          </c:cat>
          <c:val>
            <c:numRef>
              <c:f>Sheet1!$B$2:$B$11</c:f>
              <c:numCache>
                <c:formatCode>General</c:formatCode>
                <c:ptCount val="10"/>
                <c:pt idx="0">
                  <c:v>39.090000000000003</c:v>
                </c:pt>
                <c:pt idx="1">
                  <c:v>24.37</c:v>
                </c:pt>
                <c:pt idx="2">
                  <c:v>89.67</c:v>
                </c:pt>
                <c:pt idx="3">
                  <c:v>93.42</c:v>
                </c:pt>
                <c:pt idx="4">
                  <c:v>93.04</c:v>
                </c:pt>
                <c:pt idx="5">
                  <c:v>96.31</c:v>
                </c:pt>
                <c:pt idx="6">
                  <c:v>217.12</c:v>
                </c:pt>
                <c:pt idx="7">
                  <c:v>77.25</c:v>
                </c:pt>
                <c:pt idx="8">
                  <c:v>56.74</c:v>
                </c:pt>
                <c:pt idx="9">
                  <c:v>2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493-45F0-A7F6-C5B331EC3A5B}"/>
                </c:ext>
              </c:extLst>
            </c:dLbl>
            <c:dLbl>
              <c:idx val="1"/>
              <c:tx>
                <c:rich>
                  <a:bodyPr/>
                  <a:lstStyle/>
                  <a:p>
                    <a:r>
                      <a:t>81.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493-45F0-A7F6-C5B331EC3A5B}"/>
                </c:ext>
              </c:extLst>
            </c:dLbl>
            <c:dLbl>
              <c:idx val="2"/>
              <c:tx>
                <c:rich>
                  <a:bodyPr/>
                  <a:lstStyle/>
                  <a:p>
                    <a:r>
                      <a:t>2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493-45F0-A7F6-C5B331EC3A5B}"/>
                </c:ext>
              </c:extLst>
            </c:dLbl>
            <c:dLbl>
              <c:idx val="3"/>
              <c:tx>
                <c:rich>
                  <a:bodyPr/>
                  <a:lstStyle/>
                  <a:p>
                    <a:r>
                      <a:t>9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493-45F0-A7F6-C5B331EC3A5B}"/>
                </c:ext>
              </c:extLst>
            </c:dLbl>
            <c:dLbl>
              <c:idx val="4"/>
              <c:tx>
                <c:rich>
                  <a:bodyPr/>
                  <a:lstStyle/>
                  <a:p>
                    <a:r>
                      <a:t>9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493-45F0-A7F6-C5B331EC3A5B}"/>
                </c:ext>
              </c:extLst>
            </c:dLbl>
            <c:dLbl>
              <c:idx val="5"/>
              <c:tx>
                <c:rich>
                  <a:bodyPr/>
                  <a:lstStyle/>
                  <a:p>
                    <a:r>
                      <a:t>218.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493-45F0-A7F6-C5B331EC3A5B}"/>
                </c:ext>
              </c:extLst>
            </c:dLbl>
            <c:dLbl>
              <c:idx val="6"/>
              <c:tx>
                <c:rich>
                  <a:bodyPr/>
                  <a:lstStyle/>
                  <a:p>
                    <a:r>
                      <a:t>5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493-45F0-A7F6-C5B331EC3A5B}"/>
                </c:ext>
              </c:extLst>
            </c:dLbl>
            <c:dLbl>
              <c:idx val="7"/>
              <c:tx>
                <c:rich>
                  <a:bodyPr/>
                  <a:lstStyle/>
                  <a:p>
                    <a:r>
                      <a:t>77.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493-45F0-A7F6-C5B331EC3A5B}"/>
                </c:ext>
              </c:extLst>
            </c:dLbl>
            <c:dLbl>
              <c:idx val="8"/>
              <c:tx>
                <c:rich>
                  <a:bodyPr/>
                  <a:lstStyle/>
                  <a:p>
                    <a:r>
                      <a:t>271.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493-45F0-A7F6-C5B331EC3A5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NICOLAS BLC/BLC BS 1CT X 750ML</c:v>
                </c:pt>
                <c:pt idx="1">
                  <c:v>MG CHAMPAGNE NICOLAS BLC/BL BS 1CT X 1500ML</c:v>
                </c:pt>
                <c:pt idx="2">
                  <c:v>1/2 CHAMP NICOLAS BLC/BLC BS 1CT X 375ML</c:v>
                </c:pt>
                <c:pt idx="3">
                  <c:v>RUINART BLANC DE BLANCS (NUE) 1CT X 750ML</c:v>
                </c:pt>
                <c:pt idx="4">
                  <c:v>RUINART BLANC DE BLANCS SECOND 1CT X 750ML</c:v>
                </c:pt>
                <c:pt idx="5">
                  <c:v>MG RUINART BLC DE BLANC SECOND 1CT X 1500ML</c:v>
                </c:pt>
                <c:pt idx="6">
                  <c:v>1/2 RUINART BLANC DE BLANCS 1CT X 375ML</c:v>
                </c:pt>
                <c:pt idx="7">
                  <c:v>AYALA A/18 BLC BLCS EXTRA 2018 1CT X 750ML</c:v>
                </c:pt>
                <c:pt idx="8">
                  <c:v>DOM RUINART EXT BRUT SECO 2010 1CT X 750ML</c:v>
                </c:pt>
              </c:strCache>
            </c:strRef>
          </c:cat>
          <c:val>
            <c:numRef>
              <c:f>Sheet1!$B$2:$B$10</c:f>
              <c:numCache>
                <c:formatCode>General</c:formatCode>
                <c:ptCount val="9"/>
                <c:pt idx="0">
                  <c:v>39.08</c:v>
                </c:pt>
                <c:pt idx="1">
                  <c:v>81.19</c:v>
                </c:pt>
                <c:pt idx="2">
                  <c:v>23.76</c:v>
                </c:pt>
                <c:pt idx="3">
                  <c:v>92.93</c:v>
                </c:pt>
                <c:pt idx="4">
                  <c:v>96.93</c:v>
                </c:pt>
                <c:pt idx="5">
                  <c:v>218.92</c:v>
                </c:pt>
                <c:pt idx="6">
                  <c:v>56.2</c:v>
                </c:pt>
                <c:pt idx="7">
                  <c:v>77.040000000000006</c:v>
                </c:pt>
                <c:pt idx="8">
                  <c:v>27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81-48C3-9605-F9C55F220520}"/>
                </c:ext>
              </c:extLst>
            </c:dLbl>
            <c:dLbl>
              <c:idx val="1"/>
              <c:tx>
                <c:rich>
                  <a:bodyPr/>
                  <a:lstStyle/>
                  <a:p>
                    <a:r>
                      <a:t>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81-48C3-9605-F9C55F220520}"/>
                </c:ext>
              </c:extLst>
            </c:dLbl>
            <c:dLbl>
              <c:idx val="2"/>
              <c:tx>
                <c:rich>
                  <a:bodyPr/>
                  <a:lstStyle/>
                  <a:p>
                    <a:r>
                      <a:t>45.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081-48C3-9605-F9C55F220520}"/>
                </c:ext>
              </c:extLst>
            </c:dLbl>
            <c:dLbl>
              <c:idx val="3"/>
              <c:tx>
                <c:rich>
                  <a:bodyPr/>
                  <a:lstStyle/>
                  <a:p>
                    <a:r>
                      <a:t>22.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81-48C3-9605-F9C55F220520}"/>
                </c:ext>
              </c:extLst>
            </c:dLbl>
            <c:dLbl>
              <c:idx val="4"/>
              <c:tx>
                <c:rich>
                  <a:bodyPr/>
                  <a:lstStyle/>
                  <a:p>
                    <a:r>
                      <a:t>45.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081-48C3-9605-F9C55F220520}"/>
                </c:ext>
              </c:extLst>
            </c:dLbl>
            <c:dLbl>
              <c:idx val="5"/>
              <c:tx>
                <c:rich>
                  <a:bodyPr/>
                  <a:lstStyle/>
                  <a:p>
                    <a:r>
                      <a:t>40.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81-48C3-9605-F9C55F220520}"/>
                </c:ext>
              </c:extLst>
            </c:dLbl>
            <c:dLbl>
              <c:idx val="6"/>
              <c:tx>
                <c:rich>
                  <a:bodyPr/>
                  <a:lstStyle/>
                  <a:p>
                    <a:r>
                      <a:t>57.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081-48C3-9605-F9C55F220520}"/>
                </c:ext>
              </c:extLst>
            </c:dLbl>
            <c:dLbl>
              <c:idx val="7"/>
              <c:tx>
                <c:rich>
                  <a:bodyPr/>
                  <a:lstStyle/>
                  <a:p>
                    <a:r>
                      <a:t>6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81-48C3-9605-F9C55F220520}"/>
                </c:ext>
              </c:extLst>
            </c:dLbl>
            <c:dLbl>
              <c:idx val="8"/>
              <c:tx>
                <c:rich>
                  <a:bodyPr/>
                  <a:lstStyle/>
                  <a:p>
                    <a:r>
                      <a:t>139.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081-48C3-9605-F9C55F220520}"/>
                </c:ext>
              </c:extLst>
            </c:dLbl>
            <c:dLbl>
              <c:idx val="9"/>
              <c:tx>
                <c:rich>
                  <a:bodyPr/>
                  <a:lstStyle/>
                  <a:p>
                    <a:r>
                      <a:t>35.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81-48C3-9605-F9C55F220520}"/>
                </c:ext>
              </c:extLst>
            </c:dLbl>
            <c:dLbl>
              <c:idx val="10"/>
              <c:tx>
                <c:rich>
                  <a:bodyPr/>
                  <a:lstStyle/>
                  <a:p>
                    <a:r>
                      <a:t>223.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081-48C3-9605-F9C55F22052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RUINART CAISSE BOIS DUO BL+ROS 2CT X 750ML</c:v>
                </c:pt>
              </c:strCache>
            </c:strRef>
          </c:cat>
          <c:val>
            <c:numRef>
              <c:f>Sheet1!$B$2:$B$12</c:f>
              <c:numCache>
                <c:formatCode>General</c:formatCode>
                <c:ptCount val="11"/>
                <c:pt idx="0">
                  <c:v>21.9</c:v>
                </c:pt>
                <c:pt idx="1">
                  <c:v>37.1</c:v>
                </c:pt>
                <c:pt idx="2">
                  <c:v>45.58</c:v>
                </c:pt>
                <c:pt idx="3">
                  <c:v>22.29</c:v>
                </c:pt>
                <c:pt idx="4">
                  <c:v>45.64</c:v>
                </c:pt>
                <c:pt idx="5">
                  <c:v>40.479999999999997</c:v>
                </c:pt>
                <c:pt idx="6">
                  <c:v>57.88</c:v>
                </c:pt>
                <c:pt idx="7">
                  <c:v>61.81</c:v>
                </c:pt>
                <c:pt idx="8">
                  <c:v>139.78</c:v>
                </c:pt>
                <c:pt idx="9">
                  <c:v>35.89</c:v>
                </c:pt>
                <c:pt idx="10">
                  <c:v>223.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A04-4C66-98B6-8E4E024F43DE}"/>
                </c:ext>
              </c:extLst>
            </c:dLbl>
            <c:dLbl>
              <c:idx val="1"/>
              <c:tx>
                <c:rich>
                  <a:bodyPr/>
                  <a:lstStyle/>
                  <a:p>
                    <a:r>
                      <a:t>37.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A04-4C66-98B6-8E4E024F43DE}"/>
                </c:ext>
              </c:extLst>
            </c:dLbl>
            <c:dLbl>
              <c:idx val="2"/>
              <c:tx>
                <c:rich>
                  <a:bodyPr/>
                  <a:lstStyle/>
                  <a:p>
                    <a:r>
                      <a:t>45.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A04-4C66-98B6-8E4E024F43DE}"/>
                </c:ext>
              </c:extLst>
            </c:dLbl>
            <c:dLbl>
              <c:idx val="3"/>
              <c:tx>
                <c:rich>
                  <a:bodyPr/>
                  <a:lstStyle/>
                  <a:p>
                    <a:r>
                      <a:t>22.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A04-4C66-98B6-8E4E024F43DE}"/>
                </c:ext>
              </c:extLst>
            </c:dLbl>
            <c:dLbl>
              <c:idx val="4"/>
              <c:tx>
                <c:rich>
                  <a:bodyPr/>
                  <a:lstStyle/>
                  <a:p>
                    <a:r>
                      <a:t>45.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A04-4C66-98B6-8E4E024F43DE}"/>
                </c:ext>
              </c:extLst>
            </c:dLbl>
            <c:dLbl>
              <c:idx val="5"/>
              <c:tx>
                <c:rich>
                  <a:bodyPr/>
                  <a:lstStyle/>
                  <a:p>
                    <a:r>
                      <a:t>40.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A04-4C66-98B6-8E4E024F43DE}"/>
                </c:ext>
              </c:extLst>
            </c:dLbl>
            <c:dLbl>
              <c:idx val="6"/>
              <c:tx>
                <c:rich>
                  <a:bodyPr/>
                  <a:lstStyle/>
                  <a:p>
                    <a:r>
                      <a:t>57.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A04-4C66-98B6-8E4E024F43DE}"/>
                </c:ext>
              </c:extLst>
            </c:dLbl>
            <c:dLbl>
              <c:idx val="7"/>
              <c:tx>
                <c:rich>
                  <a:bodyPr/>
                  <a:lstStyle/>
                  <a:p>
                    <a:r>
                      <a:t>61.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A04-4C66-98B6-8E4E024F43DE}"/>
                </c:ext>
              </c:extLst>
            </c:dLbl>
            <c:dLbl>
              <c:idx val="8"/>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A04-4C66-98B6-8E4E024F43DE}"/>
                </c:ext>
              </c:extLst>
            </c:dLbl>
            <c:dLbl>
              <c:idx val="9"/>
              <c:tx>
                <c:rich>
                  <a:bodyPr/>
                  <a:lstStyle/>
                  <a:p>
                    <a:r>
                      <a:t>3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A04-4C66-98B6-8E4E024F43DE}"/>
                </c:ext>
              </c:extLst>
            </c:dLbl>
            <c:dLbl>
              <c:idx val="10"/>
              <c:tx>
                <c:rich>
                  <a:bodyPr/>
                  <a:lstStyle/>
                  <a:p>
                    <a:r>
                      <a:t>23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A04-4C66-98B6-8E4E024F43D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COF URBAINE RUINART 3 BLLES 3CT X 750ML</c:v>
                </c:pt>
              </c:strCache>
            </c:strRef>
          </c:cat>
          <c:val>
            <c:numRef>
              <c:f>Sheet1!$B$2:$B$12</c:f>
              <c:numCache>
                <c:formatCode>General</c:formatCode>
                <c:ptCount val="11"/>
                <c:pt idx="0">
                  <c:v>21.91</c:v>
                </c:pt>
                <c:pt idx="1">
                  <c:v>37.08</c:v>
                </c:pt>
                <c:pt idx="2">
                  <c:v>45.64</c:v>
                </c:pt>
                <c:pt idx="3">
                  <c:v>22.26</c:v>
                </c:pt>
                <c:pt idx="4">
                  <c:v>45.73</c:v>
                </c:pt>
                <c:pt idx="5">
                  <c:v>40.479999999999997</c:v>
                </c:pt>
                <c:pt idx="6">
                  <c:v>57.93</c:v>
                </c:pt>
                <c:pt idx="7">
                  <c:v>61.85</c:v>
                </c:pt>
                <c:pt idx="8">
                  <c:v>139.44999999999999</c:v>
                </c:pt>
                <c:pt idx="9">
                  <c:v>35.799999999999997</c:v>
                </c:pt>
                <c:pt idx="10">
                  <c:v>23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51D-402F-96EC-2C68157863C8}"/>
                </c:ext>
              </c:extLst>
            </c:dLbl>
            <c:dLbl>
              <c:idx val="1"/>
              <c:tx>
                <c:rich>
                  <a:bodyPr/>
                  <a:lstStyle/>
                  <a:p>
                    <a:r>
                      <a:t>37.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51D-402F-96EC-2C68157863C8}"/>
                </c:ext>
              </c:extLst>
            </c:dLbl>
            <c:dLbl>
              <c:idx val="2"/>
              <c:tx>
                <c:rich>
                  <a:bodyPr/>
                  <a:lstStyle/>
                  <a:p>
                    <a:r>
                      <a:t>45.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51D-402F-96EC-2C68157863C8}"/>
                </c:ext>
              </c:extLst>
            </c:dLbl>
            <c:dLbl>
              <c:idx val="3"/>
              <c:tx>
                <c:rich>
                  <a:bodyPr/>
                  <a:lstStyle/>
                  <a:p>
                    <a:r>
                      <a:t>22.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51D-402F-96EC-2C68157863C8}"/>
                </c:ext>
              </c:extLst>
            </c:dLbl>
            <c:dLbl>
              <c:idx val="4"/>
              <c:tx>
                <c:rich>
                  <a:bodyPr/>
                  <a:lstStyle/>
                  <a:p>
                    <a:r>
                      <a:t>45.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51D-402F-96EC-2C68157863C8}"/>
                </c:ext>
              </c:extLst>
            </c:dLbl>
            <c:dLbl>
              <c:idx val="5"/>
              <c:tx>
                <c:rich>
                  <a:bodyPr/>
                  <a:lstStyle/>
                  <a:p>
                    <a:r>
                      <a:t>5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51D-402F-96EC-2C68157863C8}"/>
                </c:ext>
              </c:extLst>
            </c:dLbl>
            <c:dLbl>
              <c:idx val="6"/>
              <c:tx>
                <c:rich>
                  <a:bodyPr/>
                  <a:lstStyle/>
                  <a:p>
                    <a:r>
                      <a:t>40.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51D-402F-96EC-2C68157863C8}"/>
                </c:ext>
              </c:extLst>
            </c:dLbl>
            <c:dLbl>
              <c:idx val="7"/>
              <c:tx>
                <c:rich>
                  <a:bodyPr/>
                  <a:lstStyle/>
                  <a:p>
                    <a:r>
                      <a:t>61.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51D-402F-96EC-2C68157863C8}"/>
                </c:ext>
              </c:extLst>
            </c:dLbl>
            <c:dLbl>
              <c:idx val="8"/>
              <c:tx>
                <c:rich>
                  <a:bodyPr/>
                  <a:lstStyle/>
                  <a:p>
                    <a:r>
                      <a:t>138.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51D-402F-96EC-2C68157863C8}"/>
                </c:ext>
              </c:extLst>
            </c:dLbl>
            <c:dLbl>
              <c:idx val="9"/>
              <c:tx>
                <c:rich>
                  <a:bodyPr/>
                  <a:lstStyle/>
                  <a:p>
                    <a:r>
                      <a:t>35.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51D-402F-96EC-2C68157863C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81</c:v>
                </c:pt>
                <c:pt idx="1">
                  <c:v>37.07</c:v>
                </c:pt>
                <c:pt idx="2">
                  <c:v>45.08</c:v>
                </c:pt>
                <c:pt idx="3">
                  <c:v>22.34</c:v>
                </c:pt>
                <c:pt idx="4">
                  <c:v>45.65</c:v>
                </c:pt>
                <c:pt idx="5">
                  <c:v>57.7</c:v>
                </c:pt>
                <c:pt idx="6">
                  <c:v>40.35</c:v>
                </c:pt>
                <c:pt idx="7">
                  <c:v>61.53</c:v>
                </c:pt>
                <c:pt idx="8">
                  <c:v>138.58000000000001</c:v>
                </c:pt>
                <c:pt idx="9">
                  <c:v>35.6300000000000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0A1-4D85-B1DC-DD7272C18F0A}"/>
                </c:ext>
              </c:extLst>
            </c:dLbl>
            <c:dLbl>
              <c:idx val="1"/>
              <c:tx>
                <c:rich>
                  <a:bodyPr/>
                  <a:lstStyle/>
                  <a:p>
                    <a:r>
                      <a:t>37.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A1-4D85-B1DC-DD7272C18F0A}"/>
                </c:ext>
              </c:extLst>
            </c:dLbl>
            <c:dLbl>
              <c:idx val="2"/>
              <c:tx>
                <c:rich>
                  <a:bodyPr/>
                  <a:lstStyle/>
                  <a:p>
                    <a:r>
                      <a:t>2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0A1-4D85-B1DC-DD7272C18F0A}"/>
                </c:ext>
              </c:extLst>
            </c:dLbl>
            <c:dLbl>
              <c:idx val="3"/>
              <c:tx>
                <c:rich>
                  <a:bodyPr/>
                  <a:lstStyle/>
                  <a:p>
                    <a:r>
                      <a:t>46.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A1-4D85-B1DC-DD7272C18F0A}"/>
                </c:ext>
              </c:extLst>
            </c:dLbl>
            <c:dLbl>
              <c:idx val="4"/>
              <c:tx>
                <c:rich>
                  <a:bodyPr/>
                  <a:lstStyle/>
                  <a:p>
                    <a:r>
                      <a:t>45.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0A1-4D85-B1DC-DD7272C18F0A}"/>
                </c:ext>
              </c:extLst>
            </c:dLbl>
            <c:dLbl>
              <c:idx val="5"/>
              <c:tx>
                <c:rich>
                  <a:bodyPr/>
                  <a:lstStyle/>
                  <a:p>
                    <a:r>
                      <a:t>5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A1-4D85-B1DC-DD7272C18F0A}"/>
                </c:ext>
              </c:extLst>
            </c:dLbl>
            <c:dLbl>
              <c:idx val="6"/>
              <c:tx>
                <c:rich>
                  <a:bodyPr/>
                  <a:lstStyle/>
                  <a:p>
                    <a:r>
                      <a:t>40.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0A1-4D85-B1DC-DD7272C18F0A}"/>
                </c:ext>
              </c:extLst>
            </c:dLbl>
            <c:dLbl>
              <c:idx val="7"/>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A1-4D85-B1DC-DD7272C18F0A}"/>
                </c:ext>
              </c:extLst>
            </c:dLbl>
            <c:dLbl>
              <c:idx val="8"/>
              <c:tx>
                <c:rich>
                  <a:bodyPr/>
                  <a:lstStyle/>
                  <a:p>
                    <a:r>
                      <a:t>139.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A1-4D85-B1DC-DD7272C18F0A}"/>
                </c:ext>
              </c:extLst>
            </c:dLbl>
            <c:dLbl>
              <c:idx val="9"/>
              <c:tx>
                <c:rich>
                  <a:bodyPr/>
                  <a:lstStyle/>
                  <a:p>
                    <a:r>
                      <a:t>35.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A1-4D85-B1DC-DD7272C18F0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2</c:v>
                </c:pt>
                <c:pt idx="1">
                  <c:v>37.26</c:v>
                </c:pt>
                <c:pt idx="2">
                  <c:v>22.3</c:v>
                </c:pt>
                <c:pt idx="3">
                  <c:v>46.52</c:v>
                </c:pt>
                <c:pt idx="4">
                  <c:v>45.45</c:v>
                </c:pt>
                <c:pt idx="5">
                  <c:v>57.9</c:v>
                </c:pt>
                <c:pt idx="6">
                  <c:v>40.56</c:v>
                </c:pt>
                <c:pt idx="7">
                  <c:v>61.89</c:v>
                </c:pt>
                <c:pt idx="8">
                  <c:v>139.27000000000001</c:v>
                </c:pt>
                <c:pt idx="9">
                  <c:v>35.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87B-4F99-B293-D523BBF6AFBE}"/>
                </c:ext>
              </c:extLst>
            </c:dLbl>
            <c:dLbl>
              <c:idx val="1"/>
              <c:tx>
                <c:rich>
                  <a:bodyPr/>
                  <a:lstStyle/>
                  <a:p>
                    <a:r>
                      <a:t>36.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87B-4F99-B293-D523BBF6AFBE}"/>
                </c:ext>
              </c:extLst>
            </c:dLbl>
            <c:dLbl>
              <c:idx val="2"/>
              <c:tx>
                <c:rich>
                  <a:bodyPr/>
                  <a:lstStyle/>
                  <a:p>
                    <a:r>
                      <a:t>46.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87B-4F99-B293-D523BBF6AFBE}"/>
                </c:ext>
              </c:extLst>
            </c:dLbl>
            <c:dLbl>
              <c:idx val="3"/>
              <c:tx>
                <c:rich>
                  <a:bodyPr/>
                  <a:lstStyle/>
                  <a:p>
                    <a:r>
                      <a:t>23.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87B-4F99-B293-D523BBF6AFBE}"/>
                </c:ext>
              </c:extLst>
            </c:dLbl>
            <c:dLbl>
              <c:idx val="4"/>
              <c:tx>
                <c:rich>
                  <a:bodyPr/>
                  <a:lstStyle/>
                  <a:p>
                    <a:r>
                      <a:t>58.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87B-4F99-B293-D523BBF6AFBE}"/>
                </c:ext>
              </c:extLst>
            </c:dLbl>
            <c:dLbl>
              <c:idx val="5"/>
              <c:tx>
                <c:rich>
                  <a:bodyPr/>
                  <a:lstStyle/>
                  <a:p>
                    <a:r>
                      <a:t>44.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87B-4F99-B293-D523BBF6AFBE}"/>
                </c:ext>
              </c:extLst>
            </c:dLbl>
            <c:dLbl>
              <c:idx val="6"/>
              <c:tx>
                <c:rich>
                  <a:bodyPr/>
                  <a:lstStyle/>
                  <a:p>
                    <a:r>
                      <a:t>40.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87B-4F99-B293-D523BBF6AFBE}"/>
                </c:ext>
              </c:extLst>
            </c:dLbl>
            <c:dLbl>
              <c:idx val="7"/>
              <c:tx>
                <c:rich>
                  <a:bodyPr/>
                  <a:lstStyle/>
                  <a:p>
                    <a:r>
                      <a:t>8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87B-4F99-B293-D523BBF6AFBE}"/>
                </c:ext>
              </c:extLst>
            </c:dLbl>
            <c:dLbl>
              <c:idx val="8"/>
              <c:tx>
                <c:rich>
                  <a:bodyPr/>
                  <a:lstStyle/>
                  <a:p>
                    <a:r>
                      <a:t>62.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87B-4F99-B293-D523BBF6AFBE}"/>
                </c:ext>
              </c:extLst>
            </c:dLbl>
            <c:dLbl>
              <c:idx val="9"/>
              <c:tx>
                <c:rich>
                  <a:bodyPr/>
                  <a:lstStyle/>
                  <a:p>
                    <a:r>
                      <a:t>136.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87B-4F99-B293-D523BBF6AFBE}"/>
                </c:ext>
              </c:extLst>
            </c:dLbl>
            <c:dLbl>
              <c:idx val="10"/>
              <c:tx>
                <c:rich>
                  <a:bodyPr/>
                  <a:lstStyle/>
                  <a:p>
                    <a:r>
                      <a:t>35.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87B-4F99-B293-D523BBF6AFBE}"/>
                </c:ext>
              </c:extLst>
            </c:dLbl>
            <c:dLbl>
              <c:idx val="11"/>
              <c:tx>
                <c:rich>
                  <a:bodyPr/>
                  <a:lstStyle/>
                  <a:p>
                    <a:r>
                      <a:t>77.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87B-4F99-B293-D523BBF6AFBE}"/>
                </c:ext>
              </c:extLst>
            </c:dLbl>
            <c:dLbl>
              <c:idx val="12"/>
              <c:tx>
                <c:rich>
                  <a:bodyPr/>
                  <a:lstStyle/>
                  <a:p>
                    <a:r>
                      <a:t>20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87B-4F99-B293-D523BBF6AFB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MG CHAMPAGNE E.NICOLAS BRUT 1CT X 1500ML</c:v>
                </c:pt>
                <c:pt idx="3">
                  <c:v>1/2 CHAMPAGNE NICOLAS 1ERE CUV 1CT X 375ML</c:v>
                </c:pt>
                <c:pt idx="4">
                  <c:v>RUINART BRUT (NUE) 1CT X 750ML</c:v>
                </c:pt>
                <c:pt idx="5">
                  <c:v>LAURENT PERRIER LA CUVEE BRUT 1CT X 750ML</c:v>
                </c:pt>
                <c:pt idx="6">
                  <c:v>AYALA BRUT MAJEUR 1CT X 750ML</c:v>
                </c:pt>
                <c:pt idx="7">
                  <c:v>MG LAURENT PERRIER LA CUVEE 1CT X 1500ML</c:v>
                </c:pt>
                <c:pt idx="8">
                  <c:v>RUINART BRUT SECOND SKIN 1CT X 750ML</c:v>
                </c:pt>
                <c:pt idx="9">
                  <c:v>MG RUINART BRUT SECOND SKIN 1CT X 1500ML</c:v>
                </c:pt>
                <c:pt idx="10">
                  <c:v>1/2 RUINART BRUT (NUE) 1CT X 375ML</c:v>
                </c:pt>
                <c:pt idx="11">
                  <c:v>LAURENT PERRIER BRUT CASHER 1CT X 750ML</c:v>
                </c:pt>
                <c:pt idx="12">
                  <c:v>MG LAURENT PERRIER ROSE 1CT X 1500ML</c:v>
                </c:pt>
              </c:strCache>
            </c:strRef>
          </c:cat>
          <c:val>
            <c:numRef>
              <c:f>Sheet1!$B$2:$B$14</c:f>
              <c:numCache>
                <c:formatCode>General</c:formatCode>
                <c:ptCount val="13"/>
                <c:pt idx="0">
                  <c:v>21.93</c:v>
                </c:pt>
                <c:pt idx="1">
                  <c:v>36.89</c:v>
                </c:pt>
                <c:pt idx="2">
                  <c:v>46.93</c:v>
                </c:pt>
                <c:pt idx="3">
                  <c:v>23.37</c:v>
                </c:pt>
                <c:pt idx="4">
                  <c:v>58.24</c:v>
                </c:pt>
                <c:pt idx="5">
                  <c:v>44.64</c:v>
                </c:pt>
                <c:pt idx="6">
                  <c:v>40.49</c:v>
                </c:pt>
                <c:pt idx="7">
                  <c:v>85.28</c:v>
                </c:pt>
                <c:pt idx="8">
                  <c:v>62.54</c:v>
                </c:pt>
                <c:pt idx="9">
                  <c:v>136.97</c:v>
                </c:pt>
                <c:pt idx="10">
                  <c:v>35.67</c:v>
                </c:pt>
                <c:pt idx="11">
                  <c:v>77.680000000000007</c:v>
                </c:pt>
                <c:pt idx="12">
                  <c:v>2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1E2-410B-BDD9-76E3E397BCA0}"/>
                </c:ext>
              </c:extLst>
            </c:dLbl>
            <c:dLbl>
              <c:idx val="1"/>
              <c:tx>
                <c:rich>
                  <a:bodyPr/>
                  <a:lstStyle/>
                  <a:p>
                    <a:r>
                      <a:t>36.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1E2-410B-BDD9-76E3E397BCA0}"/>
                </c:ext>
              </c:extLst>
            </c:dLbl>
            <c:dLbl>
              <c:idx val="2"/>
              <c:tx>
                <c:rich>
                  <a:bodyPr/>
                  <a:lstStyle/>
                  <a:p>
                    <a:r>
                      <a:t>44.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1E2-410B-BDD9-76E3E397BCA0}"/>
                </c:ext>
              </c:extLst>
            </c:dLbl>
            <c:dLbl>
              <c:idx val="3"/>
              <c:tx>
                <c:rich>
                  <a:bodyPr/>
                  <a:lstStyle/>
                  <a:p>
                    <a:r>
                      <a:t>57.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1E2-410B-BDD9-76E3E397BCA0}"/>
                </c:ext>
              </c:extLst>
            </c:dLbl>
            <c:dLbl>
              <c:idx val="4"/>
              <c:tx>
                <c:rich>
                  <a:bodyPr/>
                  <a:lstStyle/>
                  <a:p>
                    <a:r>
                      <a:t>61.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1E2-410B-BDD9-76E3E397BCA0}"/>
                </c:ext>
              </c:extLst>
            </c:dLbl>
            <c:dLbl>
              <c:idx val="5"/>
              <c:tx>
                <c:rich>
                  <a:bodyPr/>
                  <a:lstStyle/>
                  <a:p>
                    <a:r>
                      <a:t>138.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1E2-410B-BDD9-76E3E397BCA0}"/>
                </c:ext>
              </c:extLst>
            </c:dLbl>
            <c:dLbl>
              <c:idx val="6"/>
              <c:tx>
                <c:rich>
                  <a:bodyPr/>
                  <a:lstStyle/>
                  <a:p>
                    <a:r>
                      <a:t>41.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1E2-410B-BDD9-76E3E397BCA0}"/>
                </c:ext>
              </c:extLst>
            </c:dLbl>
            <c:dLbl>
              <c:idx val="7"/>
              <c:tx>
                <c:rich>
                  <a:bodyPr/>
                  <a:lstStyle/>
                  <a:p>
                    <a:r>
                      <a:t>37.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1E2-410B-BDD9-76E3E397BCA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E.NICOLAS BRUT 1CT X 750ML</c:v>
                </c:pt>
                <c:pt idx="1">
                  <c:v>CHAMPAGNE NICOLAS 1ERE CUVEE 1CT X 750ML</c:v>
                </c:pt>
                <c:pt idx="2">
                  <c:v>MG CHAMPAGNE E.NICOLAS BRUT 1CT X 1500ML</c:v>
                </c:pt>
                <c:pt idx="3">
                  <c:v>RUINART BRUT (NUE) 1CT X 750ML</c:v>
                </c:pt>
                <c:pt idx="4">
                  <c:v>RUINART BRUT SECOND SKIN 1CT X 750ML</c:v>
                </c:pt>
                <c:pt idx="5">
                  <c:v>MG RUINART BRUT SECOND SKIN 1CT X 1500ML</c:v>
                </c:pt>
                <c:pt idx="6">
                  <c:v>AYALA BRUT MAJEUR 1CT X 750ML</c:v>
                </c:pt>
                <c:pt idx="7">
                  <c:v>1/2 RUINART BRUT (NUE) 1CT X 375ML</c:v>
                </c:pt>
              </c:strCache>
            </c:strRef>
          </c:cat>
          <c:val>
            <c:numRef>
              <c:f>Sheet1!$B$2:$B$9</c:f>
              <c:numCache>
                <c:formatCode>General</c:formatCode>
                <c:ptCount val="8"/>
                <c:pt idx="0">
                  <c:v>21.94</c:v>
                </c:pt>
                <c:pt idx="1">
                  <c:v>36.22</c:v>
                </c:pt>
                <c:pt idx="2">
                  <c:v>44.21</c:v>
                </c:pt>
                <c:pt idx="3">
                  <c:v>57.67</c:v>
                </c:pt>
                <c:pt idx="4">
                  <c:v>61.84</c:v>
                </c:pt>
                <c:pt idx="5">
                  <c:v>138.33000000000001</c:v>
                </c:pt>
                <c:pt idx="6">
                  <c:v>41.04</c:v>
                </c:pt>
                <c:pt idx="7">
                  <c:v>37.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EED-45B4-B346-FEE05F81CBB8}"/>
                </c:ext>
              </c:extLst>
            </c:dLbl>
            <c:dLbl>
              <c:idx val="1"/>
              <c:tx>
                <c:rich>
                  <a:bodyPr/>
                  <a:lstStyle/>
                  <a:p>
                    <a:r>
                      <a:t>36.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EED-45B4-B346-FEE05F81CBB8}"/>
                </c:ext>
              </c:extLst>
            </c:dLbl>
            <c:dLbl>
              <c:idx val="2"/>
              <c:tx>
                <c:rich>
                  <a:bodyPr/>
                  <a:lstStyle/>
                  <a:p>
                    <a:r>
                      <a:t>46.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EED-45B4-B346-FEE05F81CBB8}"/>
                </c:ext>
              </c:extLst>
            </c:dLbl>
            <c:dLbl>
              <c:idx val="3"/>
              <c:tx>
                <c:rich>
                  <a:bodyPr/>
                  <a:lstStyle/>
                  <a:p>
                    <a:r>
                      <a:t>22.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EED-45B4-B346-FEE05F81CBB8}"/>
                </c:ext>
              </c:extLst>
            </c:dLbl>
            <c:dLbl>
              <c:idx val="4"/>
              <c:tx>
                <c:rich>
                  <a:bodyPr/>
                  <a:lstStyle/>
                  <a:p>
                    <a:r>
                      <a:t>46.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EED-45B4-B346-FEE05F81CBB8}"/>
                </c:ext>
              </c:extLst>
            </c:dLbl>
            <c:dLbl>
              <c:idx val="5"/>
              <c:tx>
                <c:rich>
                  <a:bodyPr/>
                  <a:lstStyle/>
                  <a:p>
                    <a:r>
                      <a:t>40.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EED-45B4-B346-FEE05F81CBB8}"/>
                </c:ext>
              </c:extLst>
            </c:dLbl>
            <c:dLbl>
              <c:idx val="6"/>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EED-45B4-B346-FEE05F81CBB8}"/>
                </c:ext>
              </c:extLst>
            </c:dLbl>
            <c:dLbl>
              <c:idx val="7"/>
              <c:tx>
                <c:rich>
                  <a:bodyPr/>
                  <a:lstStyle/>
                  <a:p>
                    <a:r>
                      <a:t>6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EED-45B4-B346-FEE05F81CBB8}"/>
                </c:ext>
              </c:extLst>
            </c:dLbl>
            <c:dLbl>
              <c:idx val="8"/>
              <c:tx>
                <c:rich>
                  <a:bodyPr/>
                  <a:lstStyle/>
                  <a:p>
                    <a:r>
                      <a:t>139.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EED-45B4-B346-FEE05F81CBB8}"/>
                </c:ext>
              </c:extLst>
            </c:dLbl>
            <c:dLbl>
              <c:idx val="9"/>
              <c:tx>
                <c:rich>
                  <a:bodyPr/>
                  <a:lstStyle/>
                  <a:p>
                    <a:r>
                      <a:t>35.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EED-45B4-B346-FEE05F81CBB8}"/>
                </c:ext>
              </c:extLst>
            </c:dLbl>
            <c:dLbl>
              <c:idx val="10"/>
              <c:tx>
                <c:rich>
                  <a:bodyPr/>
                  <a:lstStyle/>
                  <a:p>
                    <a:r>
                      <a:t>13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EED-45B4-B346-FEE05F81CBB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RUINART BRUT CAISSE BOIS DUO 2CT X 750ML</c:v>
                </c:pt>
              </c:strCache>
            </c:strRef>
          </c:cat>
          <c:val>
            <c:numRef>
              <c:f>Sheet1!$B$2:$B$12</c:f>
              <c:numCache>
                <c:formatCode>General</c:formatCode>
                <c:ptCount val="11"/>
                <c:pt idx="0">
                  <c:v>21.92</c:v>
                </c:pt>
                <c:pt idx="1">
                  <c:v>36.99</c:v>
                </c:pt>
                <c:pt idx="2">
                  <c:v>46.02</c:v>
                </c:pt>
                <c:pt idx="3">
                  <c:v>22.24</c:v>
                </c:pt>
                <c:pt idx="4">
                  <c:v>46.62</c:v>
                </c:pt>
                <c:pt idx="5">
                  <c:v>40.49</c:v>
                </c:pt>
                <c:pt idx="6">
                  <c:v>57.87</c:v>
                </c:pt>
                <c:pt idx="7">
                  <c:v>61.93</c:v>
                </c:pt>
                <c:pt idx="8">
                  <c:v>139.37</c:v>
                </c:pt>
                <c:pt idx="9">
                  <c:v>35.880000000000003</c:v>
                </c:pt>
                <c:pt idx="10">
                  <c:v>1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9F-4126-87EF-1EDAC9D3A98F}"/>
                </c:ext>
              </c:extLst>
            </c:dLbl>
            <c:dLbl>
              <c:idx val="1"/>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29F-4126-87EF-1EDAC9D3A98F}"/>
                </c:ext>
              </c:extLst>
            </c:dLbl>
            <c:dLbl>
              <c:idx val="2"/>
              <c:tx>
                <c:rich>
                  <a:bodyPr/>
                  <a:lstStyle/>
                  <a:p>
                    <a:r>
                      <a:t>44.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9F-4126-87EF-1EDAC9D3A98F}"/>
                </c:ext>
              </c:extLst>
            </c:dLbl>
            <c:dLbl>
              <c:idx val="3"/>
              <c:tx>
                <c:rich>
                  <a:bodyPr/>
                  <a:lstStyle/>
                  <a:p>
                    <a:r>
                      <a:t>2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9F-4126-87EF-1EDAC9D3A98F}"/>
                </c:ext>
              </c:extLst>
            </c:dLbl>
            <c:dLbl>
              <c:idx val="4"/>
              <c:tx>
                <c:rich>
                  <a:bodyPr/>
                  <a:lstStyle/>
                  <a:p>
                    <a:r>
                      <a:t>48.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9F-4126-87EF-1EDAC9D3A98F}"/>
                </c:ext>
              </c:extLst>
            </c:dLbl>
            <c:dLbl>
              <c:idx val="5"/>
              <c:tx>
                <c:rich>
                  <a:bodyPr/>
                  <a:lstStyle/>
                  <a:p>
                    <a:r>
                      <a:t>57.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9F-4126-87EF-1EDAC9D3A98F}"/>
                </c:ext>
              </c:extLst>
            </c:dLbl>
            <c:dLbl>
              <c:idx val="6"/>
              <c:tx>
                <c:rich>
                  <a:bodyPr/>
                  <a:lstStyle/>
                  <a:p>
                    <a:r>
                      <a:t>62.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29F-4126-87EF-1EDAC9D3A98F}"/>
                </c:ext>
              </c:extLst>
            </c:dLbl>
            <c:dLbl>
              <c:idx val="7"/>
              <c:tx>
                <c:rich>
                  <a:bodyPr/>
                  <a:lstStyle/>
                  <a:p>
                    <a:r>
                      <a:t>40.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9F-4126-87EF-1EDAC9D3A98F}"/>
                </c:ext>
              </c:extLst>
            </c:dLbl>
            <c:dLbl>
              <c:idx val="8"/>
              <c:tx>
                <c:rich>
                  <a:bodyPr/>
                  <a:lstStyle/>
                  <a:p>
                    <a:r>
                      <a:t>138.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29F-4126-87EF-1EDAC9D3A98F}"/>
                </c:ext>
              </c:extLst>
            </c:dLbl>
            <c:dLbl>
              <c:idx val="9"/>
              <c:tx>
                <c:rich>
                  <a:bodyPr/>
                  <a:lstStyle/>
                  <a:p>
                    <a:r>
                      <a:t>36.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9F-4126-87EF-1EDAC9D3A98F}"/>
                </c:ext>
              </c:extLst>
            </c:dLbl>
            <c:dLbl>
              <c:idx val="10"/>
              <c:tx>
                <c:rich>
                  <a:bodyPr/>
                  <a:lstStyle/>
                  <a:p>
                    <a:r>
                      <a:t>205.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29F-4126-87EF-1EDAC9D3A98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RUINART BRUT SECOND SKIN 1CT X 750ML</c:v>
                </c:pt>
                <c:pt idx="7">
                  <c:v>AYALA BRUT MAJEUR 1CT X 750ML</c:v>
                </c:pt>
                <c:pt idx="8">
                  <c:v>MG RUINART BRUT SECOND SKIN 1CT X 1500ML</c:v>
                </c:pt>
                <c:pt idx="9">
                  <c:v>1/2 RUINART BRUT (NUE) 1CT X 375ML</c:v>
                </c:pt>
                <c:pt idx="10">
                  <c:v>RUINART CAISSE BOIS DUO BL+ROS 2CT X 750ML</c:v>
                </c:pt>
              </c:strCache>
            </c:strRef>
          </c:cat>
          <c:val>
            <c:numRef>
              <c:f>Sheet1!$B$2:$B$12</c:f>
              <c:numCache>
                <c:formatCode>General</c:formatCode>
                <c:ptCount val="11"/>
                <c:pt idx="0">
                  <c:v>21.92</c:v>
                </c:pt>
                <c:pt idx="1">
                  <c:v>37.29</c:v>
                </c:pt>
                <c:pt idx="2">
                  <c:v>44.86</c:v>
                </c:pt>
                <c:pt idx="3">
                  <c:v>22.42</c:v>
                </c:pt>
                <c:pt idx="4">
                  <c:v>48.33</c:v>
                </c:pt>
                <c:pt idx="5">
                  <c:v>57.77</c:v>
                </c:pt>
                <c:pt idx="6">
                  <c:v>62.43</c:v>
                </c:pt>
                <c:pt idx="7">
                  <c:v>40.54</c:v>
                </c:pt>
                <c:pt idx="8">
                  <c:v>138.61000000000001</c:v>
                </c:pt>
                <c:pt idx="9">
                  <c:v>36.08</c:v>
                </c:pt>
                <c:pt idx="10">
                  <c:v>205.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5B5-4942-807A-E6729A7E4932}"/>
                </c:ext>
              </c:extLst>
            </c:dLbl>
            <c:dLbl>
              <c:idx val="1"/>
              <c:tx>
                <c:rich>
                  <a:bodyPr/>
                  <a:lstStyle/>
                  <a:p>
                    <a:r>
                      <a:rPr lang="en-CH"/>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5B5-4942-807A-E6729A7E4932}"/>
                </c:ext>
              </c:extLst>
            </c:dLbl>
            <c:dLbl>
              <c:idx val="2"/>
              <c:tx>
                <c:rich>
                  <a:bodyPr/>
                  <a:lstStyle/>
                  <a:p>
                    <a:r>
                      <a:rPr lang="en-CH"/>
                      <a:t>4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5B5-4942-807A-E6729A7E4932}"/>
                </c:ext>
              </c:extLst>
            </c:dLbl>
            <c:dLbl>
              <c:idx val="3"/>
              <c:tx>
                <c:rich>
                  <a:bodyPr/>
                  <a:lstStyle/>
                  <a:p>
                    <a:r>
                      <a:rPr lang="en-CH"/>
                      <a:t>38.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5B5-4942-807A-E6729A7E4932}"/>
                </c:ext>
              </c:extLst>
            </c:dLbl>
            <c:dLbl>
              <c:idx val="4"/>
              <c:tx>
                <c:rich>
                  <a:bodyPr/>
                  <a:lstStyle/>
                  <a:p>
                    <a:r>
                      <a:rPr lang="en-CH"/>
                      <a:t>2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5B5-4942-807A-E6729A7E4932}"/>
                </c:ext>
              </c:extLst>
            </c:dLbl>
            <c:dLbl>
              <c:idx val="5"/>
              <c:tx>
                <c:rich>
                  <a:bodyPr/>
                  <a:lstStyle/>
                  <a:p>
                    <a:r>
                      <a:rPr lang="en-CH"/>
                      <a:t>4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5B5-4942-807A-E6729A7E4932}"/>
                </c:ext>
              </c:extLst>
            </c:dLbl>
            <c:dLbl>
              <c:idx val="6"/>
              <c:tx>
                <c:rich>
                  <a:bodyPr/>
                  <a:lstStyle/>
                  <a:p>
                    <a:r>
                      <a:rPr lang="en-CH"/>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5B5-4942-807A-E6729A7E4932}"/>
                </c:ext>
              </c:extLst>
            </c:dLbl>
            <c:dLbl>
              <c:idx val="7"/>
              <c:tx>
                <c:rich>
                  <a:bodyPr/>
                  <a:lstStyle/>
                  <a:p>
                    <a:r>
                      <a:rPr lang="en-CH"/>
                      <a:t>37.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5B5-4942-807A-E6729A7E4932}"/>
                </c:ext>
              </c:extLst>
            </c:dLbl>
            <c:dLbl>
              <c:idx val="8"/>
              <c:tx>
                <c:rich>
                  <a:bodyPr/>
                  <a:lstStyle/>
                  <a:p>
                    <a:r>
                      <a:rPr lang="en-CH"/>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5B5-4942-807A-E6729A7E4932}"/>
                </c:ext>
              </c:extLst>
            </c:dLbl>
            <c:dLbl>
              <c:idx val="9"/>
              <c:tx>
                <c:rich>
                  <a:bodyPr/>
                  <a:lstStyle/>
                  <a:p>
                    <a:r>
                      <a:rPr lang="en-CH"/>
                      <a:t>11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5B5-4942-807A-E6729A7E4932}"/>
                </c:ext>
              </c:extLst>
            </c:dLbl>
            <c:dLbl>
              <c:idx val="10"/>
              <c:tx>
                <c:rich>
                  <a:bodyPr/>
                  <a:lstStyle/>
                  <a:p>
                    <a:r>
                      <a:rPr lang="en-CH"/>
                      <a:t>8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5B5-4942-807A-E6729A7E4932}"/>
                </c:ext>
              </c:extLst>
            </c:dLbl>
            <c:dLbl>
              <c:idx val="11"/>
              <c:tx>
                <c:rich>
                  <a:bodyPr/>
                  <a:lstStyle/>
                  <a:p>
                    <a:r>
                      <a:rPr lang="en-CH"/>
                      <a:t>2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5B5-4942-807A-E6729A7E4932}"/>
                </c:ext>
              </c:extLst>
            </c:dLbl>
            <c:dLbl>
              <c:idx val="12"/>
              <c:tx>
                <c:rich>
                  <a:bodyPr/>
                  <a:lstStyle/>
                  <a:p>
                    <a:r>
                      <a:rPr lang="en-CH"/>
                      <a:t>2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5B5-4942-807A-E6729A7E493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strCache>
            </c:strRef>
          </c:cat>
          <c:val>
            <c:numRef>
              <c:f>Sheet1!$B$2:$B$14</c:f>
              <c:numCache>
                <c:formatCode>General</c:formatCode>
                <c:ptCount val="13"/>
                <c:pt idx="0">
                  <c:v>21.9</c:v>
                </c:pt>
                <c:pt idx="1">
                  <c:v>25.05</c:v>
                </c:pt>
                <c:pt idx="2">
                  <c:v>41.42</c:v>
                </c:pt>
                <c:pt idx="3">
                  <c:v>38.51</c:v>
                </c:pt>
                <c:pt idx="4">
                  <c:v>22</c:v>
                </c:pt>
                <c:pt idx="5">
                  <c:v>44.12</c:v>
                </c:pt>
                <c:pt idx="6">
                  <c:v>39.03</c:v>
                </c:pt>
                <c:pt idx="7">
                  <c:v>37.72</c:v>
                </c:pt>
                <c:pt idx="8">
                  <c:v>50</c:v>
                </c:pt>
                <c:pt idx="9">
                  <c:v>113.62</c:v>
                </c:pt>
                <c:pt idx="10">
                  <c:v>85.06</c:v>
                </c:pt>
                <c:pt idx="11">
                  <c:v>24.44</c:v>
                </c:pt>
                <c:pt idx="12">
                  <c:v>2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9A5-493B-B6DF-1AA31CDFF021}"/>
                </c:ext>
              </c:extLst>
            </c:dLbl>
            <c:dLbl>
              <c:idx val="1"/>
              <c:tx>
                <c:rich>
                  <a:bodyPr/>
                  <a:lstStyle/>
                  <a:p>
                    <a:r>
                      <a:t>37.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A5-493B-B6DF-1AA31CDFF021}"/>
                </c:ext>
              </c:extLst>
            </c:dLbl>
            <c:dLbl>
              <c:idx val="2"/>
              <c:tx>
                <c:rich>
                  <a:bodyPr/>
                  <a:lstStyle/>
                  <a:p>
                    <a:r>
                      <a:t>43.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9A5-493B-B6DF-1AA31CDFF021}"/>
                </c:ext>
              </c:extLst>
            </c:dLbl>
            <c:dLbl>
              <c:idx val="3"/>
              <c:tx>
                <c:rich>
                  <a:bodyPr/>
                  <a:lstStyle/>
                  <a:p>
                    <a:r>
                      <a:t>58.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A5-493B-B6DF-1AA31CDFF021}"/>
                </c:ext>
              </c:extLst>
            </c:dLbl>
            <c:dLbl>
              <c:idx val="4"/>
              <c:tx>
                <c:rich>
                  <a:bodyPr/>
                  <a:lstStyle/>
                  <a:p>
                    <a:r>
                      <a:t>49.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9A5-493B-B6DF-1AA31CDFF021}"/>
                </c:ext>
              </c:extLst>
            </c:dLbl>
            <c:dLbl>
              <c:idx val="5"/>
              <c:tx>
                <c:rich>
                  <a:bodyPr/>
                  <a:lstStyle/>
                  <a:p>
                    <a:r>
                      <a:t>40.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A5-493B-B6DF-1AA31CDFF021}"/>
                </c:ext>
              </c:extLst>
            </c:dLbl>
            <c:dLbl>
              <c:idx val="6"/>
              <c:tx>
                <c:rich>
                  <a:bodyPr/>
                  <a:lstStyle/>
                  <a:p>
                    <a:r>
                      <a:t>6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9A5-493B-B6DF-1AA31CDFF021}"/>
                </c:ext>
              </c:extLst>
            </c:dLbl>
            <c:dLbl>
              <c:idx val="7"/>
              <c:tx>
                <c:rich>
                  <a:bodyPr/>
                  <a:lstStyle/>
                  <a:p>
                    <a:r>
                      <a:t>101.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A5-493B-B6DF-1AA31CDFF021}"/>
                </c:ext>
              </c:extLst>
            </c:dLbl>
            <c:dLbl>
              <c:idx val="8"/>
              <c:tx>
                <c:rich>
                  <a:bodyPr/>
                  <a:lstStyle/>
                  <a:p>
                    <a:r>
                      <a:t>141.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9A5-493B-B6DF-1AA31CDFF021}"/>
                </c:ext>
              </c:extLst>
            </c:dLbl>
            <c:dLbl>
              <c:idx val="9"/>
              <c:tx>
                <c:rich>
                  <a:bodyPr/>
                  <a:lstStyle/>
                  <a:p>
                    <a:r>
                      <a:t>36.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A5-493B-B6DF-1AA31CDFF021}"/>
                </c:ext>
              </c:extLst>
            </c:dLbl>
            <c:dLbl>
              <c:idx val="10"/>
              <c:tx>
                <c:rich>
                  <a:bodyPr/>
                  <a:lstStyle/>
                  <a:p>
                    <a:r>
                      <a:t>27.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9A5-493B-B6DF-1AA31CDFF02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RUINART BRUT (NUE) 1CT X 750ML</c:v>
                </c:pt>
                <c:pt idx="4">
                  <c:v>DEUTZ CLASSIC BRUT 1CT X 750ML</c:v>
                </c:pt>
                <c:pt idx="5">
                  <c:v>AYALA BRUT MAJEUR 1CT X 750ML</c:v>
                </c:pt>
                <c:pt idx="6">
                  <c:v>RUINART BRUT SECOND SKIN 1CT X 750ML</c:v>
                </c:pt>
                <c:pt idx="7">
                  <c:v>MG DEUTZ CLASSIC 1CT X 1500ML</c:v>
                </c:pt>
                <c:pt idx="8">
                  <c:v>MG RUINART BRUT SECOND SKIN 1CT X 1500ML</c:v>
                </c:pt>
                <c:pt idx="9">
                  <c:v>1/2 RUINART BRUT (NUE) 1CT X 375ML</c:v>
                </c:pt>
                <c:pt idx="10">
                  <c:v>1/2 DEUTZ CLASSIC BRUT 1CT X 375ML</c:v>
                </c:pt>
              </c:strCache>
            </c:strRef>
          </c:cat>
          <c:val>
            <c:numRef>
              <c:f>Sheet1!$B$2:$B$12</c:f>
              <c:numCache>
                <c:formatCode>General</c:formatCode>
                <c:ptCount val="11"/>
                <c:pt idx="0">
                  <c:v>21.94</c:v>
                </c:pt>
                <c:pt idx="1">
                  <c:v>37.090000000000003</c:v>
                </c:pt>
                <c:pt idx="2">
                  <c:v>43.96</c:v>
                </c:pt>
                <c:pt idx="3">
                  <c:v>58.22</c:v>
                </c:pt>
                <c:pt idx="4">
                  <c:v>49.79</c:v>
                </c:pt>
                <c:pt idx="5">
                  <c:v>40.44</c:v>
                </c:pt>
                <c:pt idx="6">
                  <c:v>61.44</c:v>
                </c:pt>
                <c:pt idx="7">
                  <c:v>101.52</c:v>
                </c:pt>
                <c:pt idx="8">
                  <c:v>141.16999999999999</c:v>
                </c:pt>
                <c:pt idx="9">
                  <c:v>36.11</c:v>
                </c:pt>
                <c:pt idx="10">
                  <c:v>2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D6E-4D71-92C7-EA3A6797880A}"/>
                </c:ext>
              </c:extLst>
            </c:dLbl>
            <c:dLbl>
              <c:idx val="1"/>
              <c:tx>
                <c:rich>
                  <a:bodyPr/>
                  <a:lstStyle/>
                  <a:p>
                    <a:r>
                      <a:t>36.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D6E-4D71-92C7-EA3A6797880A}"/>
                </c:ext>
              </c:extLst>
            </c:dLbl>
            <c:dLbl>
              <c:idx val="2"/>
              <c:tx>
                <c:rich>
                  <a:bodyPr/>
                  <a:lstStyle/>
                  <a:p>
                    <a:r>
                      <a:t>57.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D6E-4D71-92C7-EA3A6797880A}"/>
                </c:ext>
              </c:extLst>
            </c:dLbl>
            <c:dLbl>
              <c:idx val="3"/>
              <c:tx>
                <c:rich>
                  <a:bodyPr/>
                  <a:lstStyle/>
                  <a:p>
                    <a:r>
                      <a:t>50.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D6E-4D71-92C7-EA3A6797880A}"/>
                </c:ext>
              </c:extLst>
            </c:dLbl>
            <c:dLbl>
              <c:idx val="4"/>
              <c:tx>
                <c:rich>
                  <a:bodyPr/>
                  <a:lstStyle/>
                  <a:p>
                    <a:r>
                      <a:t>40.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D6E-4D71-92C7-EA3A6797880A}"/>
                </c:ext>
              </c:extLst>
            </c:dLbl>
            <c:dLbl>
              <c:idx val="5"/>
              <c:tx>
                <c:rich>
                  <a:bodyPr/>
                  <a:lstStyle/>
                  <a:p>
                    <a:r>
                      <a:t>102.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D6E-4D71-92C7-EA3A6797880A}"/>
                </c:ext>
              </c:extLst>
            </c:dLbl>
            <c:dLbl>
              <c:idx val="6"/>
              <c:tx>
                <c:rich>
                  <a:bodyPr/>
                  <a:lstStyle/>
                  <a:p>
                    <a:r>
                      <a:t>13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D6E-4D71-92C7-EA3A6797880A}"/>
                </c:ext>
              </c:extLst>
            </c:dLbl>
            <c:dLbl>
              <c:idx val="7"/>
              <c:tx>
                <c:rich>
                  <a:bodyPr/>
                  <a:lstStyle/>
                  <a:p>
                    <a:r>
                      <a:t>60.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D6E-4D71-92C7-EA3A6797880A}"/>
                </c:ext>
              </c:extLst>
            </c:dLbl>
            <c:dLbl>
              <c:idx val="8"/>
              <c:tx>
                <c:rich>
                  <a:bodyPr/>
                  <a:lstStyle/>
                  <a:p>
                    <a:r>
                      <a:t>27.5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D6E-4D71-92C7-EA3A6797880A}"/>
                </c:ext>
              </c:extLst>
            </c:dLbl>
            <c:dLbl>
              <c:idx val="9"/>
              <c:tx>
                <c:rich>
                  <a:bodyPr/>
                  <a:lstStyle/>
                  <a:p>
                    <a:r>
                      <a:t>37.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D6E-4D71-92C7-EA3A6797880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RUINART BRUT (NUE) 1CT X 750ML</c:v>
                </c:pt>
                <c:pt idx="3">
                  <c:v>DEUTZ CLASSIC BRUT 1CT X 750ML</c:v>
                </c:pt>
                <c:pt idx="4">
                  <c:v>AYALA BRUT MAJEUR 1CT X 750ML</c:v>
                </c:pt>
                <c:pt idx="5">
                  <c:v>MG DEUTZ CLASSIC 1CT X 1500ML</c:v>
                </c:pt>
                <c:pt idx="6">
                  <c:v>MG RUINART BRUT SECOND SKIN 1CT X 1500ML</c:v>
                </c:pt>
                <c:pt idx="7">
                  <c:v>RUINART BRUT SECOND SKIN 1CT X 750ML</c:v>
                </c:pt>
                <c:pt idx="8">
                  <c:v>1/2 DEUTZ CLASSIC BRUT 1CT X 375ML</c:v>
                </c:pt>
                <c:pt idx="9">
                  <c:v>1/2 RUINART BRUT (NUE) 1CT X 375ML</c:v>
                </c:pt>
              </c:strCache>
            </c:strRef>
          </c:cat>
          <c:val>
            <c:numRef>
              <c:f>Sheet1!$B$2:$B$11</c:f>
              <c:numCache>
                <c:formatCode>General</c:formatCode>
                <c:ptCount val="10"/>
                <c:pt idx="0">
                  <c:v>21.91</c:v>
                </c:pt>
                <c:pt idx="1">
                  <c:v>36.64</c:v>
                </c:pt>
                <c:pt idx="2">
                  <c:v>57.91</c:v>
                </c:pt>
                <c:pt idx="3">
                  <c:v>50.19</c:v>
                </c:pt>
                <c:pt idx="4">
                  <c:v>40.46</c:v>
                </c:pt>
                <c:pt idx="5">
                  <c:v>102.32</c:v>
                </c:pt>
                <c:pt idx="6">
                  <c:v>133.91</c:v>
                </c:pt>
                <c:pt idx="7">
                  <c:v>60.82</c:v>
                </c:pt>
                <c:pt idx="8">
                  <c:v>27.52</c:v>
                </c:pt>
                <c:pt idx="9">
                  <c:v>37.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82D-443E-BB36-D33B45CE72C9}"/>
                </c:ext>
              </c:extLst>
            </c:dLbl>
            <c:dLbl>
              <c:idx val="1"/>
              <c:tx>
                <c:rich>
                  <a:bodyPr/>
                  <a:lstStyle/>
                  <a:p>
                    <a:r>
                      <a:t>57.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82D-443E-BB36-D33B45CE72C9}"/>
                </c:ext>
              </c:extLst>
            </c:dLbl>
            <c:dLbl>
              <c:idx val="2"/>
              <c:tx>
                <c:rich>
                  <a:bodyPr/>
                  <a:lstStyle/>
                  <a:p>
                    <a:r>
                      <a:t>40.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82D-443E-BB36-D33B45CE72C9}"/>
                </c:ext>
              </c:extLst>
            </c:dLbl>
            <c:dLbl>
              <c:idx val="3"/>
              <c:tx>
                <c:rich>
                  <a:bodyPr/>
                  <a:lstStyle/>
                  <a:p>
                    <a:r>
                      <a:t>14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82D-443E-BB36-D33B45CE72C9}"/>
                </c:ext>
              </c:extLst>
            </c:dLbl>
            <c:dLbl>
              <c:idx val="4"/>
              <c:tx>
                <c:rich>
                  <a:bodyPr/>
                  <a:lstStyle/>
                  <a:p>
                    <a:r>
                      <a:t>6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82D-443E-BB36-D33B45CE72C9}"/>
                </c:ext>
              </c:extLst>
            </c:dLbl>
            <c:dLbl>
              <c:idx val="5"/>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82D-443E-BB36-D33B45CE72C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RUINART BRUT (NUE) 1CT X 750ML</c:v>
                </c:pt>
                <c:pt idx="2">
                  <c:v>AYALA BRUT MAJEUR 1CT X 750ML</c:v>
                </c:pt>
                <c:pt idx="3">
                  <c:v>MG RUINART BRUT SECOND SKIN 1CT X 1500ML</c:v>
                </c:pt>
                <c:pt idx="4">
                  <c:v>RUINART BRUT SECOND SKIN 1CT X 750ML</c:v>
                </c:pt>
                <c:pt idx="5">
                  <c:v>1/2 RUINART BRUT (NUE) 1CT X 375ML</c:v>
                </c:pt>
              </c:strCache>
            </c:strRef>
          </c:cat>
          <c:val>
            <c:numRef>
              <c:f>Sheet1!$B$2:$B$7</c:f>
              <c:numCache>
                <c:formatCode>General</c:formatCode>
                <c:ptCount val="6"/>
                <c:pt idx="0">
                  <c:v>21.4</c:v>
                </c:pt>
                <c:pt idx="1">
                  <c:v>57.71</c:v>
                </c:pt>
                <c:pt idx="2">
                  <c:v>40.39</c:v>
                </c:pt>
                <c:pt idx="3">
                  <c:v>141.91</c:v>
                </c:pt>
                <c:pt idx="4">
                  <c:v>61.02</c:v>
                </c:pt>
                <c:pt idx="5">
                  <c:v>36.97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180-4230-8480-F04AE0BB8806}"/>
                </c:ext>
              </c:extLst>
            </c:dLbl>
            <c:dLbl>
              <c:idx val="1"/>
              <c:tx>
                <c:rich>
                  <a:bodyPr/>
                  <a:lstStyle/>
                  <a:p>
                    <a:r>
                      <a:t>36.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180-4230-8480-F04AE0BB8806}"/>
                </c:ext>
              </c:extLst>
            </c:dLbl>
            <c:dLbl>
              <c:idx val="2"/>
              <c:tx>
                <c:rich>
                  <a:bodyPr/>
                  <a:lstStyle/>
                  <a:p>
                    <a:r>
                      <a:t>45.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180-4230-8480-F04AE0BB8806}"/>
                </c:ext>
              </c:extLst>
            </c:dLbl>
            <c:dLbl>
              <c:idx val="3"/>
              <c:tx>
                <c:rich>
                  <a:bodyPr/>
                  <a:lstStyle/>
                  <a:p>
                    <a:r>
                      <a:t>22.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180-4230-8480-F04AE0BB8806}"/>
                </c:ext>
              </c:extLst>
            </c:dLbl>
            <c:dLbl>
              <c:idx val="4"/>
              <c:tx>
                <c:rich>
                  <a:bodyPr/>
                  <a:lstStyle/>
                  <a:p>
                    <a:r>
                      <a:t>45.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180-4230-8480-F04AE0BB8806}"/>
                </c:ext>
              </c:extLst>
            </c:dLbl>
            <c:dLbl>
              <c:idx val="5"/>
              <c:tx>
                <c:rich>
                  <a:bodyPr/>
                  <a:lstStyle/>
                  <a:p>
                    <a:r>
                      <a:t>40.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180-4230-8480-F04AE0BB8806}"/>
                </c:ext>
              </c:extLst>
            </c:dLbl>
            <c:dLbl>
              <c:idx val="6"/>
              <c:tx>
                <c:rich>
                  <a:bodyPr/>
                  <a:lstStyle/>
                  <a:p>
                    <a:r>
                      <a:t>57.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180-4230-8480-F04AE0BB8806}"/>
                </c:ext>
              </c:extLst>
            </c:dLbl>
            <c:dLbl>
              <c:idx val="7"/>
              <c:tx>
                <c:rich>
                  <a:bodyPr/>
                  <a:lstStyle/>
                  <a:p>
                    <a:r>
                      <a:t>6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180-4230-8480-F04AE0BB8806}"/>
                </c:ext>
              </c:extLst>
            </c:dLbl>
            <c:dLbl>
              <c:idx val="8"/>
              <c:tx>
                <c:rich>
                  <a:bodyPr/>
                  <a:lstStyle/>
                  <a:p>
                    <a:r>
                      <a:t>139.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180-4230-8480-F04AE0BB8806}"/>
                </c:ext>
              </c:extLst>
            </c:dLbl>
            <c:dLbl>
              <c:idx val="9"/>
              <c:tx>
                <c:rich>
                  <a:bodyPr/>
                  <a:lstStyle/>
                  <a:p>
                    <a:r>
                      <a:t>35.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180-4230-8480-F04AE0BB8806}"/>
                </c:ext>
              </c:extLst>
            </c:dLbl>
            <c:dLbl>
              <c:idx val="10"/>
              <c:tx>
                <c:rich>
                  <a:bodyPr/>
                  <a:lstStyle/>
                  <a:p>
                    <a:r>
                      <a:t>276.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180-4230-8480-F04AE0BB880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AYALA BRUT MAJEUR 1CT X 750ML</c:v>
                </c:pt>
                <c:pt idx="6">
                  <c:v>RUINART BRUT (NUE) 1CT X 750ML</c:v>
                </c:pt>
                <c:pt idx="7">
                  <c:v>RUINART BRUT SECOND SKIN 1CT X 750ML</c:v>
                </c:pt>
                <c:pt idx="8">
                  <c:v>MG RUINART BRUT SECOND SKIN 1CT X 1500ML</c:v>
                </c:pt>
                <c:pt idx="9">
                  <c:v>1/2 RUINART BRUT (NUE) 1CT X 375ML</c:v>
                </c:pt>
                <c:pt idx="10">
                  <c:v>COF URBAINE RUINART 3 BLLES 3CT X 750ML</c:v>
                </c:pt>
              </c:strCache>
            </c:strRef>
          </c:cat>
          <c:val>
            <c:numRef>
              <c:f>Sheet1!$B$2:$B$12</c:f>
              <c:numCache>
                <c:formatCode>General</c:formatCode>
                <c:ptCount val="11"/>
                <c:pt idx="0">
                  <c:v>21.87</c:v>
                </c:pt>
                <c:pt idx="1">
                  <c:v>36.840000000000003</c:v>
                </c:pt>
                <c:pt idx="2">
                  <c:v>45.39</c:v>
                </c:pt>
                <c:pt idx="3">
                  <c:v>22.31</c:v>
                </c:pt>
                <c:pt idx="4">
                  <c:v>45.04</c:v>
                </c:pt>
                <c:pt idx="5">
                  <c:v>40.49</c:v>
                </c:pt>
                <c:pt idx="6">
                  <c:v>57.87</c:v>
                </c:pt>
                <c:pt idx="7">
                  <c:v>61.89</c:v>
                </c:pt>
                <c:pt idx="8">
                  <c:v>139.36000000000001</c:v>
                </c:pt>
                <c:pt idx="9">
                  <c:v>35.92</c:v>
                </c:pt>
                <c:pt idx="10">
                  <c:v>27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6A2-438F-9403-89BC0F597E86}"/>
                </c:ext>
              </c:extLst>
            </c:dLbl>
            <c:dLbl>
              <c:idx val="1"/>
              <c:tx>
                <c:rich>
                  <a:bodyPr/>
                  <a:lstStyle/>
                  <a:p>
                    <a:r>
                      <a:t>3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6A2-438F-9403-89BC0F597E86}"/>
                </c:ext>
              </c:extLst>
            </c:dLbl>
            <c:dLbl>
              <c:idx val="2"/>
              <c:tx>
                <c:rich>
                  <a:bodyPr/>
                  <a:lstStyle/>
                  <a:p>
                    <a:r>
                      <a:t>2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6A2-438F-9403-89BC0F597E86}"/>
                </c:ext>
              </c:extLst>
            </c:dLbl>
            <c:dLbl>
              <c:idx val="3"/>
              <c:tx>
                <c:rich>
                  <a:bodyPr/>
                  <a:lstStyle/>
                  <a:p>
                    <a:r>
                      <a:t>48.7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6A2-438F-9403-89BC0F597E86}"/>
                </c:ext>
              </c:extLst>
            </c:dLbl>
            <c:dLbl>
              <c:idx val="4"/>
              <c:tx>
                <c:rich>
                  <a:bodyPr/>
                  <a:lstStyle/>
                  <a:p>
                    <a:r>
                      <a:t>46.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6A2-438F-9403-89BC0F597E86}"/>
                </c:ext>
              </c:extLst>
            </c:dLbl>
            <c:dLbl>
              <c:idx val="5"/>
              <c:tx>
                <c:rich>
                  <a:bodyPr/>
                  <a:lstStyle/>
                  <a:p>
                    <a:r>
                      <a:t>58.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6A2-438F-9403-89BC0F597E86}"/>
                </c:ext>
              </c:extLst>
            </c:dLbl>
            <c:dLbl>
              <c:idx val="6"/>
              <c:tx>
                <c:rich>
                  <a:bodyPr/>
                  <a:lstStyle/>
                  <a:p>
                    <a:r>
                      <a:t>40.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6A2-438F-9403-89BC0F597E86}"/>
                </c:ext>
              </c:extLst>
            </c:dLbl>
            <c:dLbl>
              <c:idx val="7"/>
              <c:tx>
                <c:rich>
                  <a:bodyPr/>
                  <a:lstStyle/>
                  <a:p>
                    <a:r>
                      <a:t>61.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6A2-438F-9403-89BC0F597E86}"/>
                </c:ext>
              </c:extLst>
            </c:dLbl>
            <c:dLbl>
              <c:idx val="8"/>
              <c:tx>
                <c:rich>
                  <a:bodyPr/>
                  <a:lstStyle/>
                  <a:p>
                    <a:r>
                      <a:t>141.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6A2-438F-9403-89BC0F597E86}"/>
                </c:ext>
              </c:extLst>
            </c:dLbl>
            <c:dLbl>
              <c:idx val="9"/>
              <c:tx>
                <c:rich>
                  <a:bodyPr/>
                  <a:lstStyle/>
                  <a:p>
                    <a:r>
                      <a:t>3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6A2-438F-9403-89BC0F597E8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1</c:v>
                </c:pt>
                <c:pt idx="1">
                  <c:v>37.6</c:v>
                </c:pt>
                <c:pt idx="2">
                  <c:v>22.41</c:v>
                </c:pt>
                <c:pt idx="3">
                  <c:v>48.77</c:v>
                </c:pt>
                <c:pt idx="4">
                  <c:v>46.69</c:v>
                </c:pt>
                <c:pt idx="5">
                  <c:v>58.06</c:v>
                </c:pt>
                <c:pt idx="6">
                  <c:v>40.479999999999997</c:v>
                </c:pt>
                <c:pt idx="7">
                  <c:v>61.67</c:v>
                </c:pt>
                <c:pt idx="8">
                  <c:v>141.83000000000001</c:v>
                </c:pt>
                <c:pt idx="9">
                  <c:v>35.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F2-4EE5-A28C-69DAC1390D7D}"/>
                </c:ext>
              </c:extLst>
            </c:dLbl>
            <c:dLbl>
              <c:idx val="1"/>
              <c:tx>
                <c:rich>
                  <a:bodyPr/>
                  <a:lstStyle/>
                  <a:p>
                    <a:r>
                      <a:t>36.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8F2-4EE5-A28C-69DAC1390D7D}"/>
                </c:ext>
              </c:extLst>
            </c:dLbl>
            <c:dLbl>
              <c:idx val="2"/>
              <c:tx>
                <c:rich>
                  <a:bodyPr/>
                  <a:lstStyle/>
                  <a:p>
                    <a:r>
                      <a:t>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8F2-4EE5-A28C-69DAC1390D7D}"/>
                </c:ext>
              </c:extLst>
            </c:dLbl>
            <c:dLbl>
              <c:idx val="3"/>
              <c:tx>
                <c:rich>
                  <a:bodyPr/>
                  <a:lstStyle/>
                  <a:p>
                    <a:r>
                      <a:t>22.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F2-4EE5-A28C-69DAC1390D7D}"/>
                </c:ext>
              </c:extLst>
            </c:dLbl>
            <c:dLbl>
              <c:idx val="4"/>
              <c:tx>
                <c:rich>
                  <a:bodyPr/>
                  <a:lstStyle/>
                  <a:p>
                    <a:r>
                      <a:t>46.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8F2-4EE5-A28C-69DAC1390D7D}"/>
                </c:ext>
              </c:extLst>
            </c:dLbl>
            <c:dLbl>
              <c:idx val="5"/>
              <c:tx>
                <c:rich>
                  <a:bodyPr/>
                  <a:lstStyle/>
                  <a:p>
                    <a:r>
                      <a:t>5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8F2-4EE5-A28C-69DAC1390D7D}"/>
                </c:ext>
              </c:extLst>
            </c:dLbl>
            <c:dLbl>
              <c:idx val="6"/>
              <c:tx>
                <c:rich>
                  <a:bodyPr/>
                  <a:lstStyle/>
                  <a:p>
                    <a:r>
                      <a:t>40.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8F2-4EE5-A28C-69DAC1390D7D}"/>
                </c:ext>
              </c:extLst>
            </c:dLbl>
            <c:dLbl>
              <c:idx val="7"/>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8F2-4EE5-A28C-69DAC1390D7D}"/>
                </c:ext>
              </c:extLst>
            </c:dLbl>
            <c:dLbl>
              <c:idx val="8"/>
              <c:tx>
                <c:rich>
                  <a:bodyPr/>
                  <a:lstStyle/>
                  <a:p>
                    <a:r>
                      <a:t>139.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8F2-4EE5-A28C-69DAC1390D7D}"/>
                </c:ext>
              </c:extLst>
            </c:dLbl>
            <c:dLbl>
              <c:idx val="9"/>
              <c:tx>
                <c:rich>
                  <a:bodyPr/>
                  <a:lstStyle/>
                  <a:p>
                    <a:r>
                      <a:t>3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8F2-4EE5-A28C-69DAC1390D7D}"/>
                </c:ext>
              </c:extLst>
            </c:dLbl>
            <c:dLbl>
              <c:idx val="10"/>
              <c:tx>
                <c:rich>
                  <a:bodyPr/>
                  <a:lstStyle/>
                  <a:p>
                    <a:r>
                      <a:t>123.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8F2-4EE5-A28C-69DAC1390D7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pt idx="10">
                  <c:v>RUINART BRUT CAISSE BOIS DUO 2CT X 750ML</c:v>
                </c:pt>
              </c:strCache>
            </c:strRef>
          </c:cat>
          <c:val>
            <c:numRef>
              <c:f>Sheet1!$B$2:$B$12</c:f>
              <c:numCache>
                <c:formatCode>General</c:formatCode>
                <c:ptCount val="11"/>
                <c:pt idx="0">
                  <c:v>21.89</c:v>
                </c:pt>
                <c:pt idx="1">
                  <c:v>36.950000000000003</c:v>
                </c:pt>
                <c:pt idx="2">
                  <c:v>45</c:v>
                </c:pt>
                <c:pt idx="3">
                  <c:v>22.25</c:v>
                </c:pt>
                <c:pt idx="4">
                  <c:v>46.31</c:v>
                </c:pt>
                <c:pt idx="5">
                  <c:v>57.8</c:v>
                </c:pt>
                <c:pt idx="6">
                  <c:v>40.51</c:v>
                </c:pt>
                <c:pt idx="7">
                  <c:v>62.03</c:v>
                </c:pt>
                <c:pt idx="8">
                  <c:v>139.83000000000001</c:v>
                </c:pt>
                <c:pt idx="9">
                  <c:v>35.799999999999997</c:v>
                </c:pt>
                <c:pt idx="10">
                  <c:v>123.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0E4-435A-937E-6A52A11E4DDF}"/>
                </c:ext>
              </c:extLst>
            </c:dLbl>
            <c:dLbl>
              <c:idx val="1"/>
              <c:tx>
                <c:rich>
                  <a:bodyPr/>
                  <a:lstStyle/>
                  <a:p>
                    <a:r>
                      <a:t>36.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0E4-435A-937E-6A52A11E4DDF}"/>
                </c:ext>
              </c:extLst>
            </c:dLbl>
            <c:dLbl>
              <c:idx val="2"/>
              <c:tx>
                <c:rich>
                  <a:bodyPr/>
                  <a:lstStyle/>
                  <a:p>
                    <a:r>
                      <a:t>45.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0E4-435A-937E-6A52A11E4DDF}"/>
                </c:ext>
              </c:extLst>
            </c:dLbl>
            <c:dLbl>
              <c:idx val="3"/>
              <c:tx>
                <c:rich>
                  <a:bodyPr/>
                  <a:lstStyle/>
                  <a:p>
                    <a:r>
                      <a:t>22.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0E4-435A-937E-6A52A11E4DDF}"/>
                </c:ext>
              </c:extLst>
            </c:dLbl>
            <c:dLbl>
              <c:idx val="4"/>
              <c:tx>
                <c:rich>
                  <a:bodyPr/>
                  <a:lstStyle/>
                  <a:p>
                    <a:r>
                      <a:t>46.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0E4-435A-937E-6A52A11E4DDF}"/>
                </c:ext>
              </c:extLst>
            </c:dLbl>
            <c:dLbl>
              <c:idx val="5"/>
              <c:tx>
                <c:rich>
                  <a:bodyPr/>
                  <a:lstStyle/>
                  <a:p>
                    <a:r>
                      <a:t>5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0E4-435A-937E-6A52A11E4DDF}"/>
                </c:ext>
              </c:extLst>
            </c:dLbl>
            <c:dLbl>
              <c:idx val="6"/>
              <c:tx>
                <c:rich>
                  <a:bodyPr/>
                  <a:lstStyle/>
                  <a:p>
                    <a:r>
                      <a:t>4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0E4-435A-937E-6A52A11E4DDF}"/>
                </c:ext>
              </c:extLst>
            </c:dLbl>
            <c:dLbl>
              <c:idx val="7"/>
              <c:tx>
                <c:rich>
                  <a:bodyPr/>
                  <a:lstStyle/>
                  <a:p>
                    <a:r>
                      <a:t>62.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0E4-435A-937E-6A52A11E4DDF}"/>
                </c:ext>
              </c:extLst>
            </c:dLbl>
            <c:dLbl>
              <c:idx val="8"/>
              <c:tx>
                <c:rich>
                  <a:bodyPr/>
                  <a:lstStyle/>
                  <a:p>
                    <a:r>
                      <a:t>139.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0E4-435A-937E-6A52A11E4DDF}"/>
                </c:ext>
              </c:extLst>
            </c:dLbl>
            <c:dLbl>
              <c:idx val="9"/>
              <c:tx>
                <c:rich>
                  <a:bodyPr/>
                  <a:lstStyle/>
                  <a:p>
                    <a:r>
                      <a:t>35.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0E4-435A-937E-6A52A11E4DD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2</c:v>
                </c:pt>
                <c:pt idx="1">
                  <c:v>36.92</c:v>
                </c:pt>
                <c:pt idx="2">
                  <c:v>45.55</c:v>
                </c:pt>
                <c:pt idx="3">
                  <c:v>22.34</c:v>
                </c:pt>
                <c:pt idx="4">
                  <c:v>46.56</c:v>
                </c:pt>
                <c:pt idx="5">
                  <c:v>57.75</c:v>
                </c:pt>
                <c:pt idx="6">
                  <c:v>40.5</c:v>
                </c:pt>
                <c:pt idx="7">
                  <c:v>62.03</c:v>
                </c:pt>
                <c:pt idx="8">
                  <c:v>139.44999999999999</c:v>
                </c:pt>
                <c:pt idx="9">
                  <c:v>35.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A67-4C02-8850-F81EF956471B}"/>
                </c:ext>
              </c:extLst>
            </c:dLbl>
            <c:dLbl>
              <c:idx val="1"/>
              <c:tx>
                <c:rich>
                  <a:bodyPr/>
                  <a:lstStyle/>
                  <a:p>
                    <a:r>
                      <a:t>36.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A67-4C02-8850-F81EF956471B}"/>
                </c:ext>
              </c:extLst>
            </c:dLbl>
            <c:dLbl>
              <c:idx val="2"/>
              <c:tx>
                <c:rich>
                  <a:bodyPr/>
                  <a:lstStyle/>
                  <a:p>
                    <a:r>
                      <a:t>4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A67-4C02-8850-F81EF956471B}"/>
                </c:ext>
              </c:extLst>
            </c:dLbl>
            <c:dLbl>
              <c:idx val="3"/>
              <c:tx>
                <c:rich>
                  <a:bodyPr/>
                  <a:lstStyle/>
                  <a:p>
                    <a:r>
                      <a:t>22.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67-4C02-8850-F81EF956471B}"/>
                </c:ext>
              </c:extLst>
            </c:dLbl>
            <c:dLbl>
              <c:idx val="4"/>
              <c:tx>
                <c:rich>
                  <a:bodyPr/>
                  <a:lstStyle/>
                  <a:p>
                    <a:r>
                      <a:t>46.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67-4C02-8850-F81EF956471B}"/>
                </c:ext>
              </c:extLst>
            </c:dLbl>
            <c:dLbl>
              <c:idx val="5"/>
              <c:tx>
                <c:rich>
                  <a:bodyPr/>
                  <a:lstStyle/>
                  <a:p>
                    <a:r>
                      <a:t>57.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67-4C02-8850-F81EF956471B}"/>
                </c:ext>
              </c:extLst>
            </c:dLbl>
            <c:dLbl>
              <c:idx val="6"/>
              <c:tx>
                <c:rich>
                  <a:bodyPr/>
                  <a:lstStyle/>
                  <a:p>
                    <a:r>
                      <a:t>40.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67-4C02-8850-F81EF956471B}"/>
                </c:ext>
              </c:extLst>
            </c:dLbl>
            <c:dLbl>
              <c:idx val="7"/>
              <c:tx>
                <c:rich>
                  <a:bodyPr/>
                  <a:lstStyle/>
                  <a:p>
                    <a:r>
                      <a:t>61.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A67-4C02-8850-F81EF956471B}"/>
                </c:ext>
              </c:extLst>
            </c:dLbl>
            <c:dLbl>
              <c:idx val="8"/>
              <c:tx>
                <c:rich>
                  <a:bodyPr/>
                  <a:lstStyle/>
                  <a:p>
                    <a:r>
                      <a:t>13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A67-4C02-8850-F81EF956471B}"/>
                </c:ext>
              </c:extLst>
            </c:dLbl>
            <c:dLbl>
              <c:idx val="9"/>
              <c:tx>
                <c:rich>
                  <a:bodyPr/>
                  <a:lstStyle/>
                  <a:p>
                    <a:r>
                      <a:t>3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A67-4C02-8850-F81EF956471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RUINART BRUT (NUE) 1CT X 750ML</c:v>
                </c:pt>
                <c:pt idx="6">
                  <c:v>AYALA BRUT MAJEUR 1CT X 750ML</c:v>
                </c:pt>
                <c:pt idx="7">
                  <c:v>RUINART BRUT SECOND SKIN 1CT X 750ML</c:v>
                </c:pt>
                <c:pt idx="8">
                  <c:v>MG RUINART BRUT SECOND SKIN 1CT X 1500ML</c:v>
                </c:pt>
                <c:pt idx="9">
                  <c:v>1/2 RUINART BRUT (NUE) 1CT X 375ML</c:v>
                </c:pt>
              </c:strCache>
            </c:strRef>
          </c:cat>
          <c:val>
            <c:numRef>
              <c:f>Sheet1!$B$2:$B$11</c:f>
              <c:numCache>
                <c:formatCode>General</c:formatCode>
                <c:ptCount val="10"/>
                <c:pt idx="0">
                  <c:v>21.93</c:v>
                </c:pt>
                <c:pt idx="1">
                  <c:v>36.979999999999997</c:v>
                </c:pt>
                <c:pt idx="2">
                  <c:v>45.8</c:v>
                </c:pt>
                <c:pt idx="3">
                  <c:v>22.31</c:v>
                </c:pt>
                <c:pt idx="4">
                  <c:v>46.69</c:v>
                </c:pt>
                <c:pt idx="5">
                  <c:v>57.84</c:v>
                </c:pt>
                <c:pt idx="6">
                  <c:v>40.479999999999997</c:v>
                </c:pt>
                <c:pt idx="7">
                  <c:v>61.47</c:v>
                </c:pt>
                <c:pt idx="8">
                  <c:v>137.4</c:v>
                </c:pt>
                <c:pt idx="9">
                  <c:v>3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E78-4F38-9244-D7A7B9D2FFA2}"/>
                </c:ext>
              </c:extLst>
            </c:dLbl>
            <c:dLbl>
              <c:idx val="1"/>
              <c:tx>
                <c:rich>
                  <a:bodyPr/>
                  <a:lstStyle/>
                  <a:p>
                    <a:r>
                      <a:t>35.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E78-4F38-9244-D7A7B9D2FFA2}"/>
                </c:ext>
              </c:extLst>
            </c:dLbl>
            <c:dLbl>
              <c:idx val="2"/>
              <c:tx>
                <c:rich>
                  <a:bodyPr/>
                  <a:lstStyle/>
                  <a:p>
                    <a:r>
                      <a:t>31.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E78-4F38-9244-D7A7B9D2FFA2}"/>
                </c:ext>
              </c:extLst>
            </c:dLbl>
            <c:dLbl>
              <c:idx val="3"/>
              <c:tx>
                <c:rich>
                  <a:bodyPr/>
                  <a:lstStyle/>
                  <a:p>
                    <a:r>
                      <a:t>32.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E78-4F38-9244-D7A7B9D2FFA2}"/>
                </c:ext>
              </c:extLst>
            </c:dLbl>
            <c:dLbl>
              <c:idx val="4"/>
              <c:tx>
                <c:rich>
                  <a:bodyPr/>
                  <a:lstStyle/>
                  <a:p>
                    <a:r>
                      <a:t>33.3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E78-4F38-9244-D7A7B9D2FFA2}"/>
                </c:ext>
              </c:extLst>
            </c:dLbl>
            <c:dLbl>
              <c:idx val="5"/>
              <c:tx>
                <c:rich>
                  <a:bodyPr/>
                  <a:lstStyle/>
                  <a:p>
                    <a:r>
                      <a:t>3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E78-4F38-9244-D7A7B9D2FFA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8.03</c:v>
                </c:pt>
                <c:pt idx="1">
                  <c:v>35.979999999999997</c:v>
                </c:pt>
                <c:pt idx="2">
                  <c:v>31.99</c:v>
                </c:pt>
                <c:pt idx="3">
                  <c:v>32.979999999999997</c:v>
                </c:pt>
                <c:pt idx="4">
                  <c:v>33.32</c:v>
                </c:pt>
                <c:pt idx="5">
                  <c:v>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88-4CA8-BD66-7B970ABF9655}"/>
                </c:ext>
              </c:extLst>
            </c:dLbl>
            <c:dLbl>
              <c:idx val="1"/>
              <c:tx>
                <c:rich>
                  <a:bodyPr/>
                  <a:lstStyle/>
                  <a:p>
                    <a:r>
                      <a:t>3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88-4CA8-BD66-7B970ABF9655}"/>
                </c:ext>
              </c:extLst>
            </c:dLbl>
            <c:dLbl>
              <c:idx val="2"/>
              <c:tx>
                <c:rich>
                  <a:bodyPr/>
                  <a:lstStyle/>
                  <a:p>
                    <a:r>
                      <a:t>33.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88-4CA8-BD66-7B970ABF9655}"/>
                </c:ext>
              </c:extLst>
            </c:dLbl>
            <c:dLbl>
              <c:idx val="3"/>
              <c:tx>
                <c:rich>
                  <a:bodyPr/>
                  <a:lstStyle/>
                  <a:p>
                    <a:r>
                      <a:t>33.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88-4CA8-BD66-7B970ABF965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8.92</c:v>
                </c:pt>
                <c:pt idx="1">
                  <c:v>32</c:v>
                </c:pt>
                <c:pt idx="2">
                  <c:v>33.11</c:v>
                </c:pt>
                <c:pt idx="3">
                  <c:v>33.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438-4504-B831-C375D51DC67A}"/>
                </c:ext>
              </c:extLst>
            </c:dLbl>
            <c:dLbl>
              <c:idx val="1"/>
              <c:tx>
                <c:rich>
                  <a:bodyPr/>
                  <a:lstStyle/>
                  <a:p>
                    <a:r>
                      <a:rPr lang="en-CH"/>
                      <a:t>24.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438-4504-B831-C375D51DC67A}"/>
                </c:ext>
              </c:extLst>
            </c:dLbl>
            <c:dLbl>
              <c:idx val="2"/>
              <c:tx>
                <c:rich>
                  <a:bodyPr/>
                  <a:lstStyle/>
                  <a:p>
                    <a:r>
                      <a:rPr lang="en-CH"/>
                      <a:t>38.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438-4504-B831-C375D51DC67A}"/>
                </c:ext>
              </c:extLst>
            </c:dLbl>
            <c:dLbl>
              <c:idx val="3"/>
              <c:tx>
                <c:rich>
                  <a:bodyPr/>
                  <a:lstStyle/>
                  <a:p>
                    <a:r>
                      <a:rPr lang="en-CH"/>
                      <a:t>3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438-4504-B831-C375D51DC67A}"/>
                </c:ext>
              </c:extLst>
            </c:dLbl>
            <c:dLbl>
              <c:idx val="4"/>
              <c:tx>
                <c:rich>
                  <a:bodyPr/>
                  <a:lstStyle/>
                  <a:p>
                    <a:r>
                      <a:rPr lang="en-CH"/>
                      <a:t>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438-4504-B831-C375D51DC67A}"/>
                </c:ext>
              </c:extLst>
            </c:dLbl>
            <c:dLbl>
              <c:idx val="5"/>
              <c:tx>
                <c:rich>
                  <a:bodyPr/>
                  <a:lstStyle/>
                  <a:p>
                    <a:r>
                      <a:rPr lang="en-CH"/>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438-4504-B831-C375D51DC67A}"/>
                </c:ext>
              </c:extLst>
            </c:dLbl>
            <c:dLbl>
              <c:idx val="6"/>
              <c:tx>
                <c:rich>
                  <a:bodyPr/>
                  <a:lstStyle/>
                  <a:p>
                    <a:r>
                      <a:rPr lang="en-CH"/>
                      <a:t>4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438-4504-B831-C375D51DC67A}"/>
                </c:ext>
              </c:extLst>
            </c:dLbl>
            <c:dLbl>
              <c:idx val="7"/>
              <c:tx>
                <c:rich>
                  <a:bodyPr/>
                  <a:lstStyle/>
                  <a:p>
                    <a:r>
                      <a:rPr lang="en-CH"/>
                      <a:t>23.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438-4504-B831-C375D51DC67A}"/>
                </c:ext>
              </c:extLst>
            </c:dLbl>
            <c:dLbl>
              <c:idx val="8"/>
              <c:tx>
                <c:rich>
                  <a:bodyPr/>
                  <a:lstStyle/>
                  <a:p>
                    <a:r>
                      <a:rPr lang="en-CH"/>
                      <a:t>2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438-4504-B831-C375D51DC67A}"/>
                </c:ext>
              </c:extLst>
            </c:dLbl>
            <c:dLbl>
              <c:idx val="9"/>
              <c:tx>
                <c:rich>
                  <a:bodyPr/>
                  <a:lstStyle/>
                  <a:p>
                    <a:r>
                      <a:rPr lang="en-CH"/>
                      <a:t>2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438-4504-B831-C375D51DC67A}"/>
                </c:ext>
              </c:extLst>
            </c:dLbl>
            <c:dLbl>
              <c:idx val="10"/>
              <c:tx>
                <c:rich>
                  <a:bodyPr/>
                  <a:lstStyle/>
                  <a:p>
                    <a:r>
                      <a:rPr lang="en-CH"/>
                      <a:t>4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438-4504-B831-C375D51DC67A}"/>
                </c:ext>
              </c:extLst>
            </c:dLbl>
            <c:dLbl>
              <c:idx val="11"/>
              <c:tx>
                <c:rich>
                  <a:bodyPr/>
                  <a:lstStyle/>
                  <a:p>
                    <a:r>
                      <a:rPr lang="en-CH"/>
                      <a:t>7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438-4504-B831-C375D51DC67A}"/>
                </c:ext>
              </c:extLst>
            </c:dLbl>
            <c:dLbl>
              <c:idx val="12"/>
              <c:tx>
                <c:rich>
                  <a:bodyPr/>
                  <a:lstStyle/>
                  <a:p>
                    <a:r>
                      <a:rPr lang="en-CH"/>
                      <a:t>3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438-4504-B831-C375D51DC67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strCache>
            </c:strRef>
          </c:cat>
          <c:val>
            <c:numRef>
              <c:f>Sheet1!$B$2:$B$14</c:f>
              <c:numCache>
                <c:formatCode>General</c:formatCode>
                <c:ptCount val="13"/>
                <c:pt idx="0">
                  <c:v>21.38</c:v>
                </c:pt>
                <c:pt idx="1">
                  <c:v>24.74</c:v>
                </c:pt>
                <c:pt idx="2">
                  <c:v>38.79</c:v>
                </c:pt>
                <c:pt idx="3">
                  <c:v>38.119999999999997</c:v>
                </c:pt>
                <c:pt idx="4">
                  <c:v>46.7</c:v>
                </c:pt>
                <c:pt idx="5">
                  <c:v>37.1</c:v>
                </c:pt>
                <c:pt idx="6">
                  <c:v>42.08</c:v>
                </c:pt>
                <c:pt idx="7">
                  <c:v>23.55</c:v>
                </c:pt>
                <c:pt idx="8">
                  <c:v>23.64</c:v>
                </c:pt>
                <c:pt idx="9">
                  <c:v>20.52</c:v>
                </c:pt>
                <c:pt idx="10">
                  <c:v>43.31</c:v>
                </c:pt>
                <c:pt idx="11">
                  <c:v>74.78</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194-4E7F-BC03-B53562A61096}"/>
                </c:ext>
              </c:extLst>
            </c:dLbl>
            <c:dLbl>
              <c:idx val="1"/>
              <c:tx>
                <c:rich>
                  <a:bodyPr/>
                  <a:lstStyle/>
                  <a:p>
                    <a:r>
                      <a:t>31.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194-4E7F-BC03-B53562A61096}"/>
                </c:ext>
              </c:extLst>
            </c:dLbl>
            <c:dLbl>
              <c:idx val="2"/>
              <c:tx>
                <c:rich>
                  <a:bodyPr/>
                  <a:lstStyle/>
                  <a:p>
                    <a:r>
                      <a:t>33.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194-4E7F-BC03-B53562A61096}"/>
                </c:ext>
              </c:extLst>
            </c:dLbl>
            <c:dLbl>
              <c:idx val="3"/>
              <c:tx>
                <c:rich>
                  <a:bodyPr/>
                  <a:lstStyle/>
                  <a:p>
                    <a:r>
                      <a:t>33.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194-4E7F-BC03-B53562A6109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9.96</c:v>
                </c:pt>
                <c:pt idx="1">
                  <c:v>31.89</c:v>
                </c:pt>
                <c:pt idx="2">
                  <c:v>33.14</c:v>
                </c:pt>
                <c:pt idx="3">
                  <c:v>33.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A15-499D-AA83-3A4AFCE78C98}"/>
                </c:ext>
              </c:extLst>
            </c:dLbl>
            <c:dLbl>
              <c:idx val="1"/>
              <c:tx>
                <c:rich>
                  <a:bodyPr/>
                  <a:lstStyle/>
                  <a:p>
                    <a:r>
                      <a:t>38.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A15-499D-AA83-3A4AFCE78C98}"/>
                </c:ext>
              </c:extLst>
            </c:dLbl>
            <c:dLbl>
              <c:idx val="2"/>
              <c:tx>
                <c:rich>
                  <a:bodyPr/>
                  <a:lstStyle/>
                  <a:p>
                    <a:r>
                      <a:t>31.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A15-499D-AA83-3A4AFCE78C98}"/>
                </c:ext>
              </c:extLst>
            </c:dLbl>
            <c:dLbl>
              <c:idx val="3"/>
              <c:tx>
                <c:rich>
                  <a:bodyPr/>
                  <a:lstStyle/>
                  <a:p>
                    <a:r>
                      <a:t>32.9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A15-499D-AA83-3A4AFCE78C98}"/>
                </c:ext>
              </c:extLst>
            </c:dLbl>
            <c:dLbl>
              <c:idx val="4"/>
              <c:tx>
                <c:rich>
                  <a:bodyPr/>
                  <a:lstStyle/>
                  <a:p>
                    <a:r>
                      <a:t>33.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A15-499D-AA83-3A4AFCE78C98}"/>
                </c:ext>
              </c:extLst>
            </c:dLbl>
            <c:dLbl>
              <c:idx val="5"/>
              <c:tx>
                <c:rich>
                  <a:bodyPr/>
                  <a:lstStyle/>
                  <a:p>
                    <a:r>
                      <a:t>3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A15-499D-AA83-3A4AFCE78C9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pt idx="5">
                  <c:v>LOUIS MARTIN BRUT GRAND CRU 1CT X 750ML</c:v>
                </c:pt>
              </c:strCache>
            </c:strRef>
          </c:cat>
          <c:val>
            <c:numRef>
              <c:f>Sheet1!$B$2:$B$7</c:f>
              <c:numCache>
                <c:formatCode>General</c:formatCode>
                <c:ptCount val="6"/>
                <c:pt idx="0">
                  <c:v>36.11</c:v>
                </c:pt>
                <c:pt idx="1">
                  <c:v>38.11</c:v>
                </c:pt>
                <c:pt idx="2">
                  <c:v>31.98</c:v>
                </c:pt>
                <c:pt idx="3">
                  <c:v>32.93</c:v>
                </c:pt>
                <c:pt idx="4">
                  <c:v>33.19</c:v>
                </c:pt>
                <c:pt idx="5">
                  <c:v>32.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CB7-4C93-AA20-A51E478E08AC}"/>
                </c:ext>
              </c:extLst>
            </c:dLbl>
            <c:dLbl>
              <c:idx val="1"/>
              <c:tx>
                <c:rich>
                  <a:bodyPr/>
                  <a:lstStyle/>
                  <a:p>
                    <a:r>
                      <a:t>39.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CB7-4C93-AA20-A51E478E08AC}"/>
                </c:ext>
              </c:extLst>
            </c:dLbl>
            <c:dLbl>
              <c:idx val="2"/>
              <c:tx>
                <c:rich>
                  <a:bodyPr/>
                  <a:lstStyle/>
                  <a:p>
                    <a:r>
                      <a:t>32.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CB7-4C93-AA20-A51E478E08AC}"/>
                </c:ext>
              </c:extLst>
            </c:dLbl>
            <c:dLbl>
              <c:idx val="3"/>
              <c:tx>
                <c:rich>
                  <a:bodyPr/>
                  <a:lstStyle/>
                  <a:p>
                    <a:r>
                      <a:t>32.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CB7-4C93-AA20-A51E478E08AC}"/>
                </c:ext>
              </c:extLst>
            </c:dLbl>
            <c:dLbl>
              <c:idx val="4"/>
              <c:tx>
                <c:rich>
                  <a:bodyPr/>
                  <a:lstStyle/>
                  <a:p>
                    <a:r>
                      <a:t>33.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CB7-4C93-AA20-A51E478E08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CHAMPAGNE NICOLAS 1ER CRU ETUI 1CT X 750ML</c:v>
                </c:pt>
                <c:pt idx="2">
                  <c:v>MALARD PREMIER CRU BRUT 1CT X 750ML</c:v>
                </c:pt>
                <c:pt idx="3">
                  <c:v>GEORGES VESSELLE GRD CRU BRUT 1CT X 750ML</c:v>
                </c:pt>
                <c:pt idx="4">
                  <c:v>LOUIS MARTIN BRUT PREMIER CRU 1CT X 750ML</c:v>
                </c:pt>
              </c:strCache>
            </c:strRef>
          </c:cat>
          <c:val>
            <c:numRef>
              <c:f>Sheet1!$B$2:$B$6</c:f>
              <c:numCache>
                <c:formatCode>General</c:formatCode>
                <c:ptCount val="5"/>
                <c:pt idx="0">
                  <c:v>35.53</c:v>
                </c:pt>
                <c:pt idx="1">
                  <c:v>39.35</c:v>
                </c:pt>
                <c:pt idx="2">
                  <c:v>32.04</c:v>
                </c:pt>
                <c:pt idx="3">
                  <c:v>32.89</c:v>
                </c:pt>
                <c:pt idx="4">
                  <c:v>33.3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CC7-4E43-93CD-5DF5B252BF21}"/>
                </c:ext>
              </c:extLst>
            </c:dLbl>
            <c:dLbl>
              <c:idx val="1"/>
              <c:tx>
                <c:rich>
                  <a:bodyPr/>
                  <a:lstStyle/>
                  <a:p>
                    <a:r>
                      <a:t>31.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CC7-4E43-93CD-5DF5B252BF21}"/>
                </c:ext>
              </c:extLst>
            </c:dLbl>
            <c:dLbl>
              <c:idx val="2"/>
              <c:tx>
                <c:rich>
                  <a:bodyPr/>
                  <a:lstStyle/>
                  <a:p>
                    <a:r>
                      <a:t>33.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CC7-4E43-93CD-5DF5B252BF21}"/>
                </c:ext>
              </c:extLst>
            </c:dLbl>
            <c:dLbl>
              <c:idx val="3"/>
              <c:tx>
                <c:rich>
                  <a:bodyPr/>
                  <a:lstStyle/>
                  <a:p>
                    <a:r>
                      <a:t>33.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CC7-4E43-93CD-5DF5B252BF2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NICOLAS 1ER CRU BS 1CT X 750ML</c:v>
                </c:pt>
                <c:pt idx="1">
                  <c:v>MALARD PREMIER CRU BRUT 1CT X 750ML</c:v>
                </c:pt>
                <c:pt idx="2">
                  <c:v>GEORGES VESSELLE GRD CRU BRUT 1CT X 750ML</c:v>
                </c:pt>
                <c:pt idx="3">
                  <c:v>LOUIS MARTIN BRUT PREMIER CRU 1CT X 750ML</c:v>
                </c:pt>
              </c:strCache>
            </c:strRef>
          </c:cat>
          <c:val>
            <c:numRef>
              <c:f>Sheet1!$B$2:$B$5</c:f>
              <c:numCache>
                <c:formatCode>General</c:formatCode>
                <c:ptCount val="4"/>
                <c:pt idx="0">
                  <c:v>37.69</c:v>
                </c:pt>
                <c:pt idx="1">
                  <c:v>31.87</c:v>
                </c:pt>
                <c:pt idx="2">
                  <c:v>33.06</c:v>
                </c:pt>
                <c:pt idx="3">
                  <c:v>33.47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1F-4E98-90D2-A05063081FD0}"/>
                </c:ext>
              </c:extLst>
            </c:dLbl>
            <c:dLbl>
              <c:idx val="1"/>
              <c:tx>
                <c:rich>
                  <a:bodyPr/>
                  <a:lstStyle/>
                  <a:p>
                    <a:r>
                      <a:t>32.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1F-4E98-90D2-A05063081FD0}"/>
                </c:ext>
              </c:extLst>
            </c:dLbl>
            <c:dLbl>
              <c:idx val="2"/>
              <c:tx>
                <c:rich>
                  <a:bodyPr/>
                  <a:lstStyle/>
                  <a:p>
                    <a:r>
                      <a:t>3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1F-4E98-90D2-A05063081FD0}"/>
                </c:ext>
              </c:extLst>
            </c:dLbl>
            <c:dLbl>
              <c:idx val="3"/>
              <c:tx>
                <c:rich>
                  <a:bodyPr/>
                  <a:lstStyle/>
                  <a:p>
                    <a:r>
                      <a:t>32.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E1F-4E98-90D2-A05063081FD0}"/>
                </c:ext>
              </c:extLst>
            </c:dLbl>
            <c:dLbl>
              <c:idx val="4"/>
              <c:tx>
                <c:rich>
                  <a:bodyPr/>
                  <a:lstStyle/>
                  <a:p>
                    <a:r>
                      <a:t>38.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E1F-4E98-90D2-A05063081FD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NICOLAS 1ER CRU BS 1CT X 750ML</c:v>
                </c:pt>
                <c:pt idx="1">
                  <c:v>MALARD PREMIER CRU BRUT 1CT X 750ML</c:v>
                </c:pt>
                <c:pt idx="2">
                  <c:v>GEORGES VESSELLE GRD CRU BRUT 1CT X 750ML</c:v>
                </c:pt>
                <c:pt idx="3">
                  <c:v>LOUIS MARTIN BRUT PREMIER CRU 1CT X 750ML</c:v>
                </c:pt>
                <c:pt idx="4">
                  <c:v>LOUIS MARTIN BRUT GRAND CRU 1CT X 750ML</c:v>
                </c:pt>
              </c:strCache>
            </c:strRef>
          </c:cat>
          <c:val>
            <c:numRef>
              <c:f>Sheet1!$B$2:$B$6</c:f>
              <c:numCache>
                <c:formatCode>General</c:formatCode>
                <c:ptCount val="5"/>
                <c:pt idx="0">
                  <c:v>35.979999999999997</c:v>
                </c:pt>
                <c:pt idx="1">
                  <c:v>32.049999999999997</c:v>
                </c:pt>
                <c:pt idx="2">
                  <c:v>32.880000000000003</c:v>
                </c:pt>
                <c:pt idx="3">
                  <c:v>32.909999999999997</c:v>
                </c:pt>
                <c:pt idx="4">
                  <c:v>3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6D3-4D69-A7B7-BDCC31D5981C}"/>
                </c:ext>
              </c:extLst>
            </c:dLbl>
            <c:dLbl>
              <c:idx val="1"/>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6D3-4D69-A7B7-BDCC31D5981C}"/>
                </c:ext>
              </c:extLst>
            </c:dLbl>
            <c:dLbl>
              <c:idx val="2"/>
              <c:tx>
                <c:rich>
                  <a:bodyPr/>
                  <a:lstStyle/>
                  <a:p>
                    <a:r>
                      <a:t>24.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6D3-4D69-A7B7-BDCC31D5981C}"/>
                </c:ext>
              </c:extLst>
            </c:dLbl>
            <c:dLbl>
              <c:idx val="3"/>
              <c:tx>
                <c:rich>
                  <a:bodyPr/>
                  <a:lstStyle/>
                  <a:p>
                    <a:r>
                      <a:t>4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6D3-4D69-A7B7-BDCC31D5981C}"/>
                </c:ext>
              </c:extLst>
            </c:dLbl>
            <c:dLbl>
              <c:idx val="4"/>
              <c:tx>
                <c:rich>
                  <a:bodyPr/>
                  <a:lstStyle/>
                  <a:p>
                    <a:r>
                      <a:t>41.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6D3-4D69-A7B7-BDCC31D5981C}"/>
                </c:ext>
              </c:extLst>
            </c:dLbl>
            <c:dLbl>
              <c:idx val="5"/>
              <c:tx>
                <c:rich>
                  <a:bodyPr/>
                  <a:lstStyle/>
                  <a:p>
                    <a:r>
                      <a:t>90.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6D3-4D69-A7B7-BDCC31D5981C}"/>
                </c:ext>
              </c:extLst>
            </c:dLbl>
            <c:dLbl>
              <c:idx val="6"/>
              <c:tx>
                <c:rich>
                  <a:bodyPr/>
                  <a:lstStyle/>
                  <a:p>
                    <a:r>
                      <a:t>6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6D3-4D69-A7B7-BDCC31D5981C}"/>
                </c:ext>
              </c:extLst>
            </c:dLbl>
            <c:dLbl>
              <c:idx val="7"/>
              <c:tx>
                <c:rich>
                  <a:bodyPr/>
                  <a:lstStyle/>
                  <a:p>
                    <a:r>
                      <a:t>95.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6D3-4D69-A7B7-BDCC31D5981C}"/>
                </c:ext>
              </c:extLst>
            </c:dLbl>
            <c:dLbl>
              <c:idx val="8"/>
              <c:tx>
                <c:rich>
                  <a:bodyPr/>
                  <a:lstStyle/>
                  <a:p>
                    <a:r>
                      <a:t>22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6D3-4D69-A7B7-BDCC31D5981C}"/>
                </c:ext>
              </c:extLst>
            </c:dLbl>
            <c:dLbl>
              <c:idx val="9"/>
              <c:tx>
                <c:rich>
                  <a:bodyPr/>
                  <a:lstStyle/>
                  <a:p>
                    <a:r>
                      <a:t>54.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6D3-4D69-A7B7-BDCC31D5981C}"/>
                </c:ext>
              </c:extLst>
            </c:dLbl>
            <c:dLbl>
              <c:idx val="10"/>
              <c:tx>
                <c:rich>
                  <a:bodyPr/>
                  <a:lstStyle/>
                  <a:p>
                    <a:r>
                      <a:t>35.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6D3-4D69-A7B7-BDCC31D5981C}"/>
                </c:ext>
              </c:extLst>
            </c:dLbl>
            <c:dLbl>
              <c:idx val="11"/>
              <c:tx>
                <c:rich>
                  <a:bodyPr/>
                  <a:lstStyle/>
                  <a:p>
                    <a:r>
                      <a:t>224.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6D3-4D69-A7B7-BDCC31D5981C}"/>
                </c:ext>
              </c:extLst>
            </c:dLbl>
            <c:dLbl>
              <c:idx val="12"/>
              <c:tx>
                <c:rich>
                  <a:bodyPr/>
                  <a:lstStyle/>
                  <a:p>
                    <a:r>
                      <a:t>236.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6D3-4D69-A7B7-BDCC31D5981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DEUTZ ROSE 1CT X 750ML</c:v>
                </c:pt>
                <c:pt idx="7">
                  <c:v>RUINART ROSE SECOND SKIN 1CT X 750ML</c:v>
                </c:pt>
                <c:pt idx="8">
                  <c:v>MG RUINART ROSE SECOND SKIN 1CT X 1500ML</c:v>
                </c:pt>
                <c:pt idx="9">
                  <c:v>1/2 RUINART ROSE (NUE) 1CT X 375ML</c:v>
                </c:pt>
                <c:pt idx="10">
                  <c:v>1/2 DEUTZ ROSE 1CT X 375ML</c:v>
                </c:pt>
                <c:pt idx="11">
                  <c:v>DEUTZ "AMOUR DEUTZ" ROSE 2009 1CT X 750ML</c:v>
                </c:pt>
                <c:pt idx="12">
                  <c:v>MG RUINART ROSE 1CT X 1500ML</c:v>
                </c:pt>
              </c:strCache>
            </c:strRef>
          </c:cat>
          <c:val>
            <c:numRef>
              <c:f>Sheet1!$B$2:$B$14</c:f>
              <c:numCache>
                <c:formatCode>General</c:formatCode>
                <c:ptCount val="13"/>
                <c:pt idx="0">
                  <c:v>24.99</c:v>
                </c:pt>
                <c:pt idx="1">
                  <c:v>41.37</c:v>
                </c:pt>
                <c:pt idx="2">
                  <c:v>24.03</c:v>
                </c:pt>
                <c:pt idx="3">
                  <c:v>42.42</c:v>
                </c:pt>
                <c:pt idx="4">
                  <c:v>41.46</c:v>
                </c:pt>
                <c:pt idx="5">
                  <c:v>90.54</c:v>
                </c:pt>
                <c:pt idx="6">
                  <c:v>62.42</c:v>
                </c:pt>
                <c:pt idx="7">
                  <c:v>95.96</c:v>
                </c:pt>
                <c:pt idx="8">
                  <c:v>220.8</c:v>
                </c:pt>
                <c:pt idx="9">
                  <c:v>54.41</c:v>
                </c:pt>
                <c:pt idx="10">
                  <c:v>35.07</c:v>
                </c:pt>
                <c:pt idx="11">
                  <c:v>224.25</c:v>
                </c:pt>
                <c:pt idx="12">
                  <c:v>236.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11-40D2-B57E-B39A2E7B3160}"/>
                </c:ext>
              </c:extLst>
            </c:dLbl>
            <c:dLbl>
              <c:idx val="1"/>
              <c:tx>
                <c:rich>
                  <a:bodyPr/>
                  <a:lstStyle/>
                  <a:p>
                    <a:r>
                      <a:t>41.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011-40D2-B57E-B39A2E7B3160}"/>
                </c:ext>
              </c:extLst>
            </c:dLbl>
            <c:dLbl>
              <c:idx val="2"/>
              <c:tx>
                <c:rich>
                  <a:bodyPr/>
                  <a:lstStyle/>
                  <a:p>
                    <a:r>
                      <a:t>24.0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011-40D2-B57E-B39A2E7B3160}"/>
                </c:ext>
              </c:extLst>
            </c:dLbl>
            <c:dLbl>
              <c:idx val="3"/>
              <c:tx>
                <c:rich>
                  <a:bodyPr/>
                  <a:lstStyle/>
                  <a:p>
                    <a:r>
                      <a:t>43.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011-40D2-B57E-B39A2E7B3160}"/>
                </c:ext>
              </c:extLst>
            </c:dLbl>
            <c:dLbl>
              <c:idx val="4"/>
              <c:tx>
                <c:rich>
                  <a:bodyPr/>
                  <a:lstStyle/>
                  <a:p>
                    <a:r>
                      <a:t>41.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011-40D2-B57E-B39A2E7B3160}"/>
                </c:ext>
              </c:extLst>
            </c:dLbl>
            <c:dLbl>
              <c:idx val="5"/>
              <c:tx>
                <c:rich>
                  <a:bodyPr/>
                  <a:lstStyle/>
                  <a:p>
                    <a:r>
                      <a:t>9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011-40D2-B57E-B39A2E7B3160}"/>
                </c:ext>
              </c:extLst>
            </c:dLbl>
            <c:dLbl>
              <c:idx val="6"/>
              <c:tx>
                <c:rich>
                  <a:bodyPr/>
                  <a:lstStyle/>
                  <a:p>
                    <a:r>
                      <a:t>62.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011-40D2-B57E-B39A2E7B3160}"/>
                </c:ext>
              </c:extLst>
            </c:dLbl>
            <c:dLbl>
              <c:idx val="7"/>
              <c:tx>
                <c:rich>
                  <a:bodyPr/>
                  <a:lstStyle/>
                  <a:p>
                    <a:r>
                      <a:t>95.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011-40D2-B57E-B39A2E7B3160}"/>
                </c:ext>
              </c:extLst>
            </c:dLbl>
            <c:dLbl>
              <c:idx val="8"/>
              <c:tx>
                <c:rich>
                  <a:bodyPr/>
                  <a:lstStyle/>
                  <a:p>
                    <a:r>
                      <a:t>34.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011-40D2-B57E-B39A2E7B3160}"/>
                </c:ext>
              </c:extLst>
            </c:dLbl>
            <c:dLbl>
              <c:idx val="9"/>
              <c:tx>
                <c:rich>
                  <a:bodyPr/>
                  <a:lstStyle/>
                  <a:p>
                    <a:r>
                      <a:t>5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011-40D2-B57E-B39A2E7B3160}"/>
                </c:ext>
              </c:extLst>
            </c:dLbl>
            <c:dLbl>
              <c:idx val="10"/>
              <c:tx>
                <c:rich>
                  <a:bodyPr/>
                  <a:lstStyle/>
                  <a:p>
                    <a:r>
                      <a:t>21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011-40D2-B57E-B39A2E7B3160}"/>
                </c:ext>
              </c:extLst>
            </c:dLbl>
            <c:dLbl>
              <c:idx val="11"/>
              <c:tx>
                <c:rich>
                  <a:bodyPr/>
                  <a:lstStyle/>
                  <a:p>
                    <a:r>
                      <a:t>22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011-40D2-B57E-B39A2E7B316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DEUTZ ROSE 1CT X 750ML</c:v>
                </c:pt>
                <c:pt idx="7">
                  <c:v>RUINART ROSE SECOND SKIN 1CT X 750ML</c:v>
                </c:pt>
                <c:pt idx="8">
                  <c:v>1/2 DEUTZ ROSE 1CT X 375ML</c:v>
                </c:pt>
                <c:pt idx="9">
                  <c:v>1/2 RUINART ROSE (NUE) 1CT X 375ML</c:v>
                </c:pt>
                <c:pt idx="10">
                  <c:v>MG RUINART ROSE SECOND SKIN 1CT X 1500ML</c:v>
                </c:pt>
                <c:pt idx="11">
                  <c:v>MG RUINART ROSE 1CT X 1500ML</c:v>
                </c:pt>
              </c:strCache>
            </c:strRef>
          </c:cat>
          <c:val>
            <c:numRef>
              <c:f>Sheet1!$B$2:$B$13</c:f>
              <c:numCache>
                <c:formatCode>General</c:formatCode>
                <c:ptCount val="12"/>
                <c:pt idx="0">
                  <c:v>25.02</c:v>
                </c:pt>
                <c:pt idx="1">
                  <c:v>41.04</c:v>
                </c:pt>
                <c:pt idx="2">
                  <c:v>24.08</c:v>
                </c:pt>
                <c:pt idx="3">
                  <c:v>43.15</c:v>
                </c:pt>
                <c:pt idx="4">
                  <c:v>41.78</c:v>
                </c:pt>
                <c:pt idx="5">
                  <c:v>90.3</c:v>
                </c:pt>
                <c:pt idx="6">
                  <c:v>62.64</c:v>
                </c:pt>
                <c:pt idx="7">
                  <c:v>95.25</c:v>
                </c:pt>
                <c:pt idx="8">
                  <c:v>34.75</c:v>
                </c:pt>
                <c:pt idx="9">
                  <c:v>54.7</c:v>
                </c:pt>
                <c:pt idx="10">
                  <c:v>213.4</c:v>
                </c:pt>
                <c:pt idx="11">
                  <c:v>22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AD7-4D6C-8BEA-BE6A1A9BAF2C}"/>
                </c:ext>
              </c:extLst>
            </c:dLbl>
            <c:dLbl>
              <c:idx val="1"/>
              <c:tx>
                <c:rich>
                  <a:bodyPr/>
                  <a:lstStyle/>
                  <a:p>
                    <a:r>
                      <a:t>42.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AD7-4D6C-8BEA-BE6A1A9BAF2C}"/>
                </c:ext>
              </c:extLst>
            </c:dLbl>
            <c:dLbl>
              <c:idx val="2"/>
              <c:tx>
                <c:rich>
                  <a:bodyPr/>
                  <a:lstStyle/>
                  <a:p>
                    <a:r>
                      <a:t>23.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AD7-4D6C-8BEA-BE6A1A9BAF2C}"/>
                </c:ext>
              </c:extLst>
            </c:dLbl>
            <c:dLbl>
              <c:idx val="3"/>
              <c:tx>
                <c:rich>
                  <a:bodyPr/>
                  <a:lstStyle/>
                  <a:p>
                    <a:r>
                      <a:t>62.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AD7-4D6C-8BEA-BE6A1A9BAF2C}"/>
                </c:ext>
              </c:extLst>
            </c:dLbl>
            <c:dLbl>
              <c:idx val="4"/>
              <c:tx>
                <c:rich>
                  <a:bodyPr/>
                  <a:lstStyle/>
                  <a:p>
                    <a:r>
                      <a:t>9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AD7-4D6C-8BEA-BE6A1A9BAF2C}"/>
                </c:ext>
              </c:extLst>
            </c:dLbl>
            <c:dLbl>
              <c:idx val="5"/>
              <c:tx>
                <c:rich>
                  <a:bodyPr/>
                  <a:lstStyle/>
                  <a:p>
                    <a:r>
                      <a:t>97.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AD7-4D6C-8BEA-BE6A1A9BAF2C}"/>
                </c:ext>
              </c:extLst>
            </c:dLbl>
            <c:dLbl>
              <c:idx val="6"/>
              <c:tx>
                <c:rich>
                  <a:bodyPr/>
                  <a:lstStyle/>
                  <a:p>
                    <a:r>
                      <a:t>195.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AD7-4D6C-8BEA-BE6A1A9BAF2C}"/>
                </c:ext>
              </c:extLst>
            </c:dLbl>
            <c:dLbl>
              <c:idx val="7"/>
              <c:tx>
                <c:rich>
                  <a:bodyPr/>
                  <a:lstStyle/>
                  <a:p>
                    <a:r>
                      <a:t>53.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AD7-4D6C-8BEA-BE6A1A9BAF2C}"/>
                </c:ext>
              </c:extLst>
            </c:dLbl>
            <c:dLbl>
              <c:idx val="8"/>
              <c:tx>
                <c:rich>
                  <a:bodyPr/>
                  <a:lstStyle/>
                  <a:p>
                    <a:r>
                      <a:t>34.8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AD7-4D6C-8BEA-BE6A1A9BAF2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G RUINART ROSE SECOND SKIN 1CT X 1500ML</c:v>
                </c:pt>
                <c:pt idx="7">
                  <c:v>1/2 RUINART ROSE (NUE) 1CT X 375ML</c:v>
                </c:pt>
                <c:pt idx="8">
                  <c:v>1/2 DEUTZ ROSE 1CT X 375ML</c:v>
                </c:pt>
              </c:strCache>
            </c:strRef>
          </c:cat>
          <c:val>
            <c:numRef>
              <c:f>Sheet1!$B$2:$B$10</c:f>
              <c:numCache>
                <c:formatCode>General</c:formatCode>
                <c:ptCount val="9"/>
                <c:pt idx="0">
                  <c:v>24.91</c:v>
                </c:pt>
                <c:pt idx="1">
                  <c:v>42.78</c:v>
                </c:pt>
                <c:pt idx="2">
                  <c:v>23.87</c:v>
                </c:pt>
                <c:pt idx="3">
                  <c:v>62.41</c:v>
                </c:pt>
                <c:pt idx="4">
                  <c:v>90.6</c:v>
                </c:pt>
                <c:pt idx="5">
                  <c:v>97.38</c:v>
                </c:pt>
                <c:pt idx="6">
                  <c:v>195.96</c:v>
                </c:pt>
                <c:pt idx="7">
                  <c:v>53.64</c:v>
                </c:pt>
                <c:pt idx="8">
                  <c:v>34.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CC2-4F71-A17F-FDE2E1A10D25}"/>
                </c:ext>
              </c:extLst>
            </c:dLbl>
            <c:dLbl>
              <c:idx val="1"/>
              <c:tx>
                <c:rich>
                  <a:bodyPr/>
                  <a:lstStyle/>
                  <a:p>
                    <a:r>
                      <a:t>39.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CC2-4F71-A17F-FDE2E1A10D25}"/>
                </c:ext>
              </c:extLst>
            </c:dLbl>
            <c:dLbl>
              <c:idx val="2"/>
              <c:tx>
                <c:rich>
                  <a:bodyPr/>
                  <a:lstStyle/>
                  <a:p>
                    <a:r>
                      <a:t>23.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CC2-4F71-A17F-FDE2E1A10D25}"/>
                </c:ext>
              </c:extLst>
            </c:dLbl>
            <c:dLbl>
              <c:idx val="3"/>
              <c:tx>
                <c:rich>
                  <a:bodyPr/>
                  <a:lstStyle/>
                  <a:p>
                    <a:r>
                      <a:t>79.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CC2-4F71-A17F-FDE2E1A10D25}"/>
                </c:ext>
              </c:extLst>
            </c:dLbl>
            <c:dLbl>
              <c:idx val="4"/>
              <c:tx>
                <c:rich>
                  <a:bodyPr/>
                  <a:lstStyle/>
                  <a:p>
                    <a:r>
                      <a:t>62.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CC2-4F71-A17F-FDE2E1A10D25}"/>
                </c:ext>
              </c:extLst>
            </c:dLbl>
            <c:dLbl>
              <c:idx val="5"/>
              <c:tx>
                <c:rich>
                  <a:bodyPr/>
                  <a:lstStyle/>
                  <a:p>
                    <a:r>
                      <a:t>90.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CC2-4F71-A17F-FDE2E1A10D25}"/>
                </c:ext>
              </c:extLst>
            </c:dLbl>
            <c:dLbl>
              <c:idx val="6"/>
              <c:tx>
                <c:rich>
                  <a:bodyPr/>
                  <a:lstStyle/>
                  <a:p>
                    <a:r>
                      <a:t>94.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CC2-4F71-A17F-FDE2E1A10D25}"/>
                </c:ext>
              </c:extLst>
            </c:dLbl>
            <c:dLbl>
              <c:idx val="7"/>
              <c:tx>
                <c:rich>
                  <a:bodyPr/>
                  <a:lstStyle/>
                  <a:p>
                    <a:r>
                      <a:t>244.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CC2-4F71-A17F-FDE2E1A10D25}"/>
                </c:ext>
              </c:extLst>
            </c:dLbl>
            <c:dLbl>
              <c:idx val="8"/>
              <c:tx>
                <c:rich>
                  <a:bodyPr/>
                  <a:lstStyle/>
                  <a:p>
                    <a:r>
                      <a:t>54.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CC2-4F71-A17F-FDE2E1A10D25}"/>
                </c:ext>
              </c:extLst>
            </c:dLbl>
            <c:dLbl>
              <c:idx val="9"/>
              <c:tx>
                <c:rich>
                  <a:bodyPr/>
                  <a:lstStyle/>
                  <a:p>
                    <a:r>
                      <a:t>36.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CC2-4F71-A17F-FDE2E1A10D2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ROSE 1CT X 750ML</c:v>
                </c:pt>
                <c:pt idx="1">
                  <c:v>CHAMPAGNE NICOLAS ROSE 1ERE CU 1CT X 750ML</c:v>
                </c:pt>
                <c:pt idx="2">
                  <c:v>1/2 CHAMP NICOLAS ROSE 1E C BS 1CT X 375ML</c:v>
                </c:pt>
                <c:pt idx="3">
                  <c:v>LAURENT PERRIER ROSE 1CT X 750ML</c:v>
                </c:pt>
                <c:pt idx="4">
                  <c:v>DEUTZ ROSE 1CT X 750ML</c:v>
                </c:pt>
                <c:pt idx="5">
                  <c:v>RUINART ROSE (NUE) 1CT X 750ML</c:v>
                </c:pt>
                <c:pt idx="6">
                  <c:v>RUINART ROSE SECOND SKIN 1CT X 750ML</c:v>
                </c:pt>
                <c:pt idx="7">
                  <c:v>MG RUINART ROSE SECOND SKIN 1CT X 1500ML</c:v>
                </c:pt>
                <c:pt idx="8">
                  <c:v>1/2 RUINART ROSE (NUE) 1CT X 375ML</c:v>
                </c:pt>
                <c:pt idx="9">
                  <c:v>1/2 DEUTZ ROSE 1CT X 375ML</c:v>
                </c:pt>
              </c:strCache>
            </c:strRef>
          </c:cat>
          <c:val>
            <c:numRef>
              <c:f>Sheet1!$B$2:$B$11</c:f>
              <c:numCache>
                <c:formatCode>General</c:formatCode>
                <c:ptCount val="10"/>
                <c:pt idx="0">
                  <c:v>25.01</c:v>
                </c:pt>
                <c:pt idx="1">
                  <c:v>39.56</c:v>
                </c:pt>
                <c:pt idx="2">
                  <c:v>23.74</c:v>
                </c:pt>
                <c:pt idx="3">
                  <c:v>79.989999999999995</c:v>
                </c:pt>
                <c:pt idx="4">
                  <c:v>62.13</c:v>
                </c:pt>
                <c:pt idx="5">
                  <c:v>90.81</c:v>
                </c:pt>
                <c:pt idx="6">
                  <c:v>94.82</c:v>
                </c:pt>
                <c:pt idx="7">
                  <c:v>244.83</c:v>
                </c:pt>
                <c:pt idx="8">
                  <c:v>54.38</c:v>
                </c:pt>
                <c:pt idx="9">
                  <c:v>36.11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C0A-4FEB-9AC5-3D02E9751BE9}"/>
                </c:ext>
              </c:extLst>
            </c:dLbl>
            <c:dLbl>
              <c:idx val="1"/>
              <c:tx>
                <c:rich>
                  <a:bodyPr/>
                  <a:lstStyle/>
                  <a:p>
                    <a:r>
                      <a:t>45.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C0A-4FEB-9AC5-3D02E9751BE9}"/>
                </c:ext>
              </c:extLst>
            </c:dLbl>
            <c:dLbl>
              <c:idx val="2"/>
              <c:tx>
                <c:rich>
                  <a:bodyPr/>
                  <a:lstStyle/>
                  <a:p>
                    <a:r>
                      <a:t>62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C0A-4FEB-9AC5-3D02E9751BE9}"/>
                </c:ext>
              </c:extLst>
            </c:dLbl>
            <c:dLbl>
              <c:idx val="3"/>
              <c:tx>
                <c:rich>
                  <a:bodyPr/>
                  <a:lstStyle/>
                  <a:p>
                    <a:r>
                      <a:t>90.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C0A-4FEB-9AC5-3D02E9751BE9}"/>
                </c:ext>
              </c:extLst>
            </c:dLbl>
            <c:dLbl>
              <c:idx val="4"/>
              <c:tx>
                <c:rich>
                  <a:bodyPr/>
                  <a:lstStyle/>
                  <a:p>
                    <a:r>
                      <a:t>9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C0A-4FEB-9AC5-3D02E9751BE9}"/>
                </c:ext>
              </c:extLst>
            </c:dLbl>
            <c:dLbl>
              <c:idx val="5"/>
              <c:tx>
                <c:rich>
                  <a:bodyPr/>
                  <a:lstStyle/>
                  <a:p>
                    <a:r>
                      <a:t>54.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C0A-4FEB-9AC5-3D02E9751BE9}"/>
                </c:ext>
              </c:extLst>
            </c:dLbl>
            <c:dLbl>
              <c:idx val="6"/>
              <c:tx>
                <c:rich>
                  <a:bodyPr/>
                  <a:lstStyle/>
                  <a:p>
                    <a:r>
                      <a:t>210.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C0A-4FEB-9AC5-3D02E9751BE9}"/>
                </c:ext>
              </c:extLst>
            </c:dLbl>
            <c:dLbl>
              <c:idx val="7"/>
              <c:tx>
                <c:rich>
                  <a:bodyPr/>
                  <a:lstStyle/>
                  <a:p>
                    <a:r>
                      <a:t>37.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C0A-4FEB-9AC5-3D02E9751BE9}"/>
                </c:ext>
              </c:extLst>
            </c:dLbl>
            <c:dLbl>
              <c:idx val="8"/>
              <c:tx>
                <c:rich>
                  <a:bodyPr/>
                  <a:lstStyle/>
                  <a:p>
                    <a:r>
                      <a:t>145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C0A-4FEB-9AC5-3D02E9751BE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ROEDERER CRISTAL ROSE 2014 1CT X 750ML</c:v>
                </c:pt>
                <c:pt idx="3">
                  <c:v>RUINART ROSE (NUE) 1CT X 750ML</c:v>
                </c:pt>
                <c:pt idx="4">
                  <c:v>RUINART ROSE SECOND SKIN 1CT X 750ML</c:v>
                </c:pt>
                <c:pt idx="5">
                  <c:v>1/2 RUINART ROSE (NUE) 1CT X 375ML</c:v>
                </c:pt>
                <c:pt idx="6">
                  <c:v>MG RUINART ROSE SECOND SKIN 1CT X 1500ML</c:v>
                </c:pt>
                <c:pt idx="7">
                  <c:v>MALARD ROSE 1ER CRU 1CT X 750ML</c:v>
                </c:pt>
                <c:pt idx="8">
                  <c:v>MG ROEDERER CRISTAL ROSE 2013 1CT X 1500ML</c:v>
                </c:pt>
              </c:strCache>
            </c:strRef>
          </c:cat>
          <c:val>
            <c:numRef>
              <c:f>Sheet1!$B$2:$B$10</c:f>
              <c:numCache>
                <c:formatCode>General</c:formatCode>
                <c:ptCount val="9"/>
                <c:pt idx="0">
                  <c:v>25.02</c:v>
                </c:pt>
                <c:pt idx="1">
                  <c:v>45.18</c:v>
                </c:pt>
                <c:pt idx="2">
                  <c:v>620</c:v>
                </c:pt>
                <c:pt idx="3">
                  <c:v>90.65</c:v>
                </c:pt>
                <c:pt idx="4">
                  <c:v>95.19</c:v>
                </c:pt>
                <c:pt idx="5">
                  <c:v>54.79</c:v>
                </c:pt>
                <c:pt idx="6">
                  <c:v>210.27</c:v>
                </c:pt>
                <c:pt idx="7">
                  <c:v>37.659999999999997</c:v>
                </c:pt>
                <c:pt idx="8">
                  <c:v>14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A9E-4A64-9151-540D7A2BA765}"/>
                </c:ext>
              </c:extLst>
            </c:dLbl>
            <c:dLbl>
              <c:idx val="1"/>
              <c:tx>
                <c:rich>
                  <a:bodyPr/>
                  <a:lstStyle/>
                  <a:p>
                    <a:r>
                      <a:rPr lang="en-US"/>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A9E-4A64-9151-540D7A2BA765}"/>
                </c:ext>
              </c:extLst>
            </c:dLbl>
            <c:dLbl>
              <c:idx val="2"/>
              <c:tx>
                <c:rich>
                  <a:bodyPr/>
                  <a:lstStyle/>
                  <a:p>
                    <a:r>
                      <a:rPr lang="en-US"/>
                      <a:t>3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9E-4A64-9151-540D7A2BA765}"/>
                </c:ext>
              </c:extLst>
            </c:dLbl>
            <c:dLbl>
              <c:idx val="3"/>
              <c:tx>
                <c:rich>
                  <a:bodyPr/>
                  <a:lstStyle/>
                  <a:p>
                    <a:r>
                      <a:rPr lang="en-US"/>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A9E-4A64-9151-540D7A2BA765}"/>
                </c:ext>
              </c:extLst>
            </c:dLbl>
            <c:dLbl>
              <c:idx val="4"/>
              <c:tx>
                <c:rich>
                  <a:bodyPr/>
                  <a:lstStyle/>
                  <a:p>
                    <a:r>
                      <a:rPr lang="en-US"/>
                      <a:t>4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A9E-4A64-9151-540D7A2BA765}"/>
                </c:ext>
              </c:extLst>
            </c:dLbl>
            <c:dLbl>
              <c:idx val="5"/>
              <c:tx>
                <c:rich>
                  <a:bodyPr/>
                  <a:lstStyle/>
                  <a:p>
                    <a:r>
                      <a:rPr lang="en-US"/>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A9E-4A64-9151-540D7A2BA765}"/>
                </c:ext>
              </c:extLst>
            </c:dLbl>
            <c:dLbl>
              <c:idx val="6"/>
              <c:tx>
                <c:rich>
                  <a:bodyPr/>
                  <a:lstStyle/>
                  <a:p>
                    <a:r>
                      <a:rPr lang="en-US"/>
                      <a:t>2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A9E-4A64-9151-540D7A2BA765}"/>
                </c:ext>
              </c:extLst>
            </c:dLbl>
            <c:dLbl>
              <c:idx val="7"/>
              <c:tx>
                <c:rich>
                  <a:bodyPr/>
                  <a:lstStyle/>
                  <a:p>
                    <a:r>
                      <a:rPr lang="en-US"/>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A9E-4A64-9151-540D7A2BA765}"/>
                </c:ext>
              </c:extLst>
            </c:dLbl>
            <c:dLbl>
              <c:idx val="8"/>
              <c:tx>
                <c:rich>
                  <a:bodyPr/>
                  <a:lstStyle/>
                  <a:p>
                    <a:r>
                      <a:rPr lang="en-US"/>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A9E-4A64-9151-540D7A2BA765}"/>
                </c:ext>
              </c:extLst>
            </c:dLbl>
            <c:dLbl>
              <c:idx val="9"/>
              <c:tx>
                <c:rich>
                  <a:bodyPr/>
                  <a:lstStyle/>
                  <a:p>
                    <a:r>
                      <a:rPr lang="en-US"/>
                      <a:t>4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A9E-4A64-9151-540D7A2BA765}"/>
                </c:ext>
              </c:extLst>
            </c:dLbl>
            <c:dLbl>
              <c:idx val="10"/>
              <c:tx>
                <c:rich>
                  <a:bodyPr/>
                  <a:lstStyle/>
                  <a:p>
                    <a:r>
                      <a:rPr lang="en-US"/>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A9E-4A64-9151-540D7A2BA765}"/>
                </c:ext>
              </c:extLst>
            </c:dLbl>
            <c:dLbl>
              <c:idx val="11"/>
              <c:tx>
                <c:rich>
                  <a:bodyPr/>
                  <a:lstStyle/>
                  <a:p>
                    <a:r>
                      <a:rPr lang="en-US"/>
                      <a:t>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A9E-4A64-9151-540D7A2BA765}"/>
                </c:ext>
              </c:extLst>
            </c:dLbl>
            <c:dLbl>
              <c:idx val="12"/>
              <c:tx>
                <c:rich>
                  <a:bodyPr/>
                  <a:lstStyle/>
                  <a:p>
                    <a:r>
                      <a:rPr lang="en-US"/>
                      <a:t>79.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A9E-4A64-9151-540D7A2BA765}"/>
                </c:ext>
              </c:extLst>
            </c:dLbl>
            <c:dLbl>
              <c:idx val="13"/>
              <c:tx>
                <c:rich>
                  <a:bodyPr/>
                  <a:lstStyle/>
                  <a:p>
                    <a:r>
                      <a:rPr lang="en-US"/>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A9E-4A64-9151-540D7A2BA765}"/>
                </c:ext>
              </c:extLst>
            </c:dLbl>
            <c:dLbl>
              <c:idx val="14"/>
              <c:tx>
                <c:rich>
                  <a:bodyPr/>
                  <a:lstStyle/>
                  <a:p>
                    <a:r>
                      <a:rPr lang="en-US"/>
                      <a:t>3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A9E-4A64-9151-540D7A2BA76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91</c:v>
                </c:pt>
                <c:pt idx="1">
                  <c:v>39.049999999999997</c:v>
                </c:pt>
                <c:pt idx="2">
                  <c:v>37.08</c:v>
                </c:pt>
                <c:pt idx="3">
                  <c:v>25.02</c:v>
                </c:pt>
                <c:pt idx="4">
                  <c:v>41.04</c:v>
                </c:pt>
                <c:pt idx="5">
                  <c:v>45.64</c:v>
                </c:pt>
                <c:pt idx="6">
                  <c:v>22.26</c:v>
                </c:pt>
                <c:pt idx="7">
                  <c:v>36.93</c:v>
                </c:pt>
                <c:pt idx="8">
                  <c:v>24.08</c:v>
                </c:pt>
                <c:pt idx="9">
                  <c:v>45.73</c:v>
                </c:pt>
                <c:pt idx="10">
                  <c:v>24.06</c:v>
                </c:pt>
                <c:pt idx="11">
                  <c:v>83.3</c:v>
                </c:pt>
                <c:pt idx="12">
                  <c:v>79.31</c:v>
                </c:pt>
                <c:pt idx="13">
                  <c:v>43.15</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C06-4EB0-A01E-B6FC9861693D}"/>
                </c:ext>
              </c:extLst>
            </c:dLbl>
            <c:dLbl>
              <c:idx val="1"/>
              <c:tx>
                <c:rich>
                  <a:bodyPr/>
                  <a:lstStyle/>
                  <a:p>
                    <a:r>
                      <a:rPr lang="en-CH"/>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C06-4EB0-A01E-B6FC9861693D}"/>
                </c:ext>
              </c:extLst>
            </c:dLbl>
            <c:dLbl>
              <c:idx val="2"/>
              <c:tx>
                <c:rich>
                  <a:bodyPr/>
                  <a:lstStyle/>
                  <a:p>
                    <a:r>
                      <a:rPr lang="en-CH"/>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C06-4EB0-A01E-B6FC9861693D}"/>
                </c:ext>
              </c:extLst>
            </c:dLbl>
            <c:dLbl>
              <c:idx val="3"/>
              <c:tx>
                <c:rich>
                  <a:bodyPr/>
                  <a:lstStyle/>
                  <a:p>
                    <a:r>
                      <a:rPr lang="en-CH"/>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C06-4EB0-A01E-B6FC9861693D}"/>
                </c:ext>
              </c:extLst>
            </c:dLbl>
            <c:dLbl>
              <c:idx val="4"/>
              <c:tx>
                <c:rich>
                  <a:bodyPr/>
                  <a:lstStyle/>
                  <a:p>
                    <a:r>
                      <a:rPr lang="en-CH"/>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C06-4EB0-A01E-B6FC9861693D}"/>
                </c:ext>
              </c:extLst>
            </c:dLbl>
            <c:dLbl>
              <c:idx val="5"/>
              <c:tx>
                <c:rich>
                  <a:bodyPr/>
                  <a:lstStyle/>
                  <a:p>
                    <a:r>
                      <a:rPr lang="en-CH"/>
                      <a:t>2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C06-4EB0-A01E-B6FC9861693D}"/>
                </c:ext>
              </c:extLst>
            </c:dLbl>
            <c:dLbl>
              <c:idx val="6"/>
              <c:tx>
                <c:rich>
                  <a:bodyPr/>
                  <a:lstStyle/>
                  <a:p>
                    <a:r>
                      <a:rPr lang="en-CH"/>
                      <a:t>8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C06-4EB0-A01E-B6FC9861693D}"/>
                </c:ext>
              </c:extLst>
            </c:dLbl>
            <c:dLbl>
              <c:idx val="7"/>
              <c:tx>
                <c:rich>
                  <a:bodyPr/>
                  <a:lstStyle/>
                  <a:p>
                    <a:r>
                      <a:rPr lang="en-CH"/>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C06-4EB0-A01E-B6FC9861693D}"/>
                </c:ext>
              </c:extLst>
            </c:dLbl>
            <c:dLbl>
              <c:idx val="8"/>
              <c:tx>
                <c:rich>
                  <a:bodyPr/>
                  <a:lstStyle/>
                  <a:p>
                    <a:r>
                      <a:rPr lang="en-CH"/>
                      <a:t>4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C06-4EB0-A01E-B6FC9861693D}"/>
                </c:ext>
              </c:extLst>
            </c:dLbl>
            <c:dLbl>
              <c:idx val="9"/>
              <c:tx>
                <c:rich>
                  <a:bodyPr/>
                  <a:lstStyle/>
                  <a:p>
                    <a:r>
                      <a:rPr lang="en-CH"/>
                      <a:t>4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C06-4EB0-A01E-B6FC9861693D}"/>
                </c:ext>
              </c:extLst>
            </c:dLbl>
            <c:dLbl>
              <c:idx val="10"/>
              <c:tx>
                <c:rich>
                  <a:bodyPr/>
                  <a:lstStyle/>
                  <a:p>
                    <a:r>
                      <a:rPr lang="en-CH"/>
                      <a:t>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C06-4EB0-A01E-B6FC9861693D}"/>
                </c:ext>
              </c:extLst>
            </c:dLbl>
            <c:dLbl>
              <c:idx val="11"/>
              <c:tx>
                <c:rich>
                  <a:bodyPr/>
                  <a:lstStyle/>
                  <a:p>
                    <a:r>
                      <a:rPr lang="en-CH"/>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C06-4EB0-A01E-B6FC9861693D}"/>
                </c:ext>
              </c:extLst>
            </c:dLbl>
            <c:dLbl>
              <c:idx val="12"/>
              <c:tx>
                <c:rich>
                  <a:bodyPr/>
                  <a:lstStyle/>
                  <a:p>
                    <a:r>
                      <a:rPr lang="en-CH"/>
                      <a:t>7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C06-4EB0-A01E-B6FC9861693D}"/>
                </c:ext>
              </c:extLst>
            </c:dLbl>
            <c:dLbl>
              <c:idx val="13"/>
              <c:tx>
                <c:rich>
                  <a:bodyPr/>
                  <a:lstStyle/>
                  <a:p>
                    <a:r>
                      <a:rPr lang="en-CH"/>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C06-4EB0-A01E-B6FC9861693D}"/>
                </c:ext>
              </c:extLst>
            </c:dLbl>
            <c:dLbl>
              <c:idx val="14"/>
              <c:tx>
                <c:rich>
                  <a:bodyPr/>
                  <a:lstStyle/>
                  <a:p>
                    <a:r>
                      <a:rPr lang="en-CH"/>
                      <a:t>36.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C06-4EB0-A01E-B6FC9861693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84</c:v>
                </c:pt>
                <c:pt idx="1">
                  <c:v>39</c:v>
                </c:pt>
                <c:pt idx="2">
                  <c:v>24.97</c:v>
                </c:pt>
                <c:pt idx="3">
                  <c:v>37.090000000000003</c:v>
                </c:pt>
                <c:pt idx="4">
                  <c:v>45.17</c:v>
                </c:pt>
                <c:pt idx="5">
                  <c:v>22.38</c:v>
                </c:pt>
                <c:pt idx="6">
                  <c:v>86.38</c:v>
                </c:pt>
                <c:pt idx="7">
                  <c:v>23.97</c:v>
                </c:pt>
                <c:pt idx="8">
                  <c:v>41.06</c:v>
                </c:pt>
                <c:pt idx="9">
                  <c:v>46.29</c:v>
                </c:pt>
                <c:pt idx="10">
                  <c:v>24</c:v>
                </c:pt>
                <c:pt idx="11">
                  <c:v>36.99</c:v>
                </c:pt>
                <c:pt idx="12">
                  <c:v>75.95</c:v>
                </c:pt>
                <c:pt idx="13">
                  <c:v>39.590000000000003</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8EC-44DE-8212-FABB960F7AAE}"/>
                </c:ext>
              </c:extLst>
            </c:dLbl>
            <c:dLbl>
              <c:idx val="1"/>
              <c:tx>
                <c:rich>
                  <a:bodyPr/>
                  <a:lstStyle/>
                  <a:p>
                    <a:r>
                      <a:t>41.4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8EC-44DE-8212-FABB960F7AAE}"/>
                </c:ext>
              </c:extLst>
            </c:dLbl>
            <c:dLbl>
              <c:idx val="2"/>
              <c:tx>
                <c:rich>
                  <a:bodyPr/>
                  <a:lstStyle/>
                  <a:p>
                    <a:r>
                      <a:t>89.6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8EC-44DE-8212-FABB960F7AAE}"/>
                </c:ext>
              </c:extLst>
            </c:dLbl>
            <c:dLbl>
              <c:idx val="3"/>
              <c:tx>
                <c:rich>
                  <a:bodyPr/>
                  <a:lstStyle/>
                  <a:p>
                    <a:r>
                      <a:t>62.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8EC-44DE-8212-FABB960F7AAE}"/>
                </c:ext>
              </c:extLst>
            </c:dLbl>
            <c:dLbl>
              <c:idx val="4"/>
              <c:tx>
                <c:rich>
                  <a:bodyPr/>
                  <a:lstStyle/>
                  <a:p>
                    <a:r>
                      <a:t>91.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8EC-44DE-8212-FABB960F7AAE}"/>
                </c:ext>
              </c:extLst>
            </c:dLbl>
            <c:dLbl>
              <c:idx val="5"/>
              <c:tx>
                <c:rich>
                  <a:bodyPr/>
                  <a:lstStyle/>
                  <a:p>
                    <a:r>
                      <a:t>23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8EC-44DE-8212-FABB960F7AAE}"/>
                </c:ext>
              </c:extLst>
            </c:dLbl>
            <c:dLbl>
              <c:idx val="6"/>
              <c:tx>
                <c:rich>
                  <a:bodyPr/>
                  <a:lstStyle/>
                  <a:p>
                    <a:r>
                      <a:t>52.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8EC-44DE-8212-FABB960F7AA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ROSE 1CT X 750ML</c:v>
                </c:pt>
                <c:pt idx="1">
                  <c:v>CHAMPAGNE NICOLAS ROSE 1ERE CU 1CT X 750ML</c:v>
                </c:pt>
                <c:pt idx="2">
                  <c:v>RUINART ROSE (NUE) 1CT X 750ML</c:v>
                </c:pt>
                <c:pt idx="3">
                  <c:v>DEUTZ ROSE 1CT X 750ML</c:v>
                </c:pt>
                <c:pt idx="4">
                  <c:v>RUINART ROSE SECOND SKIN 1CT X 750ML</c:v>
                </c:pt>
                <c:pt idx="5">
                  <c:v>MG RUINART ROSE SECOND SKIN 1CT X 1500ML</c:v>
                </c:pt>
                <c:pt idx="6">
                  <c:v>1/2 RUINART ROSE (NUE) 1CT X 375ML</c:v>
                </c:pt>
              </c:strCache>
            </c:strRef>
          </c:cat>
          <c:val>
            <c:numRef>
              <c:f>Sheet1!$B$2:$B$8</c:f>
              <c:numCache>
                <c:formatCode>General</c:formatCode>
                <c:ptCount val="7"/>
                <c:pt idx="0">
                  <c:v>25.1</c:v>
                </c:pt>
                <c:pt idx="1">
                  <c:v>41.44</c:v>
                </c:pt>
                <c:pt idx="2">
                  <c:v>89.63</c:v>
                </c:pt>
                <c:pt idx="3">
                  <c:v>62.47</c:v>
                </c:pt>
                <c:pt idx="4">
                  <c:v>91.91</c:v>
                </c:pt>
                <c:pt idx="5">
                  <c:v>239.5</c:v>
                </c:pt>
                <c:pt idx="6">
                  <c:v>5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8AF-48E1-ABB4-D45FF7443DA3}"/>
                </c:ext>
              </c:extLst>
            </c:dLbl>
            <c:dLbl>
              <c:idx val="1"/>
              <c:tx>
                <c:rich>
                  <a:bodyPr/>
                  <a:lstStyle/>
                  <a:p>
                    <a:r>
                      <a:t>41.3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8AF-48E1-ABB4-D45FF7443DA3}"/>
                </c:ext>
              </c:extLst>
            </c:dLbl>
            <c:dLbl>
              <c:idx val="2"/>
              <c:tx>
                <c:rich>
                  <a:bodyPr/>
                  <a:lstStyle/>
                  <a:p>
                    <a:r>
                      <a:t>23.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8AF-48E1-ABB4-D45FF7443DA3}"/>
                </c:ext>
              </c:extLst>
            </c:dLbl>
            <c:dLbl>
              <c:idx val="3"/>
              <c:tx>
                <c:rich>
                  <a:bodyPr/>
                  <a:lstStyle/>
                  <a:p>
                    <a:r>
                      <a:t>41.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8AF-48E1-ABB4-D45FF7443DA3}"/>
                </c:ext>
              </c:extLst>
            </c:dLbl>
            <c:dLbl>
              <c:idx val="4"/>
              <c:tx>
                <c:rich>
                  <a:bodyPr/>
                  <a:lstStyle/>
                  <a:p>
                    <a:r>
                      <a:t>41.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8AF-48E1-ABB4-D45FF7443DA3}"/>
                </c:ext>
              </c:extLst>
            </c:dLbl>
            <c:dLbl>
              <c:idx val="5"/>
              <c:tx>
                <c:rich>
                  <a:bodyPr/>
                  <a:lstStyle/>
                  <a:p>
                    <a:r>
                      <a:t>9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8AF-48E1-ABB4-D45FF7443DA3}"/>
                </c:ext>
              </c:extLst>
            </c:dLbl>
            <c:dLbl>
              <c:idx val="6"/>
              <c:tx>
                <c:rich>
                  <a:bodyPr/>
                  <a:lstStyle/>
                  <a:p>
                    <a:r>
                      <a:t>62.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8AF-48E1-ABB4-D45FF7443DA3}"/>
                </c:ext>
              </c:extLst>
            </c:dLbl>
            <c:dLbl>
              <c:idx val="7"/>
              <c:tx>
                <c:rich>
                  <a:bodyPr/>
                  <a:lstStyle/>
                  <a:p>
                    <a:r>
                      <a:t>95.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8AF-48E1-ABB4-D45FF7443DA3}"/>
                </c:ext>
              </c:extLst>
            </c:dLbl>
            <c:dLbl>
              <c:idx val="8"/>
              <c:tx>
                <c:rich>
                  <a:bodyPr/>
                  <a:lstStyle/>
                  <a:p>
                    <a:r>
                      <a:t>208.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8AF-48E1-ABB4-D45FF7443DA3}"/>
                </c:ext>
              </c:extLst>
            </c:dLbl>
            <c:dLbl>
              <c:idx val="9"/>
              <c:tx>
                <c:rich>
                  <a:bodyPr/>
                  <a:lstStyle/>
                  <a:p>
                    <a:r>
                      <a:t>54.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8AF-48E1-ABB4-D45FF7443DA3}"/>
                </c:ext>
              </c:extLst>
            </c:dLbl>
            <c:dLbl>
              <c:idx val="10"/>
              <c:tx>
                <c:rich>
                  <a:bodyPr/>
                  <a:lstStyle/>
                  <a:p>
                    <a:r>
                      <a:t>34.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8AF-48E1-ABB4-D45FF7443DA3}"/>
                </c:ext>
              </c:extLst>
            </c:dLbl>
            <c:dLbl>
              <c:idx val="11"/>
              <c:tx>
                <c:rich>
                  <a:bodyPr/>
                  <a:lstStyle/>
                  <a:p>
                    <a:r>
                      <a:t>239.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8AF-48E1-ABB4-D45FF7443DA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E.NICOLAS ROSE 1CT X 750ML</c:v>
                </c:pt>
                <c:pt idx="1">
                  <c:v>CHAMPAGNE NICOLAS ROSE 1ERE CU 1CT X 750ML</c:v>
                </c:pt>
                <c:pt idx="2">
                  <c:v>1/2 CHAMP NICOLAS ROSE 1E C BS 1CT X 375ML</c:v>
                </c:pt>
                <c:pt idx="3">
                  <c:v>CHAMPAGNE NICOLAS ROSE 1ERE ET 1CT X 750ML</c:v>
                </c:pt>
                <c:pt idx="4">
                  <c:v>CHAMPAGNE NICOLAS ROSE 1E C BS 1CT X 750ML</c:v>
                </c:pt>
                <c:pt idx="5">
                  <c:v>RUINART ROSE (NUE) 1CT X 750ML</c:v>
                </c:pt>
                <c:pt idx="6">
                  <c:v>DEUTZ ROSE 1CT X 750ML</c:v>
                </c:pt>
                <c:pt idx="7">
                  <c:v>RUINART ROSE SECOND SKIN 1CT X 750ML</c:v>
                </c:pt>
                <c:pt idx="8">
                  <c:v>MG RUINART ROSE SECOND SKIN 1CT X 1500ML</c:v>
                </c:pt>
                <c:pt idx="9">
                  <c:v>1/2 RUINART ROSE (NUE) 1CT X 375ML</c:v>
                </c:pt>
                <c:pt idx="10">
                  <c:v>1/2 DEUTZ ROSE 1CT X 375ML</c:v>
                </c:pt>
                <c:pt idx="11">
                  <c:v>MG RUINART ROSE 1CT X 1500ML</c:v>
                </c:pt>
              </c:strCache>
            </c:strRef>
          </c:cat>
          <c:val>
            <c:numRef>
              <c:f>Sheet1!$B$2:$B$13</c:f>
              <c:numCache>
                <c:formatCode>General</c:formatCode>
                <c:ptCount val="12"/>
                <c:pt idx="0">
                  <c:v>25</c:v>
                </c:pt>
                <c:pt idx="1">
                  <c:v>41.37</c:v>
                </c:pt>
                <c:pt idx="2">
                  <c:v>23.95</c:v>
                </c:pt>
                <c:pt idx="3">
                  <c:v>41.36</c:v>
                </c:pt>
                <c:pt idx="4">
                  <c:v>41.14</c:v>
                </c:pt>
                <c:pt idx="5">
                  <c:v>90.5</c:v>
                </c:pt>
                <c:pt idx="6">
                  <c:v>62.66</c:v>
                </c:pt>
                <c:pt idx="7">
                  <c:v>95.58</c:v>
                </c:pt>
                <c:pt idx="8">
                  <c:v>208.36</c:v>
                </c:pt>
                <c:pt idx="9">
                  <c:v>54.72</c:v>
                </c:pt>
                <c:pt idx="10">
                  <c:v>34.950000000000003</c:v>
                </c:pt>
                <c:pt idx="11">
                  <c:v>239.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059-480F-A73C-38E050D984BE}"/>
                </c:ext>
              </c:extLst>
            </c:dLbl>
            <c:dLbl>
              <c:idx val="1"/>
              <c:tx>
                <c:rich>
                  <a:bodyPr/>
                  <a:lstStyle/>
                  <a:p>
                    <a:r>
                      <a:t>4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059-480F-A73C-38E050D984BE}"/>
                </c:ext>
              </c:extLst>
            </c:dLbl>
            <c:dLbl>
              <c:idx val="2"/>
              <c:tx>
                <c:rich>
                  <a:bodyPr/>
                  <a:lstStyle/>
                  <a:p>
                    <a:r>
                      <a:t>90.7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059-480F-A73C-38E050D984BE}"/>
                </c:ext>
              </c:extLst>
            </c:dLbl>
            <c:dLbl>
              <c:idx val="3"/>
              <c:tx>
                <c:rich>
                  <a:bodyPr/>
                  <a:lstStyle/>
                  <a:p>
                    <a:r>
                      <a:t>78.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059-480F-A73C-38E050D984BE}"/>
                </c:ext>
              </c:extLst>
            </c:dLbl>
            <c:dLbl>
              <c:idx val="4"/>
              <c:tx>
                <c:rich>
                  <a:bodyPr/>
                  <a:lstStyle/>
                  <a:p>
                    <a:r>
                      <a:t>96.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059-480F-A73C-38E050D984BE}"/>
                </c:ext>
              </c:extLst>
            </c:dLbl>
            <c:dLbl>
              <c:idx val="5"/>
              <c:tx>
                <c:rich>
                  <a:bodyPr/>
                  <a:lstStyle/>
                  <a:p>
                    <a:r>
                      <a:t>20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059-480F-A73C-38E050D984BE}"/>
                </c:ext>
              </c:extLst>
            </c:dLbl>
            <c:dLbl>
              <c:idx val="6"/>
              <c:tx>
                <c:rich>
                  <a:bodyPr/>
                  <a:lstStyle/>
                  <a:p>
                    <a:r>
                      <a:t>5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059-480F-A73C-38E050D984BE}"/>
                </c:ext>
              </c:extLst>
            </c:dLbl>
            <c:dLbl>
              <c:idx val="7"/>
              <c:tx>
                <c:rich>
                  <a:bodyPr/>
                  <a:lstStyle/>
                  <a:p>
                    <a:r>
                      <a:t>37.9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059-480F-A73C-38E050D984B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HAMPAGNE E.NICOLAS ROSE 1CT X 750ML</c:v>
                </c:pt>
                <c:pt idx="1">
                  <c:v>CHAMPAGNE NICOLAS ROSE 1ERE CU 1CT X 750ML</c:v>
                </c:pt>
                <c:pt idx="2">
                  <c:v>RUINART ROSE (NUE) 1CT X 750ML</c:v>
                </c:pt>
                <c:pt idx="3">
                  <c:v>LAURENT PERRIER ROSE 1CT X 750ML</c:v>
                </c:pt>
                <c:pt idx="4">
                  <c:v>RUINART ROSE SECOND SKIN 1CT X 750ML</c:v>
                </c:pt>
                <c:pt idx="5">
                  <c:v>MG RUINART ROSE SECOND SKIN 1CT X 1500ML</c:v>
                </c:pt>
                <c:pt idx="6">
                  <c:v>1/2 RUINART ROSE (NUE) 1CT X 375ML</c:v>
                </c:pt>
                <c:pt idx="7">
                  <c:v>MALARD ROSE 1ER CRU 1CT X 750ML</c:v>
                </c:pt>
              </c:strCache>
            </c:strRef>
          </c:cat>
          <c:val>
            <c:numRef>
              <c:f>Sheet1!$B$2:$B$9</c:f>
              <c:numCache>
                <c:formatCode>General</c:formatCode>
                <c:ptCount val="8"/>
                <c:pt idx="0">
                  <c:v>25.16</c:v>
                </c:pt>
                <c:pt idx="1">
                  <c:v>40.729999999999997</c:v>
                </c:pt>
                <c:pt idx="2">
                  <c:v>90.74</c:v>
                </c:pt>
                <c:pt idx="3">
                  <c:v>78.650000000000006</c:v>
                </c:pt>
                <c:pt idx="4">
                  <c:v>96.53</c:v>
                </c:pt>
                <c:pt idx="5">
                  <c:v>201.2</c:v>
                </c:pt>
                <c:pt idx="6">
                  <c:v>52.4</c:v>
                </c:pt>
                <c:pt idx="7">
                  <c:v>37.97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C96-4D6D-A98A-CC398C5DEFE4}"/>
                </c:ext>
              </c:extLst>
            </c:dLbl>
            <c:dLbl>
              <c:idx val="1"/>
              <c:tx>
                <c:rich>
                  <a:bodyPr/>
                  <a:lstStyle/>
                  <a:p>
                    <a:r>
                      <a:t>42.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C96-4D6D-A98A-CC398C5DEFE4}"/>
                </c:ext>
              </c:extLst>
            </c:dLbl>
            <c:dLbl>
              <c:idx val="2"/>
              <c:tx>
                <c:rich>
                  <a:bodyPr/>
                  <a:lstStyle/>
                  <a:p>
                    <a:r>
                      <a:t>64.5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96-4D6D-A98A-CC398C5DEFE4}"/>
                </c:ext>
              </c:extLst>
            </c:dLbl>
            <c:dLbl>
              <c:idx val="3"/>
              <c:tx>
                <c:rich>
                  <a:bodyPr/>
                  <a:lstStyle/>
                  <a:p>
                    <a:r>
                      <a:t>90.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96-4D6D-A98A-CC398C5DEFE4}"/>
                </c:ext>
              </c:extLst>
            </c:dLbl>
            <c:dLbl>
              <c:idx val="4"/>
              <c:tx>
                <c:rich>
                  <a:bodyPr/>
                  <a:lstStyle/>
                  <a:p>
                    <a:r>
                      <a:t>100.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C96-4D6D-A98A-CC398C5DEFE4}"/>
                </c:ext>
              </c:extLst>
            </c:dLbl>
            <c:dLbl>
              <c:idx val="5"/>
              <c:tx>
                <c:rich>
                  <a:bodyPr/>
                  <a:lstStyle/>
                  <a:p>
                    <a:r>
                      <a:t>4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C96-4D6D-A98A-CC398C5DEF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ROSE 1CT X 750ML</c:v>
                </c:pt>
                <c:pt idx="1">
                  <c:v>CHAMPAGNE NICOLAS ROSE 1ERE CU 1CT X 750ML</c:v>
                </c:pt>
                <c:pt idx="2">
                  <c:v>DEUTZ ROSE 1CT X 750ML</c:v>
                </c:pt>
                <c:pt idx="3">
                  <c:v>RUINART ROSE (NUE) 1CT X 750ML</c:v>
                </c:pt>
                <c:pt idx="4">
                  <c:v>RUINART ROSE SECOND SKIN 1CT X 750ML</c:v>
                </c:pt>
                <c:pt idx="5">
                  <c:v>MALARD ROSE 1ER CRU 1CT X 750ML</c:v>
                </c:pt>
              </c:strCache>
            </c:strRef>
          </c:cat>
          <c:val>
            <c:numRef>
              <c:f>Sheet1!$B$2:$B$7</c:f>
              <c:numCache>
                <c:formatCode>General</c:formatCode>
                <c:ptCount val="6"/>
                <c:pt idx="0">
                  <c:v>25.28</c:v>
                </c:pt>
                <c:pt idx="1">
                  <c:v>42.73</c:v>
                </c:pt>
                <c:pt idx="2">
                  <c:v>64.53</c:v>
                </c:pt>
                <c:pt idx="3">
                  <c:v>90.46</c:v>
                </c:pt>
                <c:pt idx="4">
                  <c:v>100.03</c:v>
                </c:pt>
                <c:pt idx="5">
                  <c:v>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FE4-4EF9-85A6-F97C113755ED}"/>
                </c:ext>
              </c:extLst>
            </c:dLbl>
            <c:dLbl>
              <c:idx val="1"/>
              <c:tx>
                <c:rich>
                  <a:bodyPr/>
                  <a:lstStyle/>
                  <a:p>
                    <a:r>
                      <a:t>3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FE4-4EF9-85A6-F97C113755ED}"/>
                </c:ext>
              </c:extLst>
            </c:dLbl>
            <c:dLbl>
              <c:idx val="2"/>
              <c:tx>
                <c:rich>
                  <a:bodyPr/>
                  <a:lstStyle/>
                  <a:p>
                    <a:r>
                      <a:t>61.9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FE4-4EF9-85A6-F97C113755ED}"/>
                </c:ext>
              </c:extLst>
            </c:dLbl>
            <c:dLbl>
              <c:idx val="3"/>
              <c:tx>
                <c:rich>
                  <a:bodyPr/>
                  <a:lstStyle/>
                  <a:p>
                    <a:r>
                      <a:t>89.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FE4-4EF9-85A6-F97C113755ED}"/>
                </c:ext>
              </c:extLst>
            </c:dLbl>
            <c:dLbl>
              <c:idx val="4"/>
              <c:tx>
                <c:rich>
                  <a:bodyPr/>
                  <a:lstStyle/>
                  <a:p>
                    <a:r>
                      <a:t>37.2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FE4-4EF9-85A6-F97C113755E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ROSE 1CT X 750ML</c:v>
                </c:pt>
                <c:pt idx="1">
                  <c:v>CHAMPAGNE NICOLAS ROSE 1ERE CU 1CT X 750ML</c:v>
                </c:pt>
                <c:pt idx="2">
                  <c:v>DEUTZ ROSE 1CT X 750ML</c:v>
                </c:pt>
                <c:pt idx="3">
                  <c:v>RUINART ROSE (NUE) 1CT X 750ML</c:v>
                </c:pt>
                <c:pt idx="4">
                  <c:v>MALARD ROSE 1ER CRU 1CT X 750ML</c:v>
                </c:pt>
              </c:strCache>
            </c:strRef>
          </c:cat>
          <c:val>
            <c:numRef>
              <c:f>Sheet1!$B$2:$B$6</c:f>
              <c:numCache>
                <c:formatCode>General</c:formatCode>
                <c:ptCount val="5"/>
                <c:pt idx="0">
                  <c:v>25.19</c:v>
                </c:pt>
                <c:pt idx="1">
                  <c:v>36</c:v>
                </c:pt>
                <c:pt idx="2">
                  <c:v>61.97</c:v>
                </c:pt>
                <c:pt idx="3">
                  <c:v>89.13</c:v>
                </c:pt>
                <c:pt idx="4">
                  <c:v>37.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C52-446C-A8B4-387BC7FCE76C}"/>
                </c:ext>
              </c:extLst>
            </c:dLbl>
            <c:dLbl>
              <c:idx val="1"/>
              <c:tx>
                <c:rich>
                  <a:bodyPr/>
                  <a:lstStyle/>
                  <a:p>
                    <a:r>
                      <a:t>60.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C52-446C-A8B4-387BC7FCE76C}"/>
                </c:ext>
              </c:extLst>
            </c:dLbl>
            <c:dLbl>
              <c:idx val="2"/>
              <c:tx>
                <c:rich>
                  <a:bodyPr/>
                  <a:lstStyle/>
                  <a:p>
                    <a:r>
                      <a:t>98.8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C52-446C-A8B4-387BC7FCE76C}"/>
                </c:ext>
              </c:extLst>
            </c:dLbl>
            <c:dLbl>
              <c:idx val="3"/>
              <c:tx>
                <c:rich>
                  <a:bodyPr/>
                  <a:lstStyle/>
                  <a:p>
                    <a:r>
                      <a:t>103.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C52-446C-A8B4-387BC7FCE76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HAMPAGNE E.NICOLAS ROSE 1CT X 750ML</c:v>
                </c:pt>
                <c:pt idx="1">
                  <c:v>DEUTZ ROSE 1CT X 750ML</c:v>
                </c:pt>
                <c:pt idx="2">
                  <c:v>RUINART ROSE (NUE) 1CT X 750ML</c:v>
                </c:pt>
                <c:pt idx="3">
                  <c:v>RUINART ROSE SECOND SKIN 1CT X 750ML</c:v>
                </c:pt>
              </c:strCache>
            </c:strRef>
          </c:cat>
          <c:val>
            <c:numRef>
              <c:f>Sheet1!$B$2:$B$5</c:f>
              <c:numCache>
                <c:formatCode>General</c:formatCode>
                <c:ptCount val="4"/>
                <c:pt idx="0">
                  <c:v>24.99</c:v>
                </c:pt>
                <c:pt idx="1">
                  <c:v>60.64</c:v>
                </c:pt>
                <c:pt idx="2">
                  <c:v>98.89</c:v>
                </c:pt>
                <c:pt idx="3">
                  <c:v>103.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A74-49E5-9AD3-002AF1D3C6A3}"/>
                </c:ext>
              </c:extLst>
            </c:dLbl>
            <c:dLbl>
              <c:idx val="1"/>
              <c:tx>
                <c:rich>
                  <a:bodyPr/>
                  <a:lstStyle/>
                  <a:p>
                    <a:r>
                      <a:t>40.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A74-49E5-9AD3-002AF1D3C6A3}"/>
                </c:ext>
              </c:extLst>
            </c:dLbl>
            <c:dLbl>
              <c:idx val="2"/>
              <c:tx>
                <c:rich>
                  <a:bodyPr/>
                  <a:lstStyle/>
                  <a:p>
                    <a:r>
                      <a:t>23.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A74-49E5-9AD3-002AF1D3C6A3}"/>
                </c:ext>
              </c:extLst>
            </c:dLbl>
            <c:dLbl>
              <c:idx val="3"/>
              <c:tx>
                <c:rich>
                  <a:bodyPr/>
                  <a:lstStyle/>
                  <a:p>
                    <a:r>
                      <a:t>42.5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A74-49E5-9AD3-002AF1D3C6A3}"/>
                </c:ext>
              </c:extLst>
            </c:dLbl>
            <c:dLbl>
              <c:idx val="4"/>
              <c:tx>
                <c:rich>
                  <a:bodyPr/>
                  <a:lstStyle/>
                  <a:p>
                    <a:r>
                      <a:t>79.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A74-49E5-9AD3-002AF1D3C6A3}"/>
                </c:ext>
              </c:extLst>
            </c:dLbl>
            <c:dLbl>
              <c:idx val="5"/>
              <c:tx>
                <c:rich>
                  <a:bodyPr/>
                  <a:lstStyle/>
                  <a:p>
                    <a:r>
                      <a:t>6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A74-49E5-9AD3-002AF1D3C6A3}"/>
                </c:ext>
              </c:extLst>
            </c:dLbl>
            <c:dLbl>
              <c:idx val="6"/>
              <c:tx>
                <c:rich>
                  <a:bodyPr/>
                  <a:lstStyle/>
                  <a:p>
                    <a:r>
                      <a:t>90.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A74-49E5-9AD3-002AF1D3C6A3}"/>
                </c:ext>
              </c:extLst>
            </c:dLbl>
            <c:dLbl>
              <c:idx val="7"/>
              <c:tx>
                <c:rich>
                  <a:bodyPr/>
                  <a:lstStyle/>
                  <a:p>
                    <a:r>
                      <a:t>95.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A74-49E5-9AD3-002AF1D3C6A3}"/>
                </c:ext>
              </c:extLst>
            </c:dLbl>
            <c:dLbl>
              <c:idx val="8"/>
              <c:tx>
                <c:rich>
                  <a:bodyPr/>
                  <a:lstStyle/>
                  <a:p>
                    <a:r>
                      <a:t>54.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A74-49E5-9AD3-002AF1D3C6A3}"/>
                </c:ext>
              </c:extLst>
            </c:dLbl>
            <c:dLbl>
              <c:idx val="9"/>
              <c:tx>
                <c:rich>
                  <a:bodyPr/>
                  <a:lstStyle/>
                  <a:p>
                    <a:r>
                      <a:t>208.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A74-49E5-9AD3-002AF1D3C6A3}"/>
                </c:ext>
              </c:extLst>
            </c:dLbl>
            <c:dLbl>
              <c:idx val="10"/>
              <c:tx>
                <c:rich>
                  <a:bodyPr/>
                  <a:lstStyle/>
                  <a:p>
                    <a:r>
                      <a:t>35.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A74-49E5-9AD3-002AF1D3C6A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CHAMPAGNE NICOLAS ROSE 1ERE ET 1CT X 750ML</c:v>
                </c:pt>
                <c:pt idx="4">
                  <c:v>LAURENT PERRIER ROSE 1CT X 750ML</c:v>
                </c:pt>
                <c:pt idx="5">
                  <c:v>DEUTZ ROSE 1CT X 750ML</c:v>
                </c:pt>
                <c:pt idx="6">
                  <c:v>RUINART ROSE (NUE) 1CT X 750ML</c:v>
                </c:pt>
                <c:pt idx="7">
                  <c:v>RUINART ROSE SECOND SKIN 1CT X 750ML</c:v>
                </c:pt>
                <c:pt idx="8">
                  <c:v>1/2 RUINART ROSE (NUE) 1CT X 375ML</c:v>
                </c:pt>
                <c:pt idx="9">
                  <c:v>MG RUINART ROSE SECOND SKIN 1CT X 1500ML</c:v>
                </c:pt>
                <c:pt idx="10">
                  <c:v>1/2 DEUTZ ROSE 1CT X 375ML</c:v>
                </c:pt>
              </c:strCache>
            </c:strRef>
          </c:cat>
          <c:val>
            <c:numRef>
              <c:f>Sheet1!$B$2:$B$12</c:f>
              <c:numCache>
                <c:formatCode>General</c:formatCode>
                <c:ptCount val="11"/>
                <c:pt idx="0">
                  <c:v>24.94</c:v>
                </c:pt>
                <c:pt idx="1">
                  <c:v>40.71</c:v>
                </c:pt>
                <c:pt idx="2">
                  <c:v>23.91</c:v>
                </c:pt>
                <c:pt idx="3">
                  <c:v>42.54</c:v>
                </c:pt>
                <c:pt idx="4">
                  <c:v>79.239999999999995</c:v>
                </c:pt>
                <c:pt idx="5">
                  <c:v>62.69</c:v>
                </c:pt>
                <c:pt idx="6">
                  <c:v>90.73</c:v>
                </c:pt>
                <c:pt idx="7">
                  <c:v>95.25</c:v>
                </c:pt>
                <c:pt idx="8">
                  <c:v>54.51</c:v>
                </c:pt>
                <c:pt idx="9">
                  <c:v>208.43</c:v>
                </c:pt>
                <c:pt idx="10">
                  <c:v>35.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20C-4328-BFBD-540559AB9413}"/>
                </c:ext>
              </c:extLst>
            </c:dLbl>
            <c:dLbl>
              <c:idx val="1"/>
              <c:tx>
                <c:rich>
                  <a:bodyPr/>
                  <a:lstStyle/>
                  <a:p>
                    <a:r>
                      <a:t>41.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20C-4328-BFBD-540559AB9413}"/>
                </c:ext>
              </c:extLst>
            </c:dLbl>
            <c:dLbl>
              <c:idx val="2"/>
              <c:tx>
                <c:rich>
                  <a:bodyPr/>
                  <a:lstStyle/>
                  <a:p>
                    <a:r>
                      <a:t>24.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20C-4328-BFBD-540559AB9413}"/>
                </c:ext>
              </c:extLst>
            </c:dLbl>
            <c:dLbl>
              <c:idx val="3"/>
              <c:tx>
                <c:rich>
                  <a:bodyPr/>
                  <a:lstStyle/>
                  <a:p>
                    <a:r>
                      <a:t>6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20C-4328-BFBD-540559AB9413}"/>
                </c:ext>
              </c:extLst>
            </c:dLbl>
            <c:dLbl>
              <c:idx val="4"/>
              <c:tx>
                <c:rich>
                  <a:bodyPr/>
                  <a:lstStyle/>
                  <a:p>
                    <a:r>
                      <a:t>90.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20C-4328-BFBD-540559AB9413}"/>
                </c:ext>
              </c:extLst>
            </c:dLbl>
            <c:dLbl>
              <c:idx val="5"/>
              <c:tx>
                <c:rich>
                  <a:bodyPr/>
                  <a:lstStyle/>
                  <a:p>
                    <a:r>
                      <a:t>95.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20C-4328-BFBD-540559AB9413}"/>
                </c:ext>
              </c:extLst>
            </c:dLbl>
            <c:dLbl>
              <c:idx val="6"/>
              <c:tx>
                <c:rich>
                  <a:bodyPr/>
                  <a:lstStyle/>
                  <a:p>
                    <a:r>
                      <a:t>38.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20C-4328-BFBD-540559AB9413}"/>
                </c:ext>
              </c:extLst>
            </c:dLbl>
            <c:dLbl>
              <c:idx val="7"/>
              <c:tx>
                <c:rich>
                  <a:bodyPr/>
                  <a:lstStyle/>
                  <a:p>
                    <a:r>
                      <a:t>3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20C-4328-BFBD-540559AB9413}"/>
                </c:ext>
              </c:extLst>
            </c:dLbl>
            <c:dLbl>
              <c:idx val="8"/>
              <c:tx>
                <c:rich>
                  <a:bodyPr/>
                  <a:lstStyle/>
                  <a:p>
                    <a:r>
                      <a:t>202.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20C-4328-BFBD-540559AB9413}"/>
                </c:ext>
              </c:extLst>
            </c:dLbl>
            <c:dLbl>
              <c:idx val="9"/>
              <c:tx>
                <c:rich>
                  <a:bodyPr/>
                  <a:lstStyle/>
                  <a:p>
                    <a:r>
                      <a:t>52.9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20C-4328-BFBD-540559AB941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ALARD ROSE 1ER CRU 1CT X 750ML</c:v>
                </c:pt>
                <c:pt idx="7">
                  <c:v>1/2 DEUTZ ROSE 1CT X 375ML</c:v>
                </c:pt>
                <c:pt idx="8">
                  <c:v>MG RUINART ROSE SECOND SKIN 1CT X 1500ML</c:v>
                </c:pt>
                <c:pt idx="9">
                  <c:v>1/2 RUINART ROSE (NUE) 1CT X 375ML</c:v>
                </c:pt>
              </c:strCache>
            </c:strRef>
          </c:cat>
          <c:val>
            <c:numRef>
              <c:f>Sheet1!$B$2:$B$11</c:f>
              <c:numCache>
                <c:formatCode>General</c:formatCode>
                <c:ptCount val="10"/>
                <c:pt idx="0">
                  <c:v>24.9</c:v>
                </c:pt>
                <c:pt idx="1">
                  <c:v>41.16</c:v>
                </c:pt>
                <c:pt idx="2">
                  <c:v>24.73</c:v>
                </c:pt>
                <c:pt idx="3">
                  <c:v>62</c:v>
                </c:pt>
                <c:pt idx="4">
                  <c:v>90.76</c:v>
                </c:pt>
                <c:pt idx="5">
                  <c:v>95.13</c:v>
                </c:pt>
                <c:pt idx="6">
                  <c:v>38.18</c:v>
                </c:pt>
                <c:pt idx="7">
                  <c:v>34.9</c:v>
                </c:pt>
                <c:pt idx="8">
                  <c:v>202.88</c:v>
                </c:pt>
                <c:pt idx="9">
                  <c:v>52.9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646-4869-96E8-F6E6A2C1C195}"/>
                </c:ext>
              </c:extLst>
            </c:dLbl>
            <c:dLbl>
              <c:idx val="1"/>
              <c:tx>
                <c:rich>
                  <a:bodyPr/>
                  <a:lstStyle/>
                  <a:p>
                    <a:r>
                      <a:t>41.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646-4869-96E8-F6E6A2C1C195}"/>
                </c:ext>
              </c:extLst>
            </c:dLbl>
            <c:dLbl>
              <c:idx val="2"/>
              <c:tx>
                <c:rich>
                  <a:bodyPr/>
                  <a:lstStyle/>
                  <a:p>
                    <a:r>
                      <a:t>24.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646-4869-96E8-F6E6A2C1C195}"/>
                </c:ext>
              </c:extLst>
            </c:dLbl>
            <c:dLbl>
              <c:idx val="3"/>
              <c:tx>
                <c:rich>
                  <a:bodyPr/>
                  <a:lstStyle/>
                  <a:p>
                    <a:r>
                      <a:t>62.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646-4869-96E8-F6E6A2C1C195}"/>
                </c:ext>
              </c:extLst>
            </c:dLbl>
            <c:dLbl>
              <c:idx val="4"/>
              <c:tx>
                <c:rich>
                  <a:bodyPr/>
                  <a:lstStyle/>
                  <a:p>
                    <a:r>
                      <a:t>90.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646-4869-96E8-F6E6A2C1C195}"/>
                </c:ext>
              </c:extLst>
            </c:dLbl>
            <c:dLbl>
              <c:idx val="5"/>
              <c:tx>
                <c:rich>
                  <a:bodyPr/>
                  <a:lstStyle/>
                  <a:p>
                    <a:r>
                      <a:t>95.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646-4869-96E8-F6E6A2C1C195}"/>
                </c:ext>
              </c:extLst>
            </c:dLbl>
            <c:dLbl>
              <c:idx val="6"/>
              <c:tx>
                <c:rich>
                  <a:bodyPr/>
                  <a:lstStyle/>
                  <a:p>
                    <a:r>
                      <a:t>225.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646-4869-96E8-F6E6A2C1C195}"/>
                </c:ext>
              </c:extLst>
            </c:dLbl>
            <c:dLbl>
              <c:idx val="7"/>
              <c:tx>
                <c:rich>
                  <a:bodyPr/>
                  <a:lstStyle/>
                  <a:p>
                    <a:r>
                      <a:t>55.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646-4869-96E8-F6E6A2C1C195}"/>
                </c:ext>
              </c:extLst>
            </c:dLbl>
            <c:dLbl>
              <c:idx val="8"/>
              <c:tx>
                <c:rich>
                  <a:bodyPr/>
                  <a:lstStyle/>
                  <a:p>
                    <a:r>
                      <a:t>35.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646-4869-96E8-F6E6A2C1C19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1/2 CHAMP NICOLAS ROSE 1E C BS 1CT X 375ML</c:v>
                </c:pt>
                <c:pt idx="3">
                  <c:v>DEUTZ ROSE 1CT X 750ML</c:v>
                </c:pt>
                <c:pt idx="4">
                  <c:v>RUINART ROSE (NUE) 1CT X 750ML</c:v>
                </c:pt>
                <c:pt idx="5">
                  <c:v>RUINART ROSE SECOND SKIN 1CT X 750ML</c:v>
                </c:pt>
                <c:pt idx="6">
                  <c:v>MG RUINART ROSE SECOND SKIN 1CT X 1500ML</c:v>
                </c:pt>
                <c:pt idx="7">
                  <c:v>1/2 RUINART ROSE (NUE) 1CT X 375ML</c:v>
                </c:pt>
                <c:pt idx="8">
                  <c:v>1/2 DEUTZ ROSE 1CT X 375ML</c:v>
                </c:pt>
              </c:strCache>
            </c:strRef>
          </c:cat>
          <c:val>
            <c:numRef>
              <c:f>Sheet1!$B$2:$B$10</c:f>
              <c:numCache>
                <c:formatCode>General</c:formatCode>
                <c:ptCount val="9"/>
                <c:pt idx="0">
                  <c:v>25.01</c:v>
                </c:pt>
                <c:pt idx="1">
                  <c:v>41.25</c:v>
                </c:pt>
                <c:pt idx="2">
                  <c:v>24.55</c:v>
                </c:pt>
                <c:pt idx="3">
                  <c:v>62.72</c:v>
                </c:pt>
                <c:pt idx="4">
                  <c:v>90.24</c:v>
                </c:pt>
                <c:pt idx="5">
                  <c:v>95.41</c:v>
                </c:pt>
                <c:pt idx="6">
                  <c:v>225.19</c:v>
                </c:pt>
                <c:pt idx="7">
                  <c:v>55.01</c:v>
                </c:pt>
                <c:pt idx="8">
                  <c:v>35.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869-46D2-8F80-EAB75308614A}"/>
                </c:ext>
              </c:extLst>
            </c:dLbl>
            <c:dLbl>
              <c:idx val="1"/>
              <c:tx>
                <c:rich>
                  <a:bodyPr/>
                  <a:lstStyle/>
                  <a:p>
                    <a:r>
                      <a:t>41.3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869-46D2-8F80-EAB75308614A}"/>
                </c:ext>
              </c:extLst>
            </c:dLbl>
            <c:dLbl>
              <c:idx val="2"/>
              <c:tx>
                <c:rich>
                  <a:bodyPr/>
                  <a:lstStyle/>
                  <a:p>
                    <a:r>
                      <a:t>23.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869-46D2-8F80-EAB75308614A}"/>
                </c:ext>
              </c:extLst>
            </c:dLbl>
            <c:dLbl>
              <c:idx val="3"/>
              <c:tx>
                <c:rich>
                  <a:bodyPr/>
                  <a:lstStyle/>
                  <a:p>
                    <a:r>
                      <a:t>90.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869-46D2-8F80-EAB75308614A}"/>
                </c:ext>
              </c:extLst>
            </c:dLbl>
            <c:dLbl>
              <c:idx val="4"/>
              <c:tx>
                <c:rich>
                  <a:bodyPr/>
                  <a:lstStyle/>
                  <a:p>
                    <a:r>
                      <a:t>62.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869-46D2-8F80-EAB75308614A}"/>
                </c:ext>
              </c:extLst>
            </c:dLbl>
            <c:dLbl>
              <c:idx val="5"/>
              <c:tx>
                <c:rich>
                  <a:bodyPr/>
                  <a:lstStyle/>
                  <a:p>
                    <a:r>
                      <a:t>96.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869-46D2-8F80-EAB75308614A}"/>
                </c:ext>
              </c:extLst>
            </c:dLbl>
            <c:dLbl>
              <c:idx val="6"/>
              <c:tx>
                <c:rich>
                  <a:bodyPr/>
                  <a:lstStyle/>
                  <a:p>
                    <a:r>
                      <a:t>215.2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869-46D2-8F80-EAB75308614A}"/>
                </c:ext>
              </c:extLst>
            </c:dLbl>
            <c:dLbl>
              <c:idx val="7"/>
              <c:tx>
                <c:rich>
                  <a:bodyPr/>
                  <a:lstStyle/>
                  <a:p>
                    <a:r>
                      <a:t>55.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869-46D2-8F80-EAB75308614A}"/>
                </c:ext>
              </c:extLst>
            </c:dLbl>
            <c:dLbl>
              <c:idx val="8"/>
              <c:tx>
                <c:rich>
                  <a:bodyPr/>
                  <a:lstStyle/>
                  <a:p>
                    <a:r>
                      <a:t>35.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869-46D2-8F80-EAB75308614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ROSE 1CT X 750ML</c:v>
                </c:pt>
                <c:pt idx="1">
                  <c:v>CHAMPAGNE NICOLAS ROSE 1ERE CU 1CT X 750ML</c:v>
                </c:pt>
                <c:pt idx="2">
                  <c:v>1/2 CHAMP NICOLAS ROSE 1E C BS 1CT X 375ML</c:v>
                </c:pt>
                <c:pt idx="3">
                  <c:v>RUINART ROSE (NUE) 1CT X 750ML</c:v>
                </c:pt>
                <c:pt idx="4">
                  <c:v>DEUTZ ROSE 1CT X 750ML</c:v>
                </c:pt>
                <c:pt idx="5">
                  <c:v>RUINART ROSE SECOND SKIN 1CT X 750ML</c:v>
                </c:pt>
                <c:pt idx="6">
                  <c:v>MG RUINART ROSE SECOND SKIN 1CT X 1500ML</c:v>
                </c:pt>
                <c:pt idx="7">
                  <c:v>1/2 RUINART ROSE (NUE) 1CT X 375ML</c:v>
                </c:pt>
                <c:pt idx="8">
                  <c:v>1/2 DEUTZ ROSE 1CT X 375ML</c:v>
                </c:pt>
              </c:strCache>
            </c:strRef>
          </c:cat>
          <c:val>
            <c:numRef>
              <c:f>Sheet1!$B$2:$B$10</c:f>
              <c:numCache>
                <c:formatCode>General</c:formatCode>
                <c:ptCount val="9"/>
                <c:pt idx="0">
                  <c:v>25.12</c:v>
                </c:pt>
                <c:pt idx="1">
                  <c:v>41.31</c:v>
                </c:pt>
                <c:pt idx="2">
                  <c:v>23.86</c:v>
                </c:pt>
                <c:pt idx="3">
                  <c:v>90.15</c:v>
                </c:pt>
                <c:pt idx="4">
                  <c:v>62.57</c:v>
                </c:pt>
                <c:pt idx="5">
                  <c:v>96.55</c:v>
                </c:pt>
                <c:pt idx="6">
                  <c:v>215.22</c:v>
                </c:pt>
                <c:pt idx="7">
                  <c:v>55.84</c:v>
                </c:pt>
                <c:pt idx="8">
                  <c:v>35.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E85-47C9-BEF3-79E08AFF3BF8}"/>
                </c:ext>
              </c:extLst>
            </c:dLbl>
            <c:dLbl>
              <c:idx val="1"/>
              <c:tx>
                <c:rich>
                  <a:bodyPr/>
                  <a:lstStyle/>
                  <a:p>
                    <a:r>
                      <a:rPr lang="en-CH"/>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E85-47C9-BEF3-79E08AFF3BF8}"/>
                </c:ext>
              </c:extLst>
            </c:dLbl>
            <c:dLbl>
              <c:idx val="2"/>
              <c:tx>
                <c:rich>
                  <a:bodyPr/>
                  <a:lstStyle/>
                  <a:p>
                    <a:r>
                      <a:rPr lang="en-CH"/>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E85-47C9-BEF3-79E08AFF3BF8}"/>
                </c:ext>
              </c:extLst>
            </c:dLbl>
            <c:dLbl>
              <c:idx val="3"/>
              <c:tx>
                <c:rich>
                  <a:bodyPr/>
                  <a:lstStyle/>
                  <a:p>
                    <a:r>
                      <a:rPr lang="en-CH"/>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E85-47C9-BEF3-79E08AFF3BF8}"/>
                </c:ext>
              </c:extLst>
            </c:dLbl>
            <c:dLbl>
              <c:idx val="4"/>
              <c:tx>
                <c:rich>
                  <a:bodyPr/>
                  <a:lstStyle/>
                  <a:p>
                    <a:r>
                      <a:rPr lang="en-CH"/>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E85-47C9-BEF3-79E08AFF3BF8}"/>
                </c:ext>
              </c:extLst>
            </c:dLbl>
            <c:dLbl>
              <c:idx val="5"/>
              <c:tx>
                <c:rich>
                  <a:bodyPr/>
                  <a:lstStyle/>
                  <a:p>
                    <a:r>
                      <a:rPr lang="en-CH"/>
                      <a:t>4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E85-47C9-BEF3-79E08AFF3BF8}"/>
                </c:ext>
              </c:extLst>
            </c:dLbl>
            <c:dLbl>
              <c:idx val="6"/>
              <c:tx>
                <c:rich>
                  <a:bodyPr/>
                  <a:lstStyle/>
                  <a:p>
                    <a:r>
                      <a:rPr lang="en-CH"/>
                      <a:t>4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E85-47C9-BEF3-79E08AFF3BF8}"/>
                </c:ext>
              </c:extLst>
            </c:dLbl>
            <c:dLbl>
              <c:idx val="7"/>
              <c:tx>
                <c:rich>
                  <a:bodyPr/>
                  <a:lstStyle/>
                  <a:p>
                    <a:r>
                      <a:rPr lang="en-CH"/>
                      <a:t>8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E85-47C9-BEF3-79E08AFF3BF8}"/>
                </c:ext>
              </c:extLst>
            </c:dLbl>
            <c:dLbl>
              <c:idx val="8"/>
              <c:tx>
                <c:rich>
                  <a:bodyPr/>
                  <a:lstStyle/>
                  <a:p>
                    <a:r>
                      <a:rPr lang="en-CH"/>
                      <a:t>4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E85-47C9-BEF3-79E08AFF3BF8}"/>
                </c:ext>
              </c:extLst>
            </c:dLbl>
            <c:dLbl>
              <c:idx val="9"/>
              <c:tx>
                <c:rich>
                  <a:bodyPr/>
                  <a:lstStyle/>
                  <a:p>
                    <a:r>
                      <a:rPr lang="en-CH"/>
                      <a:t>23.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E85-47C9-BEF3-79E08AFF3BF8}"/>
                </c:ext>
              </c:extLst>
            </c:dLbl>
            <c:dLbl>
              <c:idx val="10"/>
              <c:tx>
                <c:rich>
                  <a:bodyPr/>
                  <a:lstStyle/>
                  <a:p>
                    <a:r>
                      <a:rPr lang="en-CH"/>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E85-47C9-BEF3-79E08AFF3BF8}"/>
                </c:ext>
              </c:extLst>
            </c:dLbl>
            <c:dLbl>
              <c:idx val="11"/>
              <c:tx>
                <c:rich>
                  <a:bodyPr/>
                  <a:lstStyle/>
                  <a:p>
                    <a:r>
                      <a:rPr lang="en-CH"/>
                      <a:t>3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E85-47C9-BEF3-79E08AFF3BF8}"/>
                </c:ext>
              </c:extLst>
            </c:dLbl>
            <c:dLbl>
              <c:idx val="12"/>
              <c:tx>
                <c:rich>
                  <a:bodyPr/>
                  <a:lstStyle/>
                  <a:p>
                    <a:r>
                      <a:rPr lang="en-CH"/>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E85-47C9-BEF3-79E08AFF3BF8}"/>
                </c:ext>
              </c:extLst>
            </c:dLbl>
            <c:dLbl>
              <c:idx val="13"/>
              <c:tx>
                <c:rich>
                  <a:bodyPr/>
                  <a:lstStyle/>
                  <a:p>
                    <a:r>
                      <a:rPr lang="en-CH"/>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E85-47C9-BEF3-79E08AFF3BF8}"/>
                </c:ext>
              </c:extLst>
            </c:dLbl>
            <c:dLbl>
              <c:idx val="14"/>
              <c:tx>
                <c:rich>
                  <a:bodyPr/>
                  <a:lstStyle/>
                  <a:p>
                    <a:r>
                      <a:rPr lang="en-CH"/>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E85-47C9-BEF3-79E08AFF3BF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strCache>
            </c:strRef>
          </c:cat>
          <c:val>
            <c:numRef>
              <c:f>Sheet1!$B$2:$B$16</c:f>
              <c:numCache>
                <c:formatCode>General</c:formatCode>
                <c:ptCount val="15"/>
                <c:pt idx="0">
                  <c:v>21.89</c:v>
                </c:pt>
                <c:pt idx="1">
                  <c:v>39.090000000000003</c:v>
                </c:pt>
                <c:pt idx="2">
                  <c:v>24.94</c:v>
                </c:pt>
                <c:pt idx="3">
                  <c:v>37.32</c:v>
                </c:pt>
                <c:pt idx="4">
                  <c:v>22.41</c:v>
                </c:pt>
                <c:pt idx="5">
                  <c:v>46.95</c:v>
                </c:pt>
                <c:pt idx="6">
                  <c:v>41.15</c:v>
                </c:pt>
                <c:pt idx="7">
                  <c:v>87.16</c:v>
                </c:pt>
                <c:pt idx="8">
                  <c:v>46.14</c:v>
                </c:pt>
                <c:pt idx="9">
                  <c:v>23.79</c:v>
                </c:pt>
                <c:pt idx="10">
                  <c:v>24.16</c:v>
                </c:pt>
                <c:pt idx="11">
                  <c:v>36.409999999999997</c:v>
                </c:pt>
                <c:pt idx="12">
                  <c:v>69.91</c:v>
                </c:pt>
                <c:pt idx="13">
                  <c:v>36.93</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5.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B1C-47C1-852D-63A4DE27A86C}"/>
                </c:ext>
              </c:extLst>
            </c:dLbl>
            <c:dLbl>
              <c:idx val="1"/>
              <c:tx>
                <c:rich>
                  <a:bodyPr/>
                  <a:lstStyle/>
                  <a:p>
                    <a:r>
                      <a:rPr lang="en-CH"/>
                      <a:t>42.6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B1C-47C1-852D-63A4DE27A86C}"/>
                </c:ext>
              </c:extLst>
            </c:dLbl>
            <c:dLbl>
              <c:idx val="2"/>
              <c:tx>
                <c:rich>
                  <a:bodyPr/>
                  <a:lstStyle/>
                  <a:p>
                    <a:r>
                      <a:rPr lang="en-CH"/>
                      <a:t>24.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B1C-47C1-852D-63A4DE27A86C}"/>
                </c:ext>
              </c:extLst>
            </c:dLbl>
            <c:dLbl>
              <c:idx val="3"/>
              <c:tx>
                <c:rich>
                  <a:bodyPr/>
                  <a:lstStyle/>
                  <a:p>
                    <a:r>
                      <a:rPr lang="en-CH"/>
                      <a:t>42.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B1C-47C1-852D-63A4DE27A86C}"/>
                </c:ext>
              </c:extLst>
            </c:dLbl>
            <c:dLbl>
              <c:idx val="4"/>
              <c:tx>
                <c:rich>
                  <a:bodyPr/>
                  <a:lstStyle/>
                  <a:p>
                    <a:r>
                      <a:rPr lang="en-CH"/>
                      <a:t>90.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B1C-47C1-852D-63A4DE27A86C}"/>
                </c:ext>
              </c:extLst>
            </c:dLbl>
            <c:dLbl>
              <c:idx val="5"/>
              <c:tx>
                <c:rich>
                  <a:bodyPr/>
                  <a:lstStyle/>
                  <a:p>
                    <a:r>
                      <a:rPr lang="en-CH"/>
                      <a:t>62.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B1C-47C1-852D-63A4DE27A86C}"/>
                </c:ext>
              </c:extLst>
            </c:dLbl>
            <c:dLbl>
              <c:idx val="6"/>
              <c:tx>
                <c:rich>
                  <a:bodyPr/>
                  <a:lstStyle/>
                  <a:p>
                    <a:r>
                      <a:rPr lang="en-CH"/>
                      <a:t>94.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B1C-47C1-852D-63A4DE27A86C}"/>
                </c:ext>
              </c:extLst>
            </c:dLbl>
            <c:dLbl>
              <c:idx val="7"/>
              <c:tx>
                <c:rich>
                  <a:bodyPr/>
                  <a:lstStyle/>
                  <a:p>
                    <a:r>
                      <a:rPr lang="en-CH"/>
                      <a:t>37.7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B1C-47C1-852D-63A4DE27A86C}"/>
                </c:ext>
              </c:extLst>
            </c:dLbl>
            <c:dLbl>
              <c:idx val="8"/>
              <c:tx>
                <c:rich>
                  <a:bodyPr/>
                  <a:lstStyle/>
                  <a:p>
                    <a:r>
                      <a:rPr lang="en-CH"/>
                      <a:t>254.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B1C-47C1-852D-63A4DE27A86C}"/>
                </c:ext>
              </c:extLst>
            </c:dLbl>
            <c:dLbl>
              <c:idx val="9"/>
              <c:tx>
                <c:rich>
                  <a:bodyPr/>
                  <a:lstStyle/>
                  <a:p>
                    <a:r>
                      <a:rPr lang="en-CH"/>
                      <a:t>53.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B1C-47C1-852D-63A4DE27A86C}"/>
                </c:ext>
              </c:extLst>
            </c:dLbl>
            <c:dLbl>
              <c:idx val="10"/>
              <c:tx>
                <c:rich>
                  <a:bodyPr/>
                  <a:lstStyle/>
                  <a:p>
                    <a:r>
                      <a:rPr lang="en-CH"/>
                      <a:t>34.9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B1C-47C1-852D-63A4DE27A86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ROSE 1CT X 750ML</c:v>
                </c:pt>
                <c:pt idx="1">
                  <c:v>CHAMPAGNE NICOLAS ROSE 1ERE CU 1CT X 750ML</c:v>
                </c:pt>
                <c:pt idx="2">
                  <c:v>1/2 CHAMP NICOLAS ROSE 1E C BS 1CT X 375ML</c:v>
                </c:pt>
                <c:pt idx="3">
                  <c:v>CHAMPAGNE NICOLAS ROSE 1E C BS 1CT X 750ML</c:v>
                </c:pt>
                <c:pt idx="4">
                  <c:v>RUINART ROSE (NUE) 1CT X 750ML</c:v>
                </c:pt>
                <c:pt idx="5">
                  <c:v>DEUTZ ROSE 1CT X 750ML</c:v>
                </c:pt>
                <c:pt idx="6">
                  <c:v>RUINART ROSE SECOND SKIN 1CT X 750ML</c:v>
                </c:pt>
                <c:pt idx="7">
                  <c:v>MALARD ROSE 1ER CRU 1CT X 750ML</c:v>
                </c:pt>
                <c:pt idx="8">
                  <c:v>MG RUINART ROSE SECOND SKIN 1CT X 1500ML</c:v>
                </c:pt>
                <c:pt idx="9">
                  <c:v>1/2 RUINART ROSE (NUE) 1CT X 375ML</c:v>
                </c:pt>
                <c:pt idx="10">
                  <c:v>1/2 DEUTZ ROSE 1CT X 375ML</c:v>
                </c:pt>
              </c:strCache>
            </c:strRef>
          </c:cat>
          <c:val>
            <c:numRef>
              <c:f>Sheet1!$B$2:$B$12</c:f>
              <c:numCache>
                <c:formatCode>General</c:formatCode>
                <c:ptCount val="11"/>
                <c:pt idx="0">
                  <c:v>25.05</c:v>
                </c:pt>
                <c:pt idx="1">
                  <c:v>42.65</c:v>
                </c:pt>
                <c:pt idx="2">
                  <c:v>24.16</c:v>
                </c:pt>
                <c:pt idx="3">
                  <c:v>42.19</c:v>
                </c:pt>
                <c:pt idx="4">
                  <c:v>90.67</c:v>
                </c:pt>
                <c:pt idx="5">
                  <c:v>62.05</c:v>
                </c:pt>
                <c:pt idx="6">
                  <c:v>94.24</c:v>
                </c:pt>
                <c:pt idx="7">
                  <c:v>37.75</c:v>
                </c:pt>
                <c:pt idx="8">
                  <c:v>254.61</c:v>
                </c:pt>
                <c:pt idx="9">
                  <c:v>53.71</c:v>
                </c:pt>
                <c:pt idx="10">
                  <c:v>34.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Mdd</c:v>
                </c:pt>
                <c:pt idx="2">
                  <c:v>All Others</c:v>
                </c:pt>
                <c:pt idx="3">
                  <c:v>Nicolas Feuillatte</c:v>
                </c:pt>
                <c:pt idx="4">
                  <c:v>Mumm</c:v>
                </c:pt>
                <c:pt idx="5">
                  <c:v>Charles Volner</c:v>
                </c:pt>
                <c:pt idx="6">
                  <c:v>Canard Duchêne</c:v>
                </c:pt>
                <c:pt idx="7">
                  <c:v>Freixenet</c:v>
                </c:pt>
                <c:pt idx="8">
                  <c:v>Wolfberger</c:v>
                </c:pt>
              </c:strCache>
            </c:strRef>
          </c:cat>
          <c:val>
            <c:numRef>
              <c:f>Sheet1!$B$2:$B$10</c:f>
              <c:numCache>
                <c:formatCode>General</c:formatCode>
                <c:ptCount val="9"/>
                <c:pt idx="0">
                  <c:v>58.954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Mdd</c:v>
                </c:pt>
                <c:pt idx="2">
                  <c:v>All Others</c:v>
                </c:pt>
                <c:pt idx="3">
                  <c:v>Nicolas Feuillatte</c:v>
                </c:pt>
                <c:pt idx="4">
                  <c:v>Mumm</c:v>
                </c:pt>
                <c:pt idx="5">
                  <c:v>Charles Volner</c:v>
                </c:pt>
                <c:pt idx="6">
                  <c:v>Canard Duchêne</c:v>
                </c:pt>
                <c:pt idx="7">
                  <c:v>Freixenet</c:v>
                </c:pt>
                <c:pt idx="8">
                  <c:v>Wolfberger</c:v>
                </c:pt>
              </c:strCache>
            </c:strRef>
          </c:cat>
          <c:val>
            <c:numRef>
              <c:f>Sheet1!$C$2:$C$10</c:f>
              <c:numCache>
                <c:formatCode>General</c:formatCode>
                <c:ptCount val="9"/>
                <c:pt idx="0">
                  <c:v>22.9845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Mdd</c:v>
                </c:pt>
                <c:pt idx="2">
                  <c:v>All Others</c:v>
                </c:pt>
                <c:pt idx="3">
                  <c:v>Nicolas Feuillatte</c:v>
                </c:pt>
                <c:pt idx="4">
                  <c:v>Mumm</c:v>
                </c:pt>
                <c:pt idx="5">
                  <c:v>Charles Volner</c:v>
                </c:pt>
                <c:pt idx="6">
                  <c:v>Canard Duchêne</c:v>
                </c:pt>
                <c:pt idx="7">
                  <c:v>Freixenet</c:v>
                </c:pt>
                <c:pt idx="8">
                  <c:v>Wolfberger</c:v>
                </c:pt>
              </c:strCache>
            </c:strRef>
          </c:cat>
          <c:val>
            <c:numRef>
              <c:f>Sheet1!$D$2:$D$10</c:f>
              <c:numCache>
                <c:formatCode>General</c:formatCode>
                <c:ptCount val="9"/>
                <c:pt idx="0">
                  <c:v>23.098600000000001</c:v>
                </c:pt>
                <c:pt idx="1">
                  <c:v>4.3935000000000004</c:v>
                </c:pt>
                <c:pt idx="2">
                  <c:v>9.8603000000000005</c:v>
                </c:pt>
                <c:pt idx="3">
                  <c:v>24.735299999999999</c:v>
                </c:pt>
                <c:pt idx="4">
                  <c:v>30.5504</c:v>
                </c:pt>
                <c:pt idx="5">
                  <c:v>4.1239999999999997</c:v>
                </c:pt>
                <c:pt idx="6">
                  <c:v>26.584</c:v>
                </c:pt>
                <c:pt idx="7">
                  <c:v>5.8185000000000002</c:v>
                </c:pt>
                <c:pt idx="8">
                  <c:v>7.082900000000000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Laurent Perrier</c:v>
                </c:pt>
                <c:pt idx="5">
                  <c:v>Malard</c:v>
                </c:pt>
                <c:pt idx="6">
                  <c:v>Nicolas Feuillatte</c:v>
                </c:pt>
                <c:pt idx="7">
                  <c:v>Heidsieck &amp; Co Monopole</c:v>
                </c:pt>
                <c:pt idx="8">
                  <c:v>Roederer</c:v>
                </c:pt>
              </c:strCache>
            </c:strRef>
          </c:cat>
          <c:val>
            <c:numRef>
              <c:f>Sheet1!$B$2:$B$10</c:f>
              <c:numCache>
                <c:formatCode>General</c:formatCode>
                <c:ptCount val="9"/>
                <c:pt idx="0">
                  <c:v>60.532499999999999</c:v>
                </c:pt>
                <c:pt idx="1">
                  <c:v>166.38390000000001</c:v>
                </c:pt>
                <c:pt idx="2">
                  <c:v>93.426900000000003</c:v>
                </c:pt>
                <c:pt idx="4">
                  <c:v>85.9153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Laurent Perrier</c:v>
                </c:pt>
                <c:pt idx="5">
                  <c:v>Malard</c:v>
                </c:pt>
                <c:pt idx="6">
                  <c:v>Nicolas Feuillatte</c:v>
                </c:pt>
                <c:pt idx="7">
                  <c:v>Heidsieck &amp; Co Monopole</c:v>
                </c:pt>
                <c:pt idx="8">
                  <c:v>Roederer</c:v>
                </c:pt>
              </c:strCache>
            </c:strRef>
          </c:cat>
          <c:val>
            <c:numRef>
              <c:f>Sheet1!$C$2:$C$10</c:f>
              <c:numCache>
                <c:formatCode>General</c:formatCode>
                <c:ptCount val="9"/>
                <c:pt idx="0">
                  <c:v>23.205300000000001</c:v>
                </c:pt>
                <c:pt idx="1">
                  <c:v>45.7502</c:v>
                </c:pt>
                <c:pt idx="2">
                  <c:v>28.1152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Laurent Perrier</c:v>
                </c:pt>
                <c:pt idx="5">
                  <c:v>Malard</c:v>
                </c:pt>
                <c:pt idx="6">
                  <c:v>Nicolas Feuillatte</c:v>
                </c:pt>
                <c:pt idx="7">
                  <c:v>Heidsieck &amp; Co Monopole</c:v>
                </c:pt>
                <c:pt idx="8">
                  <c:v>Roederer</c:v>
                </c:pt>
              </c:strCache>
            </c:strRef>
          </c:cat>
          <c:val>
            <c:numRef>
              <c:f>Sheet1!$D$2:$D$10</c:f>
              <c:numCache>
                <c:formatCode>General</c:formatCode>
                <c:ptCount val="9"/>
                <c:pt idx="0">
                  <c:v>23.150099999999998</c:v>
                </c:pt>
                <c:pt idx="1">
                  <c:v>67.467299999999994</c:v>
                </c:pt>
                <c:pt idx="2">
                  <c:v>48.531300000000002</c:v>
                </c:pt>
                <c:pt idx="3">
                  <c:v>15.7791</c:v>
                </c:pt>
                <c:pt idx="4">
                  <c:v>48.428899999999999</c:v>
                </c:pt>
                <c:pt idx="5">
                  <c:v>31.569299999999998</c:v>
                </c:pt>
                <c:pt idx="6">
                  <c:v>31.9069</c:v>
                </c:pt>
                <c:pt idx="7">
                  <c:v>29.266200000000001</c:v>
                </c:pt>
                <c:pt idx="8">
                  <c:v>81.9185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ll Others</c:v>
                </c:pt>
                <c:pt idx="2">
                  <c:v>Nicolas Feuillatte</c:v>
                </c:pt>
                <c:pt idx="3">
                  <c:v>Mumm</c:v>
                </c:pt>
                <c:pt idx="4">
                  <c:v>Charles Volner</c:v>
                </c:pt>
                <c:pt idx="5">
                  <c:v>Canard Duchêne</c:v>
                </c:pt>
                <c:pt idx="6">
                  <c:v>Freixenet</c:v>
                </c:pt>
                <c:pt idx="7">
                  <c:v>Wolfberger</c:v>
                </c:pt>
                <c:pt idx="8">
                  <c:v>Alfred De Rothschild</c:v>
                </c:pt>
              </c:strCache>
            </c:strRef>
          </c:cat>
          <c:val>
            <c:numRef>
              <c:f>Sheet1!$B$2:$B$10</c:f>
              <c:numCache>
                <c:formatCode>General</c:formatCode>
                <c:ptCount val="9"/>
                <c:pt idx="2">
                  <c:v>29.7946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Mdd</c:v>
                </c:pt>
                <c:pt idx="1">
                  <c:v>All Others</c:v>
                </c:pt>
                <c:pt idx="2">
                  <c:v>Nicolas Feuillatte</c:v>
                </c:pt>
                <c:pt idx="3">
                  <c:v>Mumm</c:v>
                </c:pt>
                <c:pt idx="4">
                  <c:v>Charles Volner</c:v>
                </c:pt>
                <c:pt idx="5">
                  <c:v>Canard Duchêne</c:v>
                </c:pt>
                <c:pt idx="6">
                  <c:v>Freixenet</c:v>
                </c:pt>
                <c:pt idx="7">
                  <c:v>Wolfberger</c:v>
                </c:pt>
                <c:pt idx="8">
                  <c:v>Alfred De Rothschild</c:v>
                </c:pt>
              </c:strCache>
            </c:strRef>
          </c:cat>
          <c:val>
            <c:numRef>
              <c:f>Sheet1!$C$2:$C$10</c:f>
              <c:numCache>
                <c:formatCode>General</c:formatCode>
                <c:ptCount val="9"/>
                <c:pt idx="0">
                  <c:v>4.3935000000000004</c:v>
                </c:pt>
                <c:pt idx="1">
                  <c:v>9.7611000000000008</c:v>
                </c:pt>
                <c:pt idx="2">
                  <c:v>24.584700000000002</c:v>
                </c:pt>
                <c:pt idx="3">
                  <c:v>30.5503</c:v>
                </c:pt>
                <c:pt idx="4">
                  <c:v>4.1239999999999997</c:v>
                </c:pt>
                <c:pt idx="5">
                  <c:v>26.453299999999999</c:v>
                </c:pt>
                <c:pt idx="6">
                  <c:v>5.8185000000000002</c:v>
                </c:pt>
                <c:pt idx="7">
                  <c:v>7.0829000000000004</c:v>
                </c:pt>
                <c:pt idx="8">
                  <c:v>24.0187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All Others</c:v>
                </c:pt>
                <c:pt idx="5">
                  <c:v>Laurent Perrier</c:v>
                </c:pt>
                <c:pt idx="6">
                  <c:v>Nicolas Feuillatte</c:v>
                </c:pt>
                <c:pt idx="7">
                  <c:v>Heidsieck &amp; Co Monopole</c:v>
                </c:pt>
                <c:pt idx="8">
                  <c:v>Ayala</c:v>
                </c:pt>
              </c:strCache>
            </c:strRef>
          </c:cat>
          <c:val>
            <c:numRef>
              <c:f>Sheet1!$B$2:$B$10</c:f>
              <c:numCache>
                <c:formatCode>General</c:formatCode>
                <c:ptCount val="9"/>
                <c:pt idx="0">
                  <c:v>59.941000000000003</c:v>
                </c:pt>
                <c:pt idx="1">
                  <c:v>161.54750000000001</c:v>
                </c:pt>
                <c:pt idx="2">
                  <c:v>93.283699999999996</c:v>
                </c:pt>
                <c:pt idx="5">
                  <c:v>85.0554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All Others</c:v>
                </c:pt>
                <c:pt idx="5">
                  <c:v>Laurent Perrier</c:v>
                </c:pt>
                <c:pt idx="6">
                  <c:v>Nicolas Feuillatte</c:v>
                </c:pt>
                <c:pt idx="7">
                  <c:v>Heidsieck &amp; Co Monopole</c:v>
                </c:pt>
                <c:pt idx="8">
                  <c:v>Ayala</c:v>
                </c:pt>
              </c:strCache>
            </c:strRef>
          </c:cat>
          <c:val>
            <c:numRef>
              <c:f>Sheet1!$C$2:$C$10</c:f>
              <c:numCache>
                <c:formatCode>General</c:formatCode>
                <c:ptCount val="9"/>
                <c:pt idx="0">
                  <c:v>22.932500000000001</c:v>
                </c:pt>
                <c:pt idx="1">
                  <c:v>43.898800000000001</c:v>
                </c:pt>
                <c:pt idx="2">
                  <c:v>27.7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All Others</c:v>
                </c:pt>
                <c:pt idx="5">
                  <c:v>Laurent Perrier</c:v>
                </c:pt>
                <c:pt idx="6">
                  <c:v>Nicolas Feuillatte</c:v>
                </c:pt>
                <c:pt idx="7">
                  <c:v>Heidsieck &amp; Co Monopole</c:v>
                </c:pt>
                <c:pt idx="8">
                  <c:v>Ayala</c:v>
                </c:pt>
              </c:strCache>
            </c:strRef>
          </c:cat>
          <c:val>
            <c:numRef>
              <c:f>Sheet1!$D$2:$D$10</c:f>
              <c:numCache>
                <c:formatCode>General</c:formatCode>
                <c:ptCount val="9"/>
                <c:pt idx="0">
                  <c:v>23.158100000000001</c:v>
                </c:pt>
                <c:pt idx="1">
                  <c:v>65.331299999999999</c:v>
                </c:pt>
                <c:pt idx="2">
                  <c:v>47.951700000000002</c:v>
                </c:pt>
                <c:pt idx="3">
                  <c:v>31.455500000000001</c:v>
                </c:pt>
                <c:pt idx="4">
                  <c:v>15.365</c:v>
                </c:pt>
                <c:pt idx="5">
                  <c:v>47.179400000000001</c:v>
                </c:pt>
                <c:pt idx="6">
                  <c:v>31.805499999999999</c:v>
                </c:pt>
                <c:pt idx="7">
                  <c:v>29.3154</c:v>
                </c:pt>
                <c:pt idx="8">
                  <c:v>38.49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De Bligny</c:v>
                </c:pt>
                <c:pt idx="8">
                  <c:v>Canard Duchêne</c:v>
                </c:pt>
              </c:strCache>
            </c:strRef>
          </c:cat>
          <c:val>
            <c:numRef>
              <c:f>Sheet1!$B$2:$B$10</c:f>
              <c:numCache>
                <c:formatCode>General</c:formatCode>
                <c:ptCount val="9"/>
                <c:pt idx="0">
                  <c:v>61.007199999999997</c:v>
                </c:pt>
                <c:pt idx="1">
                  <c:v>167.47640000000001</c:v>
                </c:pt>
                <c:pt idx="2">
                  <c:v>92.314700000000002</c:v>
                </c:pt>
                <c:pt idx="5">
                  <c:v>84.3824999999999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De Bligny</c:v>
                </c:pt>
                <c:pt idx="8">
                  <c:v>Canard Duchêne</c:v>
                </c:pt>
              </c:strCache>
            </c:strRef>
          </c:cat>
          <c:val>
            <c:numRef>
              <c:f>Sheet1!$C$2:$C$10</c:f>
              <c:numCache>
                <c:formatCode>General</c:formatCode>
                <c:ptCount val="9"/>
                <c:pt idx="0">
                  <c:v>23.1191</c:v>
                </c:pt>
                <c:pt idx="1">
                  <c:v>44.7242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De Bligny</c:v>
                </c:pt>
                <c:pt idx="8">
                  <c:v>Canard Duchêne</c:v>
                </c:pt>
              </c:strCache>
            </c:strRef>
          </c:cat>
          <c:val>
            <c:numRef>
              <c:f>Sheet1!$D$2:$D$10</c:f>
              <c:numCache>
                <c:formatCode>General</c:formatCode>
                <c:ptCount val="9"/>
                <c:pt idx="0">
                  <c:v>23.174099999999999</c:v>
                </c:pt>
                <c:pt idx="1">
                  <c:v>67.610100000000003</c:v>
                </c:pt>
                <c:pt idx="2">
                  <c:v>48.887300000000003</c:v>
                </c:pt>
                <c:pt idx="3">
                  <c:v>17.033300000000001</c:v>
                </c:pt>
                <c:pt idx="4">
                  <c:v>31.532399999999999</c:v>
                </c:pt>
                <c:pt idx="5">
                  <c:v>48.268700000000003</c:v>
                </c:pt>
                <c:pt idx="6">
                  <c:v>31.719799999999999</c:v>
                </c:pt>
                <c:pt idx="7">
                  <c:v>30.627700000000001</c:v>
                </c:pt>
                <c:pt idx="8">
                  <c:v>30.3396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Taittinger</c:v>
                </c:pt>
              </c:strCache>
            </c:strRef>
          </c:cat>
          <c:val>
            <c:numRef>
              <c:f>Sheet1!$B$2:$B$10</c:f>
              <c:numCache>
                <c:formatCode>General</c:formatCode>
                <c:ptCount val="9"/>
                <c:pt idx="0">
                  <c:v>60.507800000000003</c:v>
                </c:pt>
                <c:pt idx="1">
                  <c:v>168.6309</c:v>
                </c:pt>
                <c:pt idx="2">
                  <c:v>94.390699999999995</c:v>
                </c:pt>
                <c:pt idx="3">
                  <c:v>85.206199999999995</c:v>
                </c:pt>
                <c:pt idx="6">
                  <c:v>169.26580000000001</c:v>
                </c:pt>
                <c:pt idx="8">
                  <c:v>92.04399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Taittinger</c:v>
                </c:pt>
              </c:strCache>
            </c:strRef>
          </c:cat>
          <c:val>
            <c:numRef>
              <c:f>Sheet1!$C$2:$C$10</c:f>
              <c:numCache>
                <c:formatCode>General</c:formatCode>
                <c:ptCount val="9"/>
                <c:pt idx="0">
                  <c:v>23.174800000000001</c:v>
                </c:pt>
                <c:pt idx="1">
                  <c:v>45.578699999999998</c:v>
                </c:pt>
                <c:pt idx="2">
                  <c:v>28.2732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Taittinger</c:v>
                </c:pt>
              </c:strCache>
            </c:strRef>
          </c:cat>
          <c:val>
            <c:numRef>
              <c:f>Sheet1!$D$2:$D$10</c:f>
              <c:numCache>
                <c:formatCode>General</c:formatCode>
                <c:ptCount val="9"/>
                <c:pt idx="0">
                  <c:v>23.056100000000001</c:v>
                </c:pt>
                <c:pt idx="1">
                  <c:v>68.409099999999995</c:v>
                </c:pt>
                <c:pt idx="2">
                  <c:v>49.268999999999998</c:v>
                </c:pt>
                <c:pt idx="3">
                  <c:v>49.892000000000003</c:v>
                </c:pt>
                <c:pt idx="4">
                  <c:v>17.6936</c:v>
                </c:pt>
                <c:pt idx="5">
                  <c:v>31.674299999999999</c:v>
                </c:pt>
                <c:pt idx="6">
                  <c:v>85.2012</c:v>
                </c:pt>
                <c:pt idx="7">
                  <c:v>32.428699999999999</c:v>
                </c:pt>
                <c:pt idx="8">
                  <c:v>50.3639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Roederer</c:v>
                </c:pt>
                <c:pt idx="5">
                  <c:v>Malard</c:v>
                </c:pt>
                <c:pt idx="6">
                  <c:v>Nicolas Feuillatte</c:v>
                </c:pt>
                <c:pt idx="7">
                  <c:v>All Others</c:v>
                </c:pt>
                <c:pt idx="8">
                  <c:v>Dom Perignon</c:v>
                </c:pt>
              </c:strCache>
            </c:strRef>
          </c:cat>
          <c:val>
            <c:numRef>
              <c:f>Sheet1!$B$2:$B$10</c:f>
              <c:numCache>
                <c:formatCode>General</c:formatCode>
                <c:ptCount val="9"/>
                <c:pt idx="0">
                  <c:v>61.083300000000001</c:v>
                </c:pt>
                <c:pt idx="1">
                  <c:v>169.1404</c:v>
                </c:pt>
                <c:pt idx="2">
                  <c:v>93.687899999999999</c:v>
                </c:pt>
                <c:pt idx="3">
                  <c:v>86.734499999999997</c:v>
                </c:pt>
                <c:pt idx="4">
                  <c:v>182.6706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Malard</c:v>
                </c:pt>
                <c:pt idx="6">
                  <c:v>Nicolas Feuillatte</c:v>
                </c:pt>
                <c:pt idx="7">
                  <c:v>All Others</c:v>
                </c:pt>
                <c:pt idx="8">
                  <c:v>Dom Perignon</c:v>
                </c:pt>
              </c:strCache>
            </c:strRef>
          </c:cat>
          <c:val>
            <c:numRef>
              <c:f>Sheet1!$C$2:$C$10</c:f>
              <c:numCache>
                <c:formatCode>General</c:formatCode>
                <c:ptCount val="9"/>
                <c:pt idx="0">
                  <c:v>23.564699999999998</c:v>
                </c:pt>
                <c:pt idx="1">
                  <c:v>47.1332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Malard</c:v>
                </c:pt>
                <c:pt idx="6">
                  <c:v>Nicolas Feuillatte</c:v>
                </c:pt>
                <c:pt idx="7">
                  <c:v>All Others</c:v>
                </c:pt>
                <c:pt idx="8">
                  <c:v>Dom Perignon</c:v>
                </c:pt>
              </c:strCache>
            </c:strRef>
          </c:cat>
          <c:val>
            <c:numRef>
              <c:f>Sheet1!$D$2:$D$10</c:f>
              <c:numCache>
                <c:formatCode>General</c:formatCode>
                <c:ptCount val="9"/>
                <c:pt idx="0">
                  <c:v>23.208500000000001</c:v>
                </c:pt>
                <c:pt idx="1">
                  <c:v>72.575999999999993</c:v>
                </c:pt>
                <c:pt idx="2">
                  <c:v>48.561900000000001</c:v>
                </c:pt>
                <c:pt idx="3">
                  <c:v>49.034100000000002</c:v>
                </c:pt>
                <c:pt idx="4">
                  <c:v>101.7933</c:v>
                </c:pt>
                <c:pt idx="5">
                  <c:v>31.808399999999999</c:v>
                </c:pt>
                <c:pt idx="6">
                  <c:v>31.8504</c:v>
                </c:pt>
                <c:pt idx="7">
                  <c:v>19.9453</c:v>
                </c:pt>
                <c:pt idx="8">
                  <c:v>285.8215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Taittinger</c:v>
                </c:pt>
                <c:pt idx="8">
                  <c:v>Roederer</c:v>
                </c:pt>
              </c:strCache>
            </c:strRef>
          </c:cat>
          <c:val>
            <c:numRef>
              <c:f>Sheet1!$B$2:$B$10</c:f>
              <c:numCache>
                <c:formatCode>General</c:formatCode>
                <c:ptCount val="9"/>
                <c:pt idx="0">
                  <c:v>65.033299999999997</c:v>
                </c:pt>
                <c:pt idx="1">
                  <c:v>166.16749999999999</c:v>
                </c:pt>
                <c:pt idx="2">
                  <c:v>94.285399999999996</c:v>
                </c:pt>
                <c:pt idx="5">
                  <c:v>89.191699999999997</c:v>
                </c:pt>
                <c:pt idx="7">
                  <c:v>92.45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Taittinger</c:v>
                </c:pt>
                <c:pt idx="8">
                  <c:v>Roederer</c:v>
                </c:pt>
              </c:strCache>
            </c:strRef>
          </c:cat>
          <c:val>
            <c:numRef>
              <c:f>Sheet1!$C$2:$C$10</c:f>
              <c:numCache>
                <c:formatCode>General</c:formatCode>
                <c:ptCount val="9"/>
                <c:pt idx="0">
                  <c:v>24.293900000000001</c:v>
                </c:pt>
                <c:pt idx="1">
                  <c:v>51.7901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Taittinger</c:v>
                </c:pt>
                <c:pt idx="8">
                  <c:v>Roederer</c:v>
                </c:pt>
              </c:strCache>
            </c:strRef>
          </c:cat>
          <c:val>
            <c:numRef>
              <c:f>Sheet1!$D$2:$D$10</c:f>
              <c:numCache>
                <c:formatCode>General</c:formatCode>
                <c:ptCount val="9"/>
                <c:pt idx="0">
                  <c:v>23.345800000000001</c:v>
                </c:pt>
                <c:pt idx="1">
                  <c:v>70.011300000000006</c:v>
                </c:pt>
                <c:pt idx="2">
                  <c:v>50.410299999999999</c:v>
                </c:pt>
                <c:pt idx="3">
                  <c:v>12.6761</c:v>
                </c:pt>
                <c:pt idx="4">
                  <c:v>31.915800000000001</c:v>
                </c:pt>
                <c:pt idx="5">
                  <c:v>49.785699999999999</c:v>
                </c:pt>
                <c:pt idx="6">
                  <c:v>31.808299999999999</c:v>
                </c:pt>
                <c:pt idx="7">
                  <c:v>49.1556</c:v>
                </c:pt>
                <c:pt idx="8">
                  <c:v>75.0525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All Others</c:v>
                </c:pt>
                <c:pt idx="6">
                  <c:v>Nicolas Feuillatte</c:v>
                </c:pt>
                <c:pt idx="7">
                  <c:v>Roederer</c:v>
                </c:pt>
                <c:pt idx="8">
                  <c:v>Heidsieck &amp; Co Monopole</c:v>
                </c:pt>
              </c:strCache>
            </c:strRef>
          </c:cat>
          <c:val>
            <c:numRef>
              <c:f>Sheet1!$B$2:$B$10</c:f>
              <c:numCache>
                <c:formatCode>General</c:formatCode>
                <c:ptCount val="9"/>
                <c:pt idx="0">
                  <c:v>60.375300000000003</c:v>
                </c:pt>
                <c:pt idx="1">
                  <c:v>164.81620000000001</c:v>
                </c:pt>
                <c:pt idx="2">
                  <c:v>93.167100000000005</c:v>
                </c:pt>
                <c:pt idx="3">
                  <c:v>85.0370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All Others</c:v>
                </c:pt>
                <c:pt idx="6">
                  <c:v>Nicolas Feuillatte</c:v>
                </c:pt>
                <c:pt idx="7">
                  <c:v>Roederer</c:v>
                </c:pt>
                <c:pt idx="8">
                  <c:v>Heidsieck &amp; Co Monopole</c:v>
                </c:pt>
              </c:strCache>
            </c:strRef>
          </c:cat>
          <c:val>
            <c:numRef>
              <c:f>Sheet1!$C$2:$C$10</c:f>
              <c:numCache>
                <c:formatCode>General</c:formatCode>
                <c:ptCount val="9"/>
                <c:pt idx="0">
                  <c:v>22.9071</c:v>
                </c:pt>
                <c:pt idx="1">
                  <c:v>45.308900000000001</c:v>
                </c:pt>
                <c:pt idx="2">
                  <c:v>27.9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All Others</c:v>
                </c:pt>
                <c:pt idx="6">
                  <c:v>Nicolas Feuillatte</c:v>
                </c:pt>
                <c:pt idx="7">
                  <c:v>Roederer</c:v>
                </c:pt>
                <c:pt idx="8">
                  <c:v>Heidsieck &amp; Co Monopole</c:v>
                </c:pt>
              </c:strCache>
            </c:strRef>
          </c:cat>
          <c:val>
            <c:numRef>
              <c:f>Sheet1!$D$2:$D$10</c:f>
              <c:numCache>
                <c:formatCode>General</c:formatCode>
                <c:ptCount val="9"/>
                <c:pt idx="0">
                  <c:v>23.155999999999999</c:v>
                </c:pt>
                <c:pt idx="1">
                  <c:v>67.246499999999997</c:v>
                </c:pt>
                <c:pt idx="2">
                  <c:v>48.3127</c:v>
                </c:pt>
                <c:pt idx="3">
                  <c:v>47.829300000000003</c:v>
                </c:pt>
                <c:pt idx="4">
                  <c:v>31.5227</c:v>
                </c:pt>
                <c:pt idx="5">
                  <c:v>16.9236</c:v>
                </c:pt>
                <c:pt idx="6">
                  <c:v>31.812100000000001</c:v>
                </c:pt>
                <c:pt idx="7">
                  <c:v>83.718599999999995</c:v>
                </c:pt>
                <c:pt idx="8">
                  <c:v>29.2765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58F-4E3F-9A47-23064CB20F90}"/>
                </c:ext>
              </c:extLst>
            </c:dLbl>
            <c:dLbl>
              <c:idx val="1"/>
              <c:tx>
                <c:rich>
                  <a:bodyPr/>
                  <a:lstStyle/>
                  <a:p>
                    <a:r>
                      <a:rPr lang="en-CH"/>
                      <a:t>38.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58F-4E3F-9A47-23064CB20F90}"/>
                </c:ext>
              </c:extLst>
            </c:dLbl>
            <c:dLbl>
              <c:idx val="2"/>
              <c:tx>
                <c:rich>
                  <a:bodyPr/>
                  <a:lstStyle/>
                  <a:p>
                    <a:r>
                      <a:rPr lang="en-CH"/>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58F-4E3F-9A47-23064CB20F90}"/>
                </c:ext>
              </c:extLst>
            </c:dLbl>
            <c:dLbl>
              <c:idx val="3"/>
              <c:tx>
                <c:rich>
                  <a:bodyPr/>
                  <a:lstStyle/>
                  <a:p>
                    <a:r>
                      <a:rPr lang="en-CH"/>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58F-4E3F-9A47-23064CB20F90}"/>
                </c:ext>
              </c:extLst>
            </c:dLbl>
            <c:dLbl>
              <c:idx val="4"/>
              <c:tx>
                <c:rich>
                  <a:bodyPr/>
                  <a:lstStyle/>
                  <a:p>
                    <a:r>
                      <a:rPr lang="en-CH"/>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58F-4E3F-9A47-23064CB20F90}"/>
                </c:ext>
              </c:extLst>
            </c:dLbl>
            <c:dLbl>
              <c:idx val="5"/>
              <c:tx>
                <c:rich>
                  <a:bodyPr/>
                  <a:lstStyle/>
                  <a:p>
                    <a:r>
                      <a:rPr lang="en-CH"/>
                      <a:t>4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58F-4E3F-9A47-23064CB20F90}"/>
                </c:ext>
              </c:extLst>
            </c:dLbl>
            <c:dLbl>
              <c:idx val="6"/>
              <c:tx>
                <c:rich>
                  <a:bodyPr/>
                  <a:lstStyle/>
                  <a:p>
                    <a:r>
                      <a:rPr lang="en-CH"/>
                      <a:t>4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58F-4E3F-9A47-23064CB20F90}"/>
                </c:ext>
              </c:extLst>
            </c:dLbl>
            <c:dLbl>
              <c:idx val="7"/>
              <c:tx>
                <c:rich>
                  <a:bodyPr/>
                  <a:lstStyle/>
                  <a:p>
                    <a:r>
                      <a:rPr lang="en-CH"/>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58F-4E3F-9A47-23064CB20F90}"/>
                </c:ext>
              </c:extLst>
            </c:dLbl>
            <c:dLbl>
              <c:idx val="8"/>
              <c:tx>
                <c:rich>
                  <a:bodyPr/>
                  <a:lstStyle/>
                  <a:p>
                    <a:r>
                      <a:rPr lang="en-CH"/>
                      <a:t>4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58F-4E3F-9A47-23064CB20F90}"/>
                </c:ext>
              </c:extLst>
            </c:dLbl>
            <c:dLbl>
              <c:idx val="9"/>
              <c:tx>
                <c:rich>
                  <a:bodyPr/>
                  <a:lstStyle/>
                  <a:p>
                    <a:r>
                      <a:rPr lang="en-CH"/>
                      <a:t>8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58F-4E3F-9A47-23064CB20F90}"/>
                </c:ext>
              </c:extLst>
            </c:dLbl>
            <c:dLbl>
              <c:idx val="10"/>
              <c:tx>
                <c:rich>
                  <a:bodyPr/>
                  <a:lstStyle/>
                  <a:p>
                    <a:r>
                      <a:rPr lang="en-CH"/>
                      <a:t>24.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58F-4E3F-9A47-23064CB20F90}"/>
                </c:ext>
              </c:extLst>
            </c:dLbl>
            <c:dLbl>
              <c:idx val="11"/>
              <c:tx>
                <c:rich>
                  <a:bodyPr/>
                  <a:lstStyle/>
                  <a:p>
                    <a:r>
                      <a:rPr lang="en-CH"/>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58F-4E3F-9A47-23064CB20F90}"/>
                </c:ext>
              </c:extLst>
            </c:dLbl>
            <c:dLbl>
              <c:idx val="12"/>
              <c:tx>
                <c:rich>
                  <a:bodyPr/>
                  <a:lstStyle/>
                  <a:p>
                    <a:r>
                      <a:rPr lang="en-CH"/>
                      <a:t>7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58F-4E3F-9A47-23064CB20F90}"/>
                </c:ext>
              </c:extLst>
            </c:dLbl>
            <c:dLbl>
              <c:idx val="13"/>
              <c:tx>
                <c:rich>
                  <a:bodyPr/>
                  <a:lstStyle/>
                  <a:p>
                    <a:r>
                      <a:rPr lang="en-CH"/>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58F-4E3F-9A47-23064CB20F90}"/>
                </c:ext>
              </c:extLst>
            </c:dLbl>
            <c:dLbl>
              <c:idx val="14"/>
              <c:tx>
                <c:rich>
                  <a:bodyPr/>
                  <a:lstStyle/>
                  <a:p>
                    <a:r>
                      <a:rPr lang="en-CH"/>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58F-4E3F-9A47-23064CB20F9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1/2 CHAMP NICOLAS BLC/BLC BS 1CT X 375ML</c:v>
                </c:pt>
                <c:pt idx="8">
                  <c:v>CHAMPAGNE NICOLAS BIO NAT 2017 1CT X 750ML</c:v>
                </c:pt>
                <c:pt idx="9">
                  <c:v>MG CHAMPAGNE NICOLAS BLC/BL BS 1CT X 1500ML</c:v>
                </c:pt>
                <c:pt idx="10">
                  <c:v>1/2 CHAMP NICOLAS ROSE 1E 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6</c:v>
                </c:pt>
                <c:pt idx="1">
                  <c:v>38.96</c:v>
                </c:pt>
                <c:pt idx="2">
                  <c:v>25</c:v>
                </c:pt>
                <c:pt idx="3">
                  <c:v>37.07</c:v>
                </c:pt>
                <c:pt idx="4">
                  <c:v>22.24</c:v>
                </c:pt>
                <c:pt idx="5">
                  <c:v>45.29</c:v>
                </c:pt>
                <c:pt idx="6">
                  <c:v>41.01</c:v>
                </c:pt>
                <c:pt idx="7">
                  <c:v>24.06</c:v>
                </c:pt>
                <c:pt idx="8">
                  <c:v>46.77</c:v>
                </c:pt>
                <c:pt idx="9">
                  <c:v>84.11</c:v>
                </c:pt>
                <c:pt idx="10">
                  <c:v>24.29</c:v>
                </c:pt>
                <c:pt idx="11">
                  <c:v>36.93</c:v>
                </c:pt>
                <c:pt idx="12">
                  <c:v>76.790000000000006</c:v>
                </c:pt>
                <c:pt idx="13">
                  <c:v>36.369999999999997</c:v>
                </c:pt>
                <c:pt idx="14">
                  <c:v>37.8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Roederer</c:v>
                </c:pt>
                <c:pt idx="6">
                  <c:v>Heidsieck &amp; Co Monopole</c:v>
                </c:pt>
                <c:pt idx="7">
                  <c:v>Malard</c:v>
                </c:pt>
                <c:pt idx="8">
                  <c:v>Dom Perignon</c:v>
                </c:pt>
              </c:strCache>
            </c:strRef>
          </c:cat>
          <c:val>
            <c:numRef>
              <c:f>Sheet1!$B$2:$B$10</c:f>
              <c:numCache>
                <c:formatCode>General</c:formatCode>
                <c:ptCount val="9"/>
                <c:pt idx="0">
                  <c:v>57.976199999999999</c:v>
                </c:pt>
                <c:pt idx="1">
                  <c:v>168.29599999999999</c:v>
                </c:pt>
                <c:pt idx="2">
                  <c:v>93.0792</c:v>
                </c:pt>
                <c:pt idx="3">
                  <c:v>90.453400000000002</c:v>
                </c:pt>
                <c:pt idx="5">
                  <c:v>132.9380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Roederer</c:v>
                </c:pt>
                <c:pt idx="6">
                  <c:v>Heidsieck &amp; Co Monopole</c:v>
                </c:pt>
                <c:pt idx="7">
                  <c:v>Malard</c:v>
                </c:pt>
                <c:pt idx="8">
                  <c:v>Dom Perignon</c:v>
                </c:pt>
              </c:strCache>
            </c:strRef>
          </c:cat>
          <c:val>
            <c:numRef>
              <c:f>Sheet1!$C$2:$C$10</c:f>
              <c:numCache>
                <c:formatCode>General</c:formatCode>
                <c:ptCount val="9"/>
                <c:pt idx="0">
                  <c:v>23.4466</c:v>
                </c:pt>
                <c:pt idx="1">
                  <c:v>47.47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Roederer</c:v>
                </c:pt>
                <c:pt idx="6">
                  <c:v>Heidsieck &amp; Co Monopole</c:v>
                </c:pt>
                <c:pt idx="7">
                  <c:v>Malard</c:v>
                </c:pt>
                <c:pt idx="8">
                  <c:v>Dom Perignon</c:v>
                </c:pt>
              </c:strCache>
            </c:strRef>
          </c:cat>
          <c:val>
            <c:numRef>
              <c:f>Sheet1!$D$2:$D$10</c:f>
              <c:numCache>
                <c:formatCode>General</c:formatCode>
                <c:ptCount val="9"/>
                <c:pt idx="0">
                  <c:v>23.013000000000002</c:v>
                </c:pt>
                <c:pt idx="1">
                  <c:v>69.399699999999996</c:v>
                </c:pt>
                <c:pt idx="2">
                  <c:v>48.775799999999997</c:v>
                </c:pt>
                <c:pt idx="3">
                  <c:v>50.017299999999999</c:v>
                </c:pt>
                <c:pt idx="4">
                  <c:v>14.3536</c:v>
                </c:pt>
                <c:pt idx="5">
                  <c:v>83.465900000000005</c:v>
                </c:pt>
                <c:pt idx="6">
                  <c:v>29.332599999999999</c:v>
                </c:pt>
                <c:pt idx="7">
                  <c:v>31.468499999999999</c:v>
                </c:pt>
                <c:pt idx="8">
                  <c:v>271.4415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Taittinger</c:v>
                </c:pt>
                <c:pt idx="8">
                  <c:v>Nicolas Feuillatte</c:v>
                </c:pt>
              </c:strCache>
            </c:strRef>
          </c:cat>
          <c:val>
            <c:numRef>
              <c:f>Sheet1!$B$2:$B$10</c:f>
              <c:numCache>
                <c:formatCode>General</c:formatCode>
                <c:ptCount val="9"/>
                <c:pt idx="0">
                  <c:v>59.059399999999997</c:v>
                </c:pt>
                <c:pt idx="1">
                  <c:v>170.61949999999999</c:v>
                </c:pt>
                <c:pt idx="2">
                  <c:v>93.899500000000003</c:v>
                </c:pt>
                <c:pt idx="5">
                  <c:v>86.724199999999996</c:v>
                </c:pt>
                <c:pt idx="7">
                  <c:v>92.1350999999999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Taittinger</c:v>
                </c:pt>
                <c:pt idx="8">
                  <c:v>Nicolas Feuillatte</c:v>
                </c:pt>
              </c:strCache>
            </c:strRef>
          </c:cat>
          <c:val>
            <c:numRef>
              <c:f>Sheet1!$C$2:$C$10</c:f>
              <c:numCache>
                <c:formatCode>General</c:formatCode>
                <c:ptCount val="9"/>
                <c:pt idx="0">
                  <c:v>23.654299999999999</c:v>
                </c:pt>
                <c:pt idx="1">
                  <c:v>46.447200000000002</c:v>
                </c:pt>
                <c:pt idx="2">
                  <c:v>27.7840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Taittinger</c:v>
                </c:pt>
                <c:pt idx="8">
                  <c:v>Nicolas Feuillatte</c:v>
                </c:pt>
              </c:strCache>
            </c:strRef>
          </c:cat>
          <c:val>
            <c:numRef>
              <c:f>Sheet1!$D$2:$D$10</c:f>
              <c:numCache>
                <c:formatCode>General</c:formatCode>
                <c:ptCount val="9"/>
                <c:pt idx="0">
                  <c:v>23.7743</c:v>
                </c:pt>
                <c:pt idx="1">
                  <c:v>67.388499999999993</c:v>
                </c:pt>
                <c:pt idx="2">
                  <c:v>49.009300000000003</c:v>
                </c:pt>
                <c:pt idx="3">
                  <c:v>13.239100000000001</c:v>
                </c:pt>
                <c:pt idx="4">
                  <c:v>31.674600000000002</c:v>
                </c:pt>
                <c:pt idx="5">
                  <c:v>50.091700000000003</c:v>
                </c:pt>
                <c:pt idx="6">
                  <c:v>29.235499999999998</c:v>
                </c:pt>
                <c:pt idx="7">
                  <c:v>47.737900000000003</c:v>
                </c:pt>
                <c:pt idx="8">
                  <c:v>32.4868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Heidsieck &amp; Co Monopole</c:v>
                </c:pt>
                <c:pt idx="6">
                  <c:v>Ayala</c:v>
                </c:pt>
                <c:pt idx="7">
                  <c:v>De Bligny</c:v>
                </c:pt>
                <c:pt idx="8">
                  <c:v>Laurent Perrier</c:v>
                </c:pt>
              </c:strCache>
            </c:strRef>
          </c:cat>
          <c:val>
            <c:numRef>
              <c:f>Sheet1!$B$2:$B$10</c:f>
              <c:numCache>
                <c:formatCode>General</c:formatCode>
                <c:ptCount val="9"/>
                <c:pt idx="0">
                  <c:v>63.233600000000003</c:v>
                </c:pt>
                <c:pt idx="1">
                  <c:v>163.35290000000001</c:v>
                </c:pt>
                <c:pt idx="2">
                  <c:v>95.336500000000001</c:v>
                </c:pt>
                <c:pt idx="8">
                  <c:v>86.6337000000000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Heidsieck &amp; Co Monopole</c:v>
                </c:pt>
                <c:pt idx="6">
                  <c:v>Ayala</c:v>
                </c:pt>
                <c:pt idx="7">
                  <c:v>De Bligny</c:v>
                </c:pt>
                <c:pt idx="8">
                  <c:v>Laurent Perrier</c:v>
                </c:pt>
              </c:strCache>
            </c:strRef>
          </c:cat>
          <c:val>
            <c:numRef>
              <c:f>Sheet1!$C$2:$C$10</c:f>
              <c:numCache>
                <c:formatCode>General</c:formatCode>
                <c:ptCount val="9"/>
                <c:pt idx="0">
                  <c:v>24.280200000000001</c:v>
                </c:pt>
                <c:pt idx="1">
                  <c:v>46.483400000000003</c:v>
                </c:pt>
                <c:pt idx="2">
                  <c:v>28.0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Heidsieck &amp; Co Monopole</c:v>
                </c:pt>
                <c:pt idx="6">
                  <c:v>Ayala</c:v>
                </c:pt>
                <c:pt idx="7">
                  <c:v>De Bligny</c:v>
                </c:pt>
                <c:pt idx="8">
                  <c:v>Laurent Perrier</c:v>
                </c:pt>
              </c:strCache>
            </c:strRef>
          </c:cat>
          <c:val>
            <c:numRef>
              <c:f>Sheet1!$D$2:$D$10</c:f>
              <c:numCache>
                <c:formatCode>General</c:formatCode>
                <c:ptCount val="9"/>
                <c:pt idx="0">
                  <c:v>22.5974</c:v>
                </c:pt>
                <c:pt idx="1">
                  <c:v>66.296499999999995</c:v>
                </c:pt>
                <c:pt idx="2">
                  <c:v>48.576999999999998</c:v>
                </c:pt>
                <c:pt idx="3">
                  <c:v>14.136699999999999</c:v>
                </c:pt>
                <c:pt idx="4">
                  <c:v>31.597000000000001</c:v>
                </c:pt>
                <c:pt idx="5">
                  <c:v>29.059000000000001</c:v>
                </c:pt>
                <c:pt idx="6">
                  <c:v>39.901000000000003</c:v>
                </c:pt>
                <c:pt idx="7">
                  <c:v>30.558900000000001</c:v>
                </c:pt>
                <c:pt idx="8">
                  <c:v>52.2473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All Others</c:v>
                </c:pt>
                <c:pt idx="2">
                  <c:v>Ruinart</c:v>
                </c:pt>
                <c:pt idx="3">
                  <c:v>Deutz</c:v>
                </c:pt>
                <c:pt idx="4">
                  <c:v>Malard</c:v>
                </c:pt>
                <c:pt idx="5">
                  <c:v>Mure</c:v>
                </c:pt>
                <c:pt idx="6">
                  <c:v>Laurent Perrier</c:v>
                </c:pt>
                <c:pt idx="7">
                  <c:v>Bollinger</c:v>
                </c:pt>
                <c:pt idx="8">
                  <c:v>Canard Duchêne</c:v>
                </c:pt>
              </c:strCache>
            </c:strRef>
          </c:cat>
          <c:val>
            <c:numRef>
              <c:f>Sheet1!$B$2:$B$10</c:f>
              <c:numCache>
                <c:formatCode>General</c:formatCode>
                <c:ptCount val="9"/>
                <c:pt idx="0">
                  <c:v>57.242899999999999</c:v>
                </c:pt>
                <c:pt idx="1">
                  <c:v>46</c:v>
                </c:pt>
                <c:pt idx="2">
                  <c:v>169.39879999999999</c:v>
                </c:pt>
                <c:pt idx="3">
                  <c:v>92.336699999999993</c:v>
                </c:pt>
                <c:pt idx="6">
                  <c:v>85.6401999999999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Deutz</c:v>
                </c:pt>
                <c:pt idx="4">
                  <c:v>Malard</c:v>
                </c:pt>
                <c:pt idx="5">
                  <c:v>Mure</c:v>
                </c:pt>
                <c:pt idx="6">
                  <c:v>Laurent Perrier</c:v>
                </c:pt>
                <c:pt idx="7">
                  <c:v>Bollinger</c:v>
                </c:pt>
                <c:pt idx="8">
                  <c:v>Canard Duchêne</c:v>
                </c:pt>
              </c:strCache>
            </c:strRef>
          </c:cat>
          <c:val>
            <c:numRef>
              <c:f>Sheet1!$C$2:$C$10</c:f>
              <c:numCache>
                <c:formatCode>General</c:formatCode>
                <c:ptCount val="9"/>
                <c:pt idx="0">
                  <c:v>23.765699999999999</c:v>
                </c:pt>
                <c:pt idx="2">
                  <c:v>44.9121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Deutz</c:v>
                </c:pt>
                <c:pt idx="4">
                  <c:v>Malard</c:v>
                </c:pt>
                <c:pt idx="5">
                  <c:v>Mure</c:v>
                </c:pt>
                <c:pt idx="6">
                  <c:v>Laurent Perrier</c:v>
                </c:pt>
                <c:pt idx="7">
                  <c:v>Bollinger</c:v>
                </c:pt>
                <c:pt idx="8">
                  <c:v>Canard Duchêne</c:v>
                </c:pt>
              </c:strCache>
            </c:strRef>
          </c:cat>
          <c:val>
            <c:numRef>
              <c:f>Sheet1!$D$2:$D$10</c:f>
              <c:numCache>
                <c:formatCode>General</c:formatCode>
                <c:ptCount val="9"/>
                <c:pt idx="0">
                  <c:v>22.834499999999998</c:v>
                </c:pt>
                <c:pt idx="1">
                  <c:v>17.585899999999999</c:v>
                </c:pt>
                <c:pt idx="2">
                  <c:v>67.096299999999999</c:v>
                </c:pt>
                <c:pt idx="3">
                  <c:v>51.938000000000002</c:v>
                </c:pt>
                <c:pt idx="4">
                  <c:v>32.034199999999998</c:v>
                </c:pt>
                <c:pt idx="5">
                  <c:v>18.327999999999999</c:v>
                </c:pt>
                <c:pt idx="6">
                  <c:v>51.1282</c:v>
                </c:pt>
                <c:pt idx="7">
                  <c:v>64.599999999999994</c:v>
                </c:pt>
                <c:pt idx="8">
                  <c:v>34.4806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Dom Perignon</c:v>
                </c:pt>
              </c:strCache>
            </c:strRef>
          </c:cat>
          <c:val>
            <c:numRef>
              <c:f>Sheet1!$B$2:$B$10</c:f>
              <c:numCache>
                <c:formatCode>General</c:formatCode>
                <c:ptCount val="9"/>
                <c:pt idx="0">
                  <c:v>58.9621</c:v>
                </c:pt>
                <c:pt idx="1">
                  <c:v>166.4468</c:v>
                </c:pt>
                <c:pt idx="2">
                  <c:v>93.388999999999996</c:v>
                </c:pt>
                <c:pt idx="3">
                  <c:v>86.174700000000001</c:v>
                </c:pt>
                <c:pt idx="6">
                  <c:v>154.0337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Dom Perignon</c:v>
                </c:pt>
              </c:strCache>
            </c:strRef>
          </c:cat>
          <c:val>
            <c:numRef>
              <c:f>Sheet1!$C$2:$C$10</c:f>
              <c:numCache>
                <c:formatCode>General</c:formatCode>
                <c:ptCount val="9"/>
                <c:pt idx="0">
                  <c:v>23.048100000000002</c:v>
                </c:pt>
                <c:pt idx="1">
                  <c:v>47.365499999999997</c:v>
                </c:pt>
                <c:pt idx="2">
                  <c:v>28.6884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Roederer</c:v>
                </c:pt>
                <c:pt idx="7">
                  <c:v>Nicolas Feuillatte</c:v>
                </c:pt>
                <c:pt idx="8">
                  <c:v>Dom Perignon</c:v>
                </c:pt>
              </c:strCache>
            </c:strRef>
          </c:cat>
          <c:val>
            <c:numRef>
              <c:f>Sheet1!$D$2:$D$10</c:f>
              <c:numCache>
                <c:formatCode>General</c:formatCode>
                <c:ptCount val="9"/>
                <c:pt idx="0">
                  <c:v>23.108599999999999</c:v>
                </c:pt>
                <c:pt idx="1">
                  <c:v>69.286299999999997</c:v>
                </c:pt>
                <c:pt idx="2">
                  <c:v>49.114800000000002</c:v>
                </c:pt>
                <c:pt idx="3">
                  <c:v>49.671100000000003</c:v>
                </c:pt>
                <c:pt idx="4">
                  <c:v>17.4819</c:v>
                </c:pt>
                <c:pt idx="5">
                  <c:v>31.505700000000001</c:v>
                </c:pt>
                <c:pt idx="6">
                  <c:v>94.748099999999994</c:v>
                </c:pt>
                <c:pt idx="7">
                  <c:v>32.024000000000001</c:v>
                </c:pt>
                <c:pt idx="8">
                  <c:v>287.6802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Malard</c:v>
                </c:pt>
                <c:pt idx="6">
                  <c:v>Nicolas Feuillatte</c:v>
                </c:pt>
                <c:pt idx="7">
                  <c:v>Heidsieck &amp; Co Monopole</c:v>
                </c:pt>
                <c:pt idx="8">
                  <c:v>Roederer</c:v>
                </c:pt>
              </c:strCache>
            </c:strRef>
          </c:cat>
          <c:val>
            <c:numRef>
              <c:f>Sheet1!$B$2:$B$10</c:f>
              <c:numCache>
                <c:formatCode>General</c:formatCode>
                <c:ptCount val="9"/>
                <c:pt idx="0">
                  <c:v>64.097899999999996</c:v>
                </c:pt>
                <c:pt idx="1">
                  <c:v>164.5009</c:v>
                </c:pt>
                <c:pt idx="2">
                  <c:v>93.368300000000005</c:v>
                </c:pt>
                <c:pt idx="3">
                  <c:v>86.5906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Nicolas Feuillatte</c:v>
                </c:pt>
                <c:pt idx="7">
                  <c:v>Heidsieck &amp; Co Monopole</c:v>
                </c:pt>
                <c:pt idx="8">
                  <c:v>Roederer</c:v>
                </c:pt>
              </c:strCache>
            </c:strRef>
          </c:cat>
          <c:val>
            <c:numRef>
              <c:f>Sheet1!$C$2:$C$10</c:f>
              <c:numCache>
                <c:formatCode>General</c:formatCode>
                <c:ptCount val="9"/>
                <c:pt idx="0">
                  <c:v>23.039200000000001</c:v>
                </c:pt>
                <c:pt idx="1">
                  <c:v>44.538200000000003</c:v>
                </c:pt>
                <c:pt idx="2">
                  <c:v>27.8953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Malard</c:v>
                </c:pt>
                <c:pt idx="6">
                  <c:v>Nicolas Feuillatte</c:v>
                </c:pt>
                <c:pt idx="7">
                  <c:v>Heidsieck &amp; Co Monopole</c:v>
                </c:pt>
                <c:pt idx="8">
                  <c:v>Roederer</c:v>
                </c:pt>
              </c:strCache>
            </c:strRef>
          </c:cat>
          <c:val>
            <c:numRef>
              <c:f>Sheet1!$D$2:$D$10</c:f>
              <c:numCache>
                <c:formatCode>General</c:formatCode>
                <c:ptCount val="9"/>
                <c:pt idx="0">
                  <c:v>22.9619</c:v>
                </c:pt>
                <c:pt idx="1">
                  <c:v>65.921800000000005</c:v>
                </c:pt>
                <c:pt idx="2">
                  <c:v>47.822699999999998</c:v>
                </c:pt>
                <c:pt idx="3">
                  <c:v>47.154899999999998</c:v>
                </c:pt>
                <c:pt idx="4">
                  <c:v>15.055199999999999</c:v>
                </c:pt>
                <c:pt idx="5">
                  <c:v>31.512499999999999</c:v>
                </c:pt>
                <c:pt idx="6">
                  <c:v>31.7791</c:v>
                </c:pt>
                <c:pt idx="7">
                  <c:v>29.2836</c:v>
                </c:pt>
                <c:pt idx="8">
                  <c:v>73.4043000000000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Ayala</c:v>
                </c:pt>
              </c:strCache>
            </c:strRef>
          </c:cat>
          <c:val>
            <c:numRef>
              <c:f>Sheet1!$B$2:$B$10</c:f>
              <c:numCache>
                <c:formatCode>General</c:formatCode>
                <c:ptCount val="9"/>
                <c:pt idx="0">
                  <c:v>59.404299999999999</c:v>
                </c:pt>
                <c:pt idx="1">
                  <c:v>163.6448</c:v>
                </c:pt>
                <c:pt idx="2">
                  <c:v>92.814400000000006</c:v>
                </c:pt>
                <c:pt idx="5">
                  <c:v>84.7292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Ayala</c:v>
                </c:pt>
              </c:strCache>
            </c:strRef>
          </c:cat>
          <c:val>
            <c:numRef>
              <c:f>Sheet1!$C$2:$C$10</c:f>
              <c:numCache>
                <c:formatCode>General</c:formatCode>
                <c:ptCount val="9"/>
                <c:pt idx="0">
                  <c:v>23.059899999999999</c:v>
                </c:pt>
                <c:pt idx="1">
                  <c:v>44.634399999999999</c:v>
                </c:pt>
                <c:pt idx="2">
                  <c:v>27.861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Ayala</c:v>
                </c:pt>
              </c:strCache>
            </c:strRef>
          </c:cat>
          <c:val>
            <c:numRef>
              <c:f>Sheet1!$D$2:$D$10</c:f>
              <c:numCache>
                <c:formatCode>General</c:formatCode>
                <c:ptCount val="9"/>
                <c:pt idx="0">
                  <c:v>23.1067</c:v>
                </c:pt>
                <c:pt idx="1">
                  <c:v>66.934399999999997</c:v>
                </c:pt>
                <c:pt idx="2">
                  <c:v>48.989899999999999</c:v>
                </c:pt>
                <c:pt idx="3">
                  <c:v>15.8347</c:v>
                </c:pt>
                <c:pt idx="4">
                  <c:v>31.48</c:v>
                </c:pt>
                <c:pt idx="5">
                  <c:v>48.173200000000001</c:v>
                </c:pt>
                <c:pt idx="6">
                  <c:v>31.7424</c:v>
                </c:pt>
                <c:pt idx="7">
                  <c:v>29.253399999999999</c:v>
                </c:pt>
                <c:pt idx="8">
                  <c:v>38.7160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De Bligny</c:v>
                </c:pt>
              </c:strCache>
            </c:strRef>
          </c:cat>
          <c:val>
            <c:numRef>
              <c:f>Sheet1!$B$2:$B$10</c:f>
              <c:numCache>
                <c:formatCode>General</c:formatCode>
                <c:ptCount val="9"/>
                <c:pt idx="0">
                  <c:v>59.111499999999999</c:v>
                </c:pt>
                <c:pt idx="1">
                  <c:v>167.5599</c:v>
                </c:pt>
                <c:pt idx="2">
                  <c:v>93.204499999999996</c:v>
                </c:pt>
                <c:pt idx="5">
                  <c:v>85.5998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De Bligny</c:v>
                </c:pt>
              </c:strCache>
            </c:strRef>
          </c:cat>
          <c:val>
            <c:numRef>
              <c:f>Sheet1!$C$2:$C$10</c:f>
              <c:numCache>
                <c:formatCode>General</c:formatCode>
                <c:ptCount val="9"/>
                <c:pt idx="0">
                  <c:v>23.028099999999998</c:v>
                </c:pt>
                <c:pt idx="1">
                  <c:v>44.193199999999997</c:v>
                </c:pt>
                <c:pt idx="2">
                  <c:v>27.4990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Nicolas Feuillatte</c:v>
                </c:pt>
                <c:pt idx="7">
                  <c:v>Heidsieck &amp; Co Monopole</c:v>
                </c:pt>
                <c:pt idx="8">
                  <c:v>De Bligny</c:v>
                </c:pt>
              </c:strCache>
            </c:strRef>
          </c:cat>
          <c:val>
            <c:numRef>
              <c:f>Sheet1!$D$2:$D$10</c:f>
              <c:numCache>
                <c:formatCode>General</c:formatCode>
                <c:ptCount val="9"/>
                <c:pt idx="0">
                  <c:v>23.255199999999999</c:v>
                </c:pt>
                <c:pt idx="1">
                  <c:v>67.132599999999996</c:v>
                </c:pt>
                <c:pt idx="2">
                  <c:v>47.8461</c:v>
                </c:pt>
                <c:pt idx="3">
                  <c:v>15.443</c:v>
                </c:pt>
                <c:pt idx="4">
                  <c:v>31.4968</c:v>
                </c:pt>
                <c:pt idx="5">
                  <c:v>47.393999999999998</c:v>
                </c:pt>
                <c:pt idx="6">
                  <c:v>31.6477</c:v>
                </c:pt>
                <c:pt idx="7">
                  <c:v>29.312200000000001</c:v>
                </c:pt>
                <c:pt idx="8">
                  <c:v>30.8815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Nicolas Feuillatte</c:v>
                </c:pt>
                <c:pt idx="8">
                  <c:v>De Bligny</c:v>
                </c:pt>
              </c:strCache>
            </c:strRef>
          </c:cat>
          <c:val>
            <c:numRef>
              <c:f>Sheet1!$B$2:$B$10</c:f>
              <c:numCache>
                <c:formatCode>General</c:formatCode>
                <c:ptCount val="9"/>
                <c:pt idx="0">
                  <c:v>61.522199999999998</c:v>
                </c:pt>
                <c:pt idx="1">
                  <c:v>166.41739999999999</c:v>
                </c:pt>
                <c:pt idx="2">
                  <c:v>93.251199999999997</c:v>
                </c:pt>
                <c:pt idx="5">
                  <c:v>85.2801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Nicolas Feuillatte</c:v>
                </c:pt>
                <c:pt idx="8">
                  <c:v>De Bligny</c:v>
                </c:pt>
              </c:strCache>
            </c:strRef>
          </c:cat>
          <c:val>
            <c:numRef>
              <c:f>Sheet1!$C$2:$C$10</c:f>
              <c:numCache>
                <c:formatCode>General</c:formatCode>
                <c:ptCount val="9"/>
                <c:pt idx="0">
                  <c:v>23.175599999999999</c:v>
                </c:pt>
                <c:pt idx="1">
                  <c:v>43.8573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All Others</c:v>
                </c:pt>
                <c:pt idx="4">
                  <c:v>Malard</c:v>
                </c:pt>
                <c:pt idx="5">
                  <c:v>Laurent Perrier</c:v>
                </c:pt>
                <c:pt idx="6">
                  <c:v>Heidsieck &amp; Co Monopole</c:v>
                </c:pt>
                <c:pt idx="7">
                  <c:v>Nicolas Feuillatte</c:v>
                </c:pt>
                <c:pt idx="8">
                  <c:v>De Bligny</c:v>
                </c:pt>
              </c:strCache>
            </c:strRef>
          </c:cat>
          <c:val>
            <c:numRef>
              <c:f>Sheet1!$D$2:$D$10</c:f>
              <c:numCache>
                <c:formatCode>General</c:formatCode>
                <c:ptCount val="9"/>
                <c:pt idx="0">
                  <c:v>23.2455</c:v>
                </c:pt>
                <c:pt idx="1">
                  <c:v>66.268500000000003</c:v>
                </c:pt>
                <c:pt idx="2">
                  <c:v>48.192</c:v>
                </c:pt>
                <c:pt idx="3">
                  <c:v>14.372999999999999</c:v>
                </c:pt>
                <c:pt idx="4">
                  <c:v>31.6996</c:v>
                </c:pt>
                <c:pt idx="5">
                  <c:v>48.079000000000001</c:v>
                </c:pt>
                <c:pt idx="6">
                  <c:v>29.232500000000002</c:v>
                </c:pt>
                <c:pt idx="7">
                  <c:v>32.206099999999999</c:v>
                </c:pt>
                <c:pt idx="8">
                  <c:v>31.1565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Nicolas Feuillatte</c:v>
                </c:pt>
                <c:pt idx="2">
                  <c:v>All Others</c:v>
                </c:pt>
                <c:pt idx="3">
                  <c:v>Mumm</c:v>
                </c:pt>
                <c:pt idx="4">
                  <c:v>Canard Duchêne</c:v>
                </c:pt>
                <c:pt idx="5">
                  <c:v>Alfred De Rothschild</c:v>
                </c:pt>
                <c:pt idx="6">
                  <c:v>Charles Lafitte</c:v>
                </c:pt>
                <c:pt idx="7">
                  <c:v>Ruinart</c:v>
                </c:pt>
                <c:pt idx="8">
                  <c:v>Moët &amp; Chandon</c:v>
                </c:pt>
              </c:strCache>
            </c:strRef>
          </c:cat>
          <c:val>
            <c:numRef>
              <c:f>Sheet1!$B$2:$B$10</c:f>
              <c:numCache>
                <c:formatCode>General</c:formatCode>
                <c:ptCount val="9"/>
                <c:pt idx="0">
                  <c:v>58.954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Nicolas Feuillatte</c:v>
                </c:pt>
                <c:pt idx="2">
                  <c:v>All Others</c:v>
                </c:pt>
                <c:pt idx="3">
                  <c:v>Mumm</c:v>
                </c:pt>
                <c:pt idx="4">
                  <c:v>Canard Duchêne</c:v>
                </c:pt>
                <c:pt idx="5">
                  <c:v>Alfred De Rothschild</c:v>
                </c:pt>
                <c:pt idx="6">
                  <c:v>Charles Lafitte</c:v>
                </c:pt>
                <c:pt idx="7">
                  <c:v>Ruinart</c:v>
                </c:pt>
                <c:pt idx="8">
                  <c:v>Moët &amp; Chandon</c:v>
                </c:pt>
              </c:strCache>
            </c:strRef>
          </c:cat>
          <c:val>
            <c:numRef>
              <c:f>Sheet1!$C$2:$C$10</c:f>
              <c:numCache>
                <c:formatCode>General</c:formatCode>
                <c:ptCount val="9"/>
                <c:pt idx="0">
                  <c:v>22.984500000000001</c:v>
                </c:pt>
                <c:pt idx="1">
                  <c:v>29.654</c:v>
                </c:pt>
                <c:pt idx="3">
                  <c:v>34.965000000000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Nicolas Feuillatte</c:v>
                </c:pt>
                <c:pt idx="2">
                  <c:v>All Others</c:v>
                </c:pt>
                <c:pt idx="3">
                  <c:v>Mumm</c:v>
                </c:pt>
                <c:pt idx="4">
                  <c:v>Canard Duchêne</c:v>
                </c:pt>
                <c:pt idx="5">
                  <c:v>Alfred De Rothschild</c:v>
                </c:pt>
                <c:pt idx="6">
                  <c:v>Charles Lafitte</c:v>
                </c:pt>
                <c:pt idx="7">
                  <c:v>Ruinart</c:v>
                </c:pt>
                <c:pt idx="8">
                  <c:v>Moët &amp; Chandon</c:v>
                </c:pt>
              </c:strCache>
            </c:strRef>
          </c:cat>
          <c:val>
            <c:numRef>
              <c:f>Sheet1!$D$2:$D$10</c:f>
              <c:numCache>
                <c:formatCode>General</c:formatCode>
                <c:ptCount val="9"/>
                <c:pt idx="0">
                  <c:v>23.098600000000001</c:v>
                </c:pt>
                <c:pt idx="1">
                  <c:v>24.735299999999999</c:v>
                </c:pt>
                <c:pt idx="2">
                  <c:v>21.261500000000002</c:v>
                </c:pt>
                <c:pt idx="3">
                  <c:v>30.5504</c:v>
                </c:pt>
                <c:pt idx="4">
                  <c:v>26.584</c:v>
                </c:pt>
                <c:pt idx="5">
                  <c:v>24.018799999999999</c:v>
                </c:pt>
                <c:pt idx="6">
                  <c:v>18.713100000000001</c:v>
                </c:pt>
                <c:pt idx="7">
                  <c:v>67.789299999999997</c:v>
                </c:pt>
                <c:pt idx="8">
                  <c:v>41.2989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BA-420D-8245-82E558D4A165}"/>
                </c:ext>
              </c:extLst>
            </c:dLbl>
            <c:dLbl>
              <c:idx val="1"/>
              <c:tx>
                <c:rich>
                  <a:bodyPr/>
                  <a:lstStyle/>
                  <a:p>
                    <a:r>
                      <a:rPr lang="en-CH"/>
                      <a:t>3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BA-420D-8245-82E558D4A165}"/>
                </c:ext>
              </c:extLst>
            </c:dLbl>
            <c:dLbl>
              <c:idx val="2"/>
              <c:tx>
                <c:rich>
                  <a:bodyPr/>
                  <a:lstStyle/>
                  <a:p>
                    <a:r>
                      <a:rPr lang="en-CH"/>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BA-420D-8245-82E558D4A165}"/>
                </c:ext>
              </c:extLst>
            </c:dLbl>
            <c:dLbl>
              <c:idx val="3"/>
              <c:tx>
                <c:rich>
                  <a:bodyPr/>
                  <a:lstStyle/>
                  <a:p>
                    <a:r>
                      <a:rPr lang="en-CH"/>
                      <a:t>3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EBA-420D-8245-82E558D4A165}"/>
                </c:ext>
              </c:extLst>
            </c:dLbl>
            <c:dLbl>
              <c:idx val="4"/>
              <c:tx>
                <c:rich>
                  <a:bodyPr/>
                  <a:lstStyle/>
                  <a:p>
                    <a:r>
                      <a:rPr lang="en-CH"/>
                      <a:t>2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EBA-420D-8245-82E558D4A165}"/>
                </c:ext>
              </c:extLst>
            </c:dLbl>
            <c:dLbl>
              <c:idx val="5"/>
              <c:tx>
                <c:rich>
                  <a:bodyPr/>
                  <a:lstStyle/>
                  <a:p>
                    <a:r>
                      <a:rPr lang="en-CH"/>
                      <a:t>45.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EBA-420D-8245-82E558D4A165}"/>
                </c:ext>
              </c:extLst>
            </c:dLbl>
            <c:dLbl>
              <c:idx val="6"/>
              <c:tx>
                <c:rich>
                  <a:bodyPr/>
                  <a:lstStyle/>
                  <a:p>
                    <a:r>
                      <a:rPr lang="en-CH"/>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EBA-420D-8245-82E558D4A165}"/>
                </c:ext>
              </c:extLst>
            </c:dLbl>
            <c:dLbl>
              <c:idx val="7"/>
              <c:tx>
                <c:rich>
                  <a:bodyPr/>
                  <a:lstStyle/>
                  <a:p>
                    <a:r>
                      <a:rPr lang="en-CH"/>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EBA-420D-8245-82E558D4A165}"/>
                </c:ext>
              </c:extLst>
            </c:dLbl>
            <c:dLbl>
              <c:idx val="8"/>
              <c:tx>
                <c:rich>
                  <a:bodyPr/>
                  <a:lstStyle/>
                  <a:p>
                    <a:r>
                      <a:rPr lang="en-CH"/>
                      <a:t>2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EBA-420D-8245-82E558D4A165}"/>
                </c:ext>
              </c:extLst>
            </c:dLbl>
            <c:dLbl>
              <c:idx val="9"/>
              <c:tx>
                <c:rich>
                  <a:bodyPr/>
                  <a:lstStyle/>
                  <a:p>
                    <a:r>
                      <a:rPr lang="en-CH"/>
                      <a:t>37.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EBA-420D-8245-82E558D4A165}"/>
                </c:ext>
              </c:extLst>
            </c:dLbl>
            <c:dLbl>
              <c:idx val="10"/>
              <c:tx>
                <c:rich>
                  <a:bodyPr/>
                  <a:lstStyle/>
                  <a:p>
                    <a:r>
                      <a:rPr lang="en-CH"/>
                      <a:t>87.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EBA-420D-8245-82E558D4A165}"/>
                </c:ext>
              </c:extLst>
            </c:dLbl>
            <c:dLbl>
              <c:idx val="11"/>
              <c:tx>
                <c:rich>
                  <a:bodyPr/>
                  <a:lstStyle/>
                  <a:p>
                    <a:r>
                      <a:rPr lang="en-CH"/>
                      <a:t>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EBA-420D-8245-82E558D4A165}"/>
                </c:ext>
              </c:extLst>
            </c:dLbl>
            <c:dLbl>
              <c:idx val="12"/>
              <c:tx>
                <c:rich>
                  <a:bodyPr/>
                  <a:lstStyle/>
                  <a:p>
                    <a:r>
                      <a:rPr lang="en-CH"/>
                      <a:t>7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EBA-420D-8245-82E558D4A165}"/>
                </c:ext>
              </c:extLst>
            </c:dLbl>
            <c:dLbl>
              <c:idx val="13"/>
              <c:tx>
                <c:rich>
                  <a:bodyPr/>
                  <a:lstStyle/>
                  <a:p>
                    <a:r>
                      <a:rPr lang="en-CH"/>
                      <a:t>3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EBA-420D-8245-82E558D4A165}"/>
                </c:ext>
              </c:extLst>
            </c:dLbl>
            <c:dLbl>
              <c:idx val="14"/>
              <c:tx>
                <c:rich>
                  <a:bodyPr/>
                  <a:lstStyle/>
                  <a:p>
                    <a:r>
                      <a:rPr lang="en-CH"/>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8EBA-420D-8245-82E558D4A16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CHAMPAGNE NICOLAS 1ER CRU BS 1CT X 750ML</c:v>
                </c:pt>
                <c:pt idx="10">
                  <c:v>MG CHAMPAGNE NICOLAS BLC/BL BS 1CT X 1500ML</c:v>
                </c:pt>
                <c:pt idx="11">
                  <c:v>1/2 CHAMP NICOLAS ROSE 1E C BS 1CT X 375ML</c:v>
                </c:pt>
                <c:pt idx="12">
                  <c:v>MG CHAMPAGNE NICOLAS 1ERE CUVE 1CT X 1500ML</c:v>
                </c:pt>
                <c:pt idx="13">
                  <c:v>CHAMPAGNE NICOLAS BLC DE NOIRS 1CT X 750ML</c:v>
                </c:pt>
                <c:pt idx="14">
                  <c:v>CHAMPAGNE NICOLAS 1ER CRU ETUI 1CT X 750ML</c:v>
                </c:pt>
              </c:strCache>
            </c:strRef>
          </c:cat>
          <c:val>
            <c:numRef>
              <c:f>Sheet1!$B$2:$B$16</c:f>
              <c:numCache>
                <c:formatCode>General</c:formatCode>
                <c:ptCount val="15"/>
                <c:pt idx="0">
                  <c:v>21.91</c:v>
                </c:pt>
                <c:pt idx="1">
                  <c:v>38.93</c:v>
                </c:pt>
                <c:pt idx="2">
                  <c:v>25.02</c:v>
                </c:pt>
                <c:pt idx="3">
                  <c:v>37.130000000000003</c:v>
                </c:pt>
                <c:pt idx="4">
                  <c:v>22.35</c:v>
                </c:pt>
                <c:pt idx="5">
                  <c:v>45.44</c:v>
                </c:pt>
                <c:pt idx="6">
                  <c:v>41.36</c:v>
                </c:pt>
                <c:pt idx="7">
                  <c:v>46.56</c:v>
                </c:pt>
                <c:pt idx="8">
                  <c:v>24.15</c:v>
                </c:pt>
                <c:pt idx="9">
                  <c:v>37.11</c:v>
                </c:pt>
                <c:pt idx="10">
                  <c:v>87.57</c:v>
                </c:pt>
                <c:pt idx="11">
                  <c:v>23.8</c:v>
                </c:pt>
                <c:pt idx="12">
                  <c:v>74.13</c:v>
                </c:pt>
                <c:pt idx="13">
                  <c:v>36.36</c:v>
                </c:pt>
                <c:pt idx="14">
                  <c:v>36.3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B$2:$B$10</c:f>
              <c:numCache>
                <c:formatCode>General</c:formatCode>
                <c:ptCount val="9"/>
                <c:pt idx="0">
                  <c:v>60.532499999999999</c:v>
                </c:pt>
                <c:pt idx="1">
                  <c:v>166.38390000000001</c:v>
                </c:pt>
                <c:pt idx="2">
                  <c:v>93.426900000000003</c:v>
                </c:pt>
                <c:pt idx="3">
                  <c:v>85.9153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C$2:$C$10</c:f>
              <c:numCache>
                <c:formatCode>General</c:formatCode>
                <c:ptCount val="9"/>
                <c:pt idx="0">
                  <c:v>23.205300000000001</c:v>
                </c:pt>
                <c:pt idx="1">
                  <c:v>45.7502</c:v>
                </c:pt>
                <c:pt idx="2">
                  <c:v>28.1152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D$2:$D$10</c:f>
              <c:numCache>
                <c:formatCode>General</c:formatCode>
                <c:ptCount val="9"/>
                <c:pt idx="0">
                  <c:v>23.150099999999998</c:v>
                </c:pt>
                <c:pt idx="1">
                  <c:v>67.467299999999994</c:v>
                </c:pt>
                <c:pt idx="2">
                  <c:v>48.531300000000002</c:v>
                </c:pt>
                <c:pt idx="3">
                  <c:v>48.428899999999999</c:v>
                </c:pt>
                <c:pt idx="4">
                  <c:v>31.569299999999998</c:v>
                </c:pt>
                <c:pt idx="5">
                  <c:v>31.9069</c:v>
                </c:pt>
                <c:pt idx="6">
                  <c:v>29.266200000000001</c:v>
                </c:pt>
                <c:pt idx="7">
                  <c:v>81.918599999999998</c:v>
                </c:pt>
                <c:pt idx="8">
                  <c:v>38.8654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 Feuillatte</c:v>
                </c:pt>
                <c:pt idx="1">
                  <c:v>All Others</c:v>
                </c:pt>
                <c:pt idx="2">
                  <c:v>Mumm</c:v>
                </c:pt>
                <c:pt idx="3">
                  <c:v>Canard Duchêne</c:v>
                </c:pt>
                <c:pt idx="4">
                  <c:v>Alfred De Rothschild</c:v>
                </c:pt>
                <c:pt idx="5">
                  <c:v>Charles Lafitte</c:v>
                </c:pt>
                <c:pt idx="6">
                  <c:v>Moët &amp; Chandon</c:v>
                </c:pt>
                <c:pt idx="7">
                  <c:v>Tsarine</c:v>
                </c:pt>
                <c:pt idx="8">
                  <c:v>Demoiselle</c:v>
                </c:pt>
              </c:strCache>
            </c:strRef>
          </c:cat>
          <c:val>
            <c:numRef>
              <c:f>Sheet1!$B$2:$B$10</c:f>
              <c:numCache>
                <c:formatCode>General</c:formatCode>
                <c:ptCount val="9"/>
                <c:pt idx="0">
                  <c:v>29.794699999999999</c:v>
                </c:pt>
                <c:pt idx="2">
                  <c:v>34.96500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 Feuillatte</c:v>
                </c:pt>
                <c:pt idx="1">
                  <c:v>All Others</c:v>
                </c:pt>
                <c:pt idx="2">
                  <c:v>Mumm</c:v>
                </c:pt>
                <c:pt idx="3">
                  <c:v>Canard Duchêne</c:v>
                </c:pt>
                <c:pt idx="4">
                  <c:v>Alfred De Rothschild</c:v>
                </c:pt>
                <c:pt idx="5">
                  <c:v>Charles Lafitte</c:v>
                </c:pt>
                <c:pt idx="6">
                  <c:v>Moët &amp; Chandon</c:v>
                </c:pt>
                <c:pt idx="7">
                  <c:v>Tsarine</c:v>
                </c:pt>
                <c:pt idx="8">
                  <c:v>Demoiselle</c:v>
                </c:pt>
              </c:strCache>
            </c:strRef>
          </c:cat>
          <c:val>
            <c:numRef>
              <c:f>Sheet1!$C$2:$C$10</c:f>
              <c:numCache>
                <c:formatCode>General</c:formatCode>
                <c:ptCount val="9"/>
                <c:pt idx="0">
                  <c:v>24.584700000000002</c:v>
                </c:pt>
                <c:pt idx="1">
                  <c:v>21.015599999999999</c:v>
                </c:pt>
                <c:pt idx="2">
                  <c:v>30.5503</c:v>
                </c:pt>
                <c:pt idx="3">
                  <c:v>26.453299999999999</c:v>
                </c:pt>
                <c:pt idx="4">
                  <c:v>24.018799999999999</c:v>
                </c:pt>
                <c:pt idx="5">
                  <c:v>18.713100000000001</c:v>
                </c:pt>
                <c:pt idx="6">
                  <c:v>41.108699999999999</c:v>
                </c:pt>
                <c:pt idx="7">
                  <c:v>28.7394</c:v>
                </c:pt>
                <c:pt idx="8">
                  <c:v>28.6077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Roederer</c:v>
                </c:pt>
              </c:strCache>
            </c:strRef>
          </c:cat>
          <c:val>
            <c:numRef>
              <c:f>Sheet1!$B$2:$B$10</c:f>
              <c:numCache>
                <c:formatCode>General</c:formatCode>
                <c:ptCount val="9"/>
                <c:pt idx="0">
                  <c:v>59.941000000000003</c:v>
                </c:pt>
                <c:pt idx="1">
                  <c:v>161.54750000000001</c:v>
                </c:pt>
                <c:pt idx="2">
                  <c:v>93.283699999999996</c:v>
                </c:pt>
                <c:pt idx="4">
                  <c:v>85.0554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Roederer</c:v>
                </c:pt>
              </c:strCache>
            </c:strRef>
          </c:cat>
          <c:val>
            <c:numRef>
              <c:f>Sheet1!$C$2:$C$10</c:f>
              <c:numCache>
                <c:formatCode>General</c:formatCode>
                <c:ptCount val="9"/>
                <c:pt idx="0">
                  <c:v>22.932500000000001</c:v>
                </c:pt>
                <c:pt idx="1">
                  <c:v>43.898800000000001</c:v>
                </c:pt>
                <c:pt idx="2">
                  <c:v>27.7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Roederer</c:v>
                </c:pt>
              </c:strCache>
            </c:strRef>
          </c:cat>
          <c:val>
            <c:numRef>
              <c:f>Sheet1!$D$2:$D$10</c:f>
              <c:numCache>
                <c:formatCode>General</c:formatCode>
                <c:ptCount val="9"/>
                <c:pt idx="0">
                  <c:v>23.158100000000001</c:v>
                </c:pt>
                <c:pt idx="1">
                  <c:v>65.331299999999999</c:v>
                </c:pt>
                <c:pt idx="2">
                  <c:v>47.951700000000002</c:v>
                </c:pt>
                <c:pt idx="3">
                  <c:v>31.455500000000001</c:v>
                </c:pt>
                <c:pt idx="4">
                  <c:v>47.179400000000001</c:v>
                </c:pt>
                <c:pt idx="5">
                  <c:v>31.805499999999999</c:v>
                </c:pt>
                <c:pt idx="6">
                  <c:v>29.3154</c:v>
                </c:pt>
                <c:pt idx="7">
                  <c:v>38.494</c:v>
                </c:pt>
                <c:pt idx="8">
                  <c:v>80.10479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All Others</c:v>
                </c:pt>
                <c:pt idx="6">
                  <c:v>Nicolas Feuillatte</c:v>
                </c:pt>
                <c:pt idx="7">
                  <c:v>De Bligny</c:v>
                </c:pt>
                <c:pt idx="8">
                  <c:v>Canard Duchêne</c:v>
                </c:pt>
              </c:strCache>
            </c:strRef>
          </c:cat>
          <c:val>
            <c:numRef>
              <c:f>Sheet1!$B$2:$B$10</c:f>
              <c:numCache>
                <c:formatCode>General</c:formatCode>
                <c:ptCount val="9"/>
                <c:pt idx="0">
                  <c:v>61.007199999999997</c:v>
                </c:pt>
                <c:pt idx="1">
                  <c:v>167.47640000000001</c:v>
                </c:pt>
                <c:pt idx="2">
                  <c:v>92.314700000000002</c:v>
                </c:pt>
                <c:pt idx="4">
                  <c:v>84.3824999999999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All Others</c:v>
                </c:pt>
                <c:pt idx="6">
                  <c:v>Nicolas Feuillatte</c:v>
                </c:pt>
                <c:pt idx="7">
                  <c:v>De Bligny</c:v>
                </c:pt>
                <c:pt idx="8">
                  <c:v>Canard Duchêne</c:v>
                </c:pt>
              </c:strCache>
            </c:strRef>
          </c:cat>
          <c:val>
            <c:numRef>
              <c:f>Sheet1!$C$2:$C$10</c:f>
              <c:numCache>
                <c:formatCode>General</c:formatCode>
                <c:ptCount val="9"/>
                <c:pt idx="0">
                  <c:v>23.1191</c:v>
                </c:pt>
                <c:pt idx="1">
                  <c:v>44.7242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All Others</c:v>
                </c:pt>
                <c:pt idx="6">
                  <c:v>Nicolas Feuillatte</c:v>
                </c:pt>
                <c:pt idx="7">
                  <c:v>De Bligny</c:v>
                </c:pt>
                <c:pt idx="8">
                  <c:v>Canard Duchêne</c:v>
                </c:pt>
              </c:strCache>
            </c:strRef>
          </c:cat>
          <c:val>
            <c:numRef>
              <c:f>Sheet1!$D$2:$D$10</c:f>
              <c:numCache>
                <c:formatCode>General</c:formatCode>
                <c:ptCount val="9"/>
                <c:pt idx="0">
                  <c:v>23.174099999999999</c:v>
                </c:pt>
                <c:pt idx="1">
                  <c:v>67.610100000000003</c:v>
                </c:pt>
                <c:pt idx="2">
                  <c:v>48.887300000000003</c:v>
                </c:pt>
                <c:pt idx="3">
                  <c:v>31.532399999999999</c:v>
                </c:pt>
                <c:pt idx="4">
                  <c:v>48.268700000000003</c:v>
                </c:pt>
                <c:pt idx="5">
                  <c:v>34.5212</c:v>
                </c:pt>
                <c:pt idx="6">
                  <c:v>31.719799999999999</c:v>
                </c:pt>
                <c:pt idx="7">
                  <c:v>30.627700000000001</c:v>
                </c:pt>
                <c:pt idx="8">
                  <c:v>30.3396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Roederer</c:v>
                </c:pt>
                <c:pt idx="6">
                  <c:v>Nicolas Feuillatte</c:v>
                </c:pt>
                <c:pt idx="7">
                  <c:v>All Others</c:v>
                </c:pt>
                <c:pt idx="8">
                  <c:v>Taittinger</c:v>
                </c:pt>
              </c:strCache>
            </c:strRef>
          </c:cat>
          <c:val>
            <c:numRef>
              <c:f>Sheet1!$B$2:$B$10</c:f>
              <c:numCache>
                <c:formatCode>General</c:formatCode>
                <c:ptCount val="9"/>
                <c:pt idx="0">
                  <c:v>60.507800000000003</c:v>
                </c:pt>
                <c:pt idx="1">
                  <c:v>168.6309</c:v>
                </c:pt>
                <c:pt idx="2">
                  <c:v>94.390699999999995</c:v>
                </c:pt>
                <c:pt idx="3">
                  <c:v>85.206199999999995</c:v>
                </c:pt>
                <c:pt idx="5">
                  <c:v>169.26580000000001</c:v>
                </c:pt>
                <c:pt idx="8">
                  <c:v>92.04399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Roederer</c:v>
                </c:pt>
                <c:pt idx="6">
                  <c:v>Nicolas Feuillatte</c:v>
                </c:pt>
                <c:pt idx="7">
                  <c:v>All Others</c:v>
                </c:pt>
                <c:pt idx="8">
                  <c:v>Taittinger</c:v>
                </c:pt>
              </c:strCache>
            </c:strRef>
          </c:cat>
          <c:val>
            <c:numRef>
              <c:f>Sheet1!$C$2:$C$10</c:f>
              <c:numCache>
                <c:formatCode>General</c:formatCode>
                <c:ptCount val="9"/>
                <c:pt idx="0">
                  <c:v>23.174800000000001</c:v>
                </c:pt>
                <c:pt idx="1">
                  <c:v>45.578699999999998</c:v>
                </c:pt>
                <c:pt idx="2">
                  <c:v>28.2732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Roederer</c:v>
                </c:pt>
                <c:pt idx="6">
                  <c:v>Nicolas Feuillatte</c:v>
                </c:pt>
                <c:pt idx="7">
                  <c:v>All Others</c:v>
                </c:pt>
                <c:pt idx="8">
                  <c:v>Taittinger</c:v>
                </c:pt>
              </c:strCache>
            </c:strRef>
          </c:cat>
          <c:val>
            <c:numRef>
              <c:f>Sheet1!$D$2:$D$10</c:f>
              <c:numCache>
                <c:formatCode>General</c:formatCode>
                <c:ptCount val="9"/>
                <c:pt idx="0">
                  <c:v>23.056100000000001</c:v>
                </c:pt>
                <c:pt idx="1">
                  <c:v>68.409099999999995</c:v>
                </c:pt>
                <c:pt idx="2">
                  <c:v>49.268999999999998</c:v>
                </c:pt>
                <c:pt idx="3">
                  <c:v>49.892000000000003</c:v>
                </c:pt>
                <c:pt idx="4">
                  <c:v>31.674299999999999</c:v>
                </c:pt>
                <c:pt idx="5">
                  <c:v>85.2012</c:v>
                </c:pt>
                <c:pt idx="6">
                  <c:v>32.428699999999999</c:v>
                </c:pt>
                <c:pt idx="7">
                  <c:v>40.770699999999998</c:v>
                </c:pt>
                <c:pt idx="8">
                  <c:v>50.3639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Roederer</c:v>
                </c:pt>
                <c:pt idx="5">
                  <c:v>Malard</c:v>
                </c:pt>
                <c:pt idx="6">
                  <c:v>Nicolas Feuillatte</c:v>
                </c:pt>
                <c:pt idx="7">
                  <c:v>Dom Perignon</c:v>
                </c:pt>
                <c:pt idx="8">
                  <c:v>Veuve Clicquot</c:v>
                </c:pt>
              </c:strCache>
            </c:strRef>
          </c:cat>
          <c:val>
            <c:numRef>
              <c:f>Sheet1!$B$2:$B$10</c:f>
              <c:numCache>
                <c:formatCode>General</c:formatCode>
                <c:ptCount val="9"/>
                <c:pt idx="0">
                  <c:v>61.083300000000001</c:v>
                </c:pt>
                <c:pt idx="1">
                  <c:v>169.1404</c:v>
                </c:pt>
                <c:pt idx="2">
                  <c:v>93.687899999999999</c:v>
                </c:pt>
                <c:pt idx="3">
                  <c:v>86.734499999999997</c:v>
                </c:pt>
                <c:pt idx="4">
                  <c:v>182.6706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Malard</c:v>
                </c:pt>
                <c:pt idx="6">
                  <c:v>Nicolas Feuillatte</c:v>
                </c:pt>
                <c:pt idx="7">
                  <c:v>Dom Perignon</c:v>
                </c:pt>
                <c:pt idx="8">
                  <c:v>Veuve Clicquot</c:v>
                </c:pt>
              </c:strCache>
            </c:strRef>
          </c:cat>
          <c:val>
            <c:numRef>
              <c:f>Sheet1!$C$2:$C$10</c:f>
              <c:numCache>
                <c:formatCode>General</c:formatCode>
                <c:ptCount val="9"/>
                <c:pt idx="0">
                  <c:v>23.564699999999998</c:v>
                </c:pt>
                <c:pt idx="1">
                  <c:v>47.133299999999998</c:v>
                </c:pt>
                <c:pt idx="2">
                  <c:v>29.01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Malard</c:v>
                </c:pt>
                <c:pt idx="6">
                  <c:v>Nicolas Feuillatte</c:v>
                </c:pt>
                <c:pt idx="7">
                  <c:v>Dom Perignon</c:v>
                </c:pt>
                <c:pt idx="8">
                  <c:v>Veuve Clicquot</c:v>
                </c:pt>
              </c:strCache>
            </c:strRef>
          </c:cat>
          <c:val>
            <c:numRef>
              <c:f>Sheet1!$D$2:$D$10</c:f>
              <c:numCache>
                <c:formatCode>General</c:formatCode>
                <c:ptCount val="9"/>
                <c:pt idx="0">
                  <c:v>23.208500000000001</c:v>
                </c:pt>
                <c:pt idx="1">
                  <c:v>72.575999999999993</c:v>
                </c:pt>
                <c:pt idx="2">
                  <c:v>48.561900000000001</c:v>
                </c:pt>
                <c:pt idx="3">
                  <c:v>49.034100000000002</c:v>
                </c:pt>
                <c:pt idx="4">
                  <c:v>101.7933</c:v>
                </c:pt>
                <c:pt idx="5">
                  <c:v>31.808399999999999</c:v>
                </c:pt>
                <c:pt idx="6">
                  <c:v>31.8504</c:v>
                </c:pt>
                <c:pt idx="7">
                  <c:v>285.82150000000001</c:v>
                </c:pt>
                <c:pt idx="8">
                  <c:v>57.3532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Taittinger</c:v>
                </c:pt>
                <c:pt idx="7">
                  <c:v>Roederer</c:v>
                </c:pt>
                <c:pt idx="8">
                  <c:v>Canard Duchêne</c:v>
                </c:pt>
              </c:strCache>
            </c:strRef>
          </c:cat>
          <c:val>
            <c:numRef>
              <c:f>Sheet1!$B$2:$B$10</c:f>
              <c:numCache>
                <c:formatCode>General</c:formatCode>
                <c:ptCount val="9"/>
                <c:pt idx="0">
                  <c:v>65.033299999999997</c:v>
                </c:pt>
                <c:pt idx="1">
                  <c:v>166.16749999999999</c:v>
                </c:pt>
                <c:pt idx="2">
                  <c:v>94.285399999999996</c:v>
                </c:pt>
                <c:pt idx="4">
                  <c:v>89.191699999999997</c:v>
                </c:pt>
                <c:pt idx="6">
                  <c:v>92.4589</c:v>
                </c:pt>
                <c:pt idx="7">
                  <c:v>133.90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Taittinger</c:v>
                </c:pt>
                <c:pt idx="7">
                  <c:v>Roederer</c:v>
                </c:pt>
                <c:pt idx="8">
                  <c:v>Canard Duchêne</c:v>
                </c:pt>
              </c:strCache>
            </c:strRef>
          </c:cat>
          <c:val>
            <c:numRef>
              <c:f>Sheet1!$C$2:$C$10</c:f>
              <c:numCache>
                <c:formatCode>General</c:formatCode>
                <c:ptCount val="9"/>
                <c:pt idx="0">
                  <c:v>24.293900000000001</c:v>
                </c:pt>
                <c:pt idx="1">
                  <c:v>51.7901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Taittinger</c:v>
                </c:pt>
                <c:pt idx="7">
                  <c:v>Roederer</c:v>
                </c:pt>
                <c:pt idx="8">
                  <c:v>Canard Duchêne</c:v>
                </c:pt>
              </c:strCache>
            </c:strRef>
          </c:cat>
          <c:val>
            <c:numRef>
              <c:f>Sheet1!$D$2:$D$10</c:f>
              <c:numCache>
                <c:formatCode>General</c:formatCode>
                <c:ptCount val="9"/>
                <c:pt idx="0">
                  <c:v>23.345800000000001</c:v>
                </c:pt>
                <c:pt idx="1">
                  <c:v>70.011300000000006</c:v>
                </c:pt>
                <c:pt idx="2">
                  <c:v>50.410299999999999</c:v>
                </c:pt>
                <c:pt idx="3">
                  <c:v>31.915800000000001</c:v>
                </c:pt>
                <c:pt idx="4">
                  <c:v>49.785699999999999</c:v>
                </c:pt>
                <c:pt idx="5">
                  <c:v>31.808299999999999</c:v>
                </c:pt>
                <c:pt idx="6">
                  <c:v>49.1556</c:v>
                </c:pt>
                <c:pt idx="7">
                  <c:v>75.052599999999998</c:v>
                </c:pt>
                <c:pt idx="8">
                  <c:v>31.8622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Nicolas Feuillatte</c:v>
                </c:pt>
                <c:pt idx="6">
                  <c:v>Roederer</c:v>
                </c:pt>
                <c:pt idx="7">
                  <c:v>Heidsieck &amp; Co Monopole</c:v>
                </c:pt>
                <c:pt idx="8">
                  <c:v>Ayala</c:v>
                </c:pt>
              </c:strCache>
            </c:strRef>
          </c:cat>
          <c:val>
            <c:numRef>
              <c:f>Sheet1!$B$2:$B$10</c:f>
              <c:numCache>
                <c:formatCode>General</c:formatCode>
                <c:ptCount val="9"/>
                <c:pt idx="0">
                  <c:v>60.375300000000003</c:v>
                </c:pt>
                <c:pt idx="1">
                  <c:v>164.81620000000001</c:v>
                </c:pt>
                <c:pt idx="2">
                  <c:v>93.167100000000005</c:v>
                </c:pt>
                <c:pt idx="3">
                  <c:v>85.0370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Roederer</c:v>
                </c:pt>
                <c:pt idx="7">
                  <c:v>Heidsieck &amp; Co Monopole</c:v>
                </c:pt>
                <c:pt idx="8">
                  <c:v>Ayala</c:v>
                </c:pt>
              </c:strCache>
            </c:strRef>
          </c:cat>
          <c:val>
            <c:numRef>
              <c:f>Sheet1!$C$2:$C$10</c:f>
              <c:numCache>
                <c:formatCode>General</c:formatCode>
                <c:ptCount val="9"/>
                <c:pt idx="0">
                  <c:v>22.9071</c:v>
                </c:pt>
                <c:pt idx="1">
                  <c:v>45.308900000000001</c:v>
                </c:pt>
                <c:pt idx="2">
                  <c:v>27.9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Roederer</c:v>
                </c:pt>
                <c:pt idx="7">
                  <c:v>Heidsieck &amp; Co Monopole</c:v>
                </c:pt>
                <c:pt idx="8">
                  <c:v>Ayala</c:v>
                </c:pt>
              </c:strCache>
            </c:strRef>
          </c:cat>
          <c:val>
            <c:numRef>
              <c:f>Sheet1!$D$2:$D$10</c:f>
              <c:numCache>
                <c:formatCode>General</c:formatCode>
                <c:ptCount val="9"/>
                <c:pt idx="0">
                  <c:v>23.155999999999999</c:v>
                </c:pt>
                <c:pt idx="1">
                  <c:v>67.246499999999997</c:v>
                </c:pt>
                <c:pt idx="2">
                  <c:v>48.3127</c:v>
                </c:pt>
                <c:pt idx="3">
                  <c:v>47.829300000000003</c:v>
                </c:pt>
                <c:pt idx="4">
                  <c:v>31.5227</c:v>
                </c:pt>
                <c:pt idx="5">
                  <c:v>31.812100000000001</c:v>
                </c:pt>
                <c:pt idx="6">
                  <c:v>83.718599999999995</c:v>
                </c:pt>
                <c:pt idx="7">
                  <c:v>29.276599999999998</c:v>
                </c:pt>
                <c:pt idx="8">
                  <c:v>38.61399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Roederer</c:v>
                </c:pt>
                <c:pt idx="5">
                  <c:v>Heidsieck &amp; Co Monopole</c:v>
                </c:pt>
                <c:pt idx="6">
                  <c:v>Malard</c:v>
                </c:pt>
                <c:pt idx="7">
                  <c:v>Dom Perignon</c:v>
                </c:pt>
                <c:pt idx="8">
                  <c:v>Taittinger</c:v>
                </c:pt>
              </c:strCache>
            </c:strRef>
          </c:cat>
          <c:val>
            <c:numRef>
              <c:f>Sheet1!$B$2:$B$10</c:f>
              <c:numCache>
                <c:formatCode>General</c:formatCode>
                <c:ptCount val="9"/>
                <c:pt idx="0">
                  <c:v>57.976199999999999</c:v>
                </c:pt>
                <c:pt idx="1">
                  <c:v>168.29599999999999</c:v>
                </c:pt>
                <c:pt idx="2">
                  <c:v>93.0792</c:v>
                </c:pt>
                <c:pt idx="3">
                  <c:v>90.453400000000002</c:v>
                </c:pt>
                <c:pt idx="4">
                  <c:v>132.93809999999999</c:v>
                </c:pt>
                <c:pt idx="8">
                  <c:v>91.42969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Heidsieck &amp; Co Monopole</c:v>
                </c:pt>
                <c:pt idx="6">
                  <c:v>Malard</c:v>
                </c:pt>
                <c:pt idx="7">
                  <c:v>Dom Perignon</c:v>
                </c:pt>
                <c:pt idx="8">
                  <c:v>Taittinger</c:v>
                </c:pt>
              </c:strCache>
            </c:strRef>
          </c:cat>
          <c:val>
            <c:numRef>
              <c:f>Sheet1!$C$2:$C$10</c:f>
              <c:numCache>
                <c:formatCode>General</c:formatCode>
                <c:ptCount val="9"/>
                <c:pt idx="0">
                  <c:v>23.4466</c:v>
                </c:pt>
                <c:pt idx="1">
                  <c:v>47.47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Roederer</c:v>
                </c:pt>
                <c:pt idx="5">
                  <c:v>Heidsieck &amp; Co Monopole</c:v>
                </c:pt>
                <c:pt idx="6">
                  <c:v>Malard</c:v>
                </c:pt>
                <c:pt idx="7">
                  <c:v>Dom Perignon</c:v>
                </c:pt>
                <c:pt idx="8">
                  <c:v>Taittinger</c:v>
                </c:pt>
              </c:strCache>
            </c:strRef>
          </c:cat>
          <c:val>
            <c:numRef>
              <c:f>Sheet1!$D$2:$D$10</c:f>
              <c:numCache>
                <c:formatCode>General</c:formatCode>
                <c:ptCount val="9"/>
                <c:pt idx="0">
                  <c:v>23.013000000000002</c:v>
                </c:pt>
                <c:pt idx="1">
                  <c:v>69.399699999999996</c:v>
                </c:pt>
                <c:pt idx="2">
                  <c:v>48.775799999999997</c:v>
                </c:pt>
                <c:pt idx="3">
                  <c:v>50.017299999999999</c:v>
                </c:pt>
                <c:pt idx="4">
                  <c:v>83.465900000000005</c:v>
                </c:pt>
                <c:pt idx="5">
                  <c:v>29.332599999999999</c:v>
                </c:pt>
                <c:pt idx="6">
                  <c:v>31.468499999999999</c:v>
                </c:pt>
                <c:pt idx="7">
                  <c:v>271.44150000000002</c:v>
                </c:pt>
                <c:pt idx="8">
                  <c:v>51.0322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Heidsieck &amp; Co Monopole</c:v>
                </c:pt>
                <c:pt idx="6">
                  <c:v>Taittinger</c:v>
                </c:pt>
                <c:pt idx="7">
                  <c:v>Nicolas Feuillatte</c:v>
                </c:pt>
                <c:pt idx="8">
                  <c:v>Canard Duchêne</c:v>
                </c:pt>
              </c:strCache>
            </c:strRef>
          </c:cat>
          <c:val>
            <c:numRef>
              <c:f>Sheet1!$B$2:$B$10</c:f>
              <c:numCache>
                <c:formatCode>General</c:formatCode>
                <c:ptCount val="9"/>
                <c:pt idx="0">
                  <c:v>59.059399999999997</c:v>
                </c:pt>
                <c:pt idx="1">
                  <c:v>170.61949999999999</c:v>
                </c:pt>
                <c:pt idx="2">
                  <c:v>93.899500000000003</c:v>
                </c:pt>
                <c:pt idx="4">
                  <c:v>86.724199999999996</c:v>
                </c:pt>
                <c:pt idx="6">
                  <c:v>92.135099999999994</c:v>
                </c:pt>
                <c:pt idx="8">
                  <c:v>66.3502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Heidsieck &amp; Co Monopole</c:v>
                </c:pt>
                <c:pt idx="6">
                  <c:v>Taittinger</c:v>
                </c:pt>
                <c:pt idx="7">
                  <c:v>Nicolas Feuillatte</c:v>
                </c:pt>
                <c:pt idx="8">
                  <c:v>Canard Duchêne</c:v>
                </c:pt>
              </c:strCache>
            </c:strRef>
          </c:cat>
          <c:val>
            <c:numRef>
              <c:f>Sheet1!$C$2:$C$10</c:f>
              <c:numCache>
                <c:formatCode>General</c:formatCode>
                <c:ptCount val="9"/>
                <c:pt idx="0">
                  <c:v>23.654299999999999</c:v>
                </c:pt>
                <c:pt idx="1">
                  <c:v>46.447200000000002</c:v>
                </c:pt>
                <c:pt idx="2">
                  <c:v>27.7840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Heidsieck &amp; Co Monopole</c:v>
                </c:pt>
                <c:pt idx="6">
                  <c:v>Taittinger</c:v>
                </c:pt>
                <c:pt idx="7">
                  <c:v>Nicolas Feuillatte</c:v>
                </c:pt>
                <c:pt idx="8">
                  <c:v>Canard Duchêne</c:v>
                </c:pt>
              </c:strCache>
            </c:strRef>
          </c:cat>
          <c:val>
            <c:numRef>
              <c:f>Sheet1!$D$2:$D$10</c:f>
              <c:numCache>
                <c:formatCode>General</c:formatCode>
                <c:ptCount val="9"/>
                <c:pt idx="0">
                  <c:v>23.7743</c:v>
                </c:pt>
                <c:pt idx="1">
                  <c:v>67.388499999999993</c:v>
                </c:pt>
                <c:pt idx="2">
                  <c:v>49.009300000000003</c:v>
                </c:pt>
                <c:pt idx="3">
                  <c:v>31.674600000000002</c:v>
                </c:pt>
                <c:pt idx="4">
                  <c:v>50.091700000000003</c:v>
                </c:pt>
                <c:pt idx="5">
                  <c:v>29.235499999999998</c:v>
                </c:pt>
                <c:pt idx="6">
                  <c:v>47.737900000000003</c:v>
                </c:pt>
                <c:pt idx="7">
                  <c:v>32.486800000000002</c:v>
                </c:pt>
                <c:pt idx="8">
                  <c:v>31.0552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EDA-47C0-82EE-0692DD82635E}"/>
                </c:ext>
              </c:extLst>
            </c:dLbl>
            <c:dLbl>
              <c:idx val="1"/>
              <c:tx>
                <c:rich>
                  <a:bodyPr/>
                  <a:lstStyle/>
                  <a:p>
                    <a:r>
                      <a:rPr lang="en-CH"/>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EDA-47C0-82EE-0692DD82635E}"/>
                </c:ext>
              </c:extLst>
            </c:dLbl>
            <c:dLbl>
              <c:idx val="2"/>
              <c:tx>
                <c:rich>
                  <a:bodyPr/>
                  <a:lstStyle/>
                  <a:p>
                    <a:r>
                      <a:rPr lang="en-CH"/>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EDA-47C0-82EE-0692DD82635E}"/>
                </c:ext>
              </c:extLst>
            </c:dLbl>
            <c:dLbl>
              <c:idx val="3"/>
              <c:tx>
                <c:rich>
                  <a:bodyPr/>
                  <a:lstStyle/>
                  <a:p>
                    <a:r>
                      <a:rPr lang="en-CH"/>
                      <a:t>38.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EDA-47C0-82EE-0692DD82635E}"/>
                </c:ext>
              </c:extLst>
            </c:dLbl>
            <c:dLbl>
              <c:idx val="4"/>
              <c:tx>
                <c:rich>
                  <a:bodyPr/>
                  <a:lstStyle/>
                  <a:p>
                    <a:r>
                      <a:rPr lang="en-CH"/>
                      <a:t>4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EDA-47C0-82EE-0692DD82635E}"/>
                </c:ext>
              </c:extLst>
            </c:dLbl>
            <c:dLbl>
              <c:idx val="5"/>
              <c:tx>
                <c:rich>
                  <a:bodyPr/>
                  <a:lstStyle/>
                  <a:p>
                    <a:r>
                      <a:rPr lang="en-CH"/>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EDA-47C0-82EE-0692DD82635E}"/>
                </c:ext>
              </c:extLst>
            </c:dLbl>
            <c:dLbl>
              <c:idx val="6"/>
              <c:tx>
                <c:rich>
                  <a:bodyPr/>
                  <a:lstStyle/>
                  <a:p>
                    <a:r>
                      <a:rPr lang="en-CH"/>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EDA-47C0-82EE-0692DD82635E}"/>
                </c:ext>
              </c:extLst>
            </c:dLbl>
            <c:dLbl>
              <c:idx val="7"/>
              <c:tx>
                <c:rich>
                  <a:bodyPr/>
                  <a:lstStyle/>
                  <a:p>
                    <a:r>
                      <a:rPr lang="en-CH"/>
                      <a:t>8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EDA-47C0-82EE-0692DD82635E}"/>
                </c:ext>
              </c:extLst>
            </c:dLbl>
            <c:dLbl>
              <c:idx val="8"/>
              <c:tx>
                <c:rich>
                  <a:bodyPr/>
                  <a:lstStyle/>
                  <a:p>
                    <a:r>
                      <a:rPr lang="en-CH"/>
                      <a:t>4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EDA-47C0-82EE-0692DD82635E}"/>
                </c:ext>
              </c:extLst>
            </c:dLbl>
            <c:dLbl>
              <c:idx val="9"/>
              <c:tx>
                <c:rich>
                  <a:bodyPr/>
                  <a:lstStyle/>
                  <a:p>
                    <a:r>
                      <a:rPr lang="en-CH"/>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EDA-47C0-82EE-0692DD82635E}"/>
                </c:ext>
              </c:extLst>
            </c:dLbl>
            <c:dLbl>
              <c:idx val="10"/>
              <c:tx>
                <c:rich>
                  <a:bodyPr/>
                  <a:lstStyle/>
                  <a:p>
                    <a:r>
                      <a:rPr lang="en-CH"/>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EDA-47C0-82EE-0692DD82635E}"/>
                </c:ext>
              </c:extLst>
            </c:dLbl>
            <c:dLbl>
              <c:idx val="11"/>
              <c:tx>
                <c:rich>
                  <a:bodyPr/>
                  <a:lstStyle/>
                  <a:p>
                    <a:r>
                      <a:rPr lang="en-CH"/>
                      <a:t>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EDA-47C0-82EE-0692DD82635E}"/>
                </c:ext>
              </c:extLst>
            </c:dLbl>
            <c:dLbl>
              <c:idx val="12"/>
              <c:tx>
                <c:rich>
                  <a:bodyPr/>
                  <a:lstStyle/>
                  <a:p>
                    <a:r>
                      <a:rPr lang="en-CH"/>
                      <a:t>7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EDA-47C0-82EE-0692DD82635E}"/>
                </c:ext>
              </c:extLst>
            </c:dLbl>
            <c:dLbl>
              <c:idx val="13"/>
              <c:tx>
                <c:rich>
                  <a:bodyPr/>
                  <a:lstStyle/>
                  <a:p>
                    <a:r>
                      <a:rPr lang="en-CH"/>
                      <a:t>36.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EDA-47C0-82EE-0692DD82635E}"/>
                </c:ext>
              </c:extLst>
            </c:dLbl>
            <c:dLbl>
              <c:idx val="14"/>
              <c:tx>
                <c:rich>
                  <a:bodyPr/>
                  <a:lstStyle/>
                  <a:p>
                    <a:r>
                      <a:rPr lang="en-CH"/>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EDA-47C0-82EE-0692DD82635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1ER CRU BS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ROSE 1ERE CU 1CT X 750ML</c:v>
                </c:pt>
                <c:pt idx="12">
                  <c:v>MG CHAMPAGNE NICOLAS 1ERE CUVE 1CT X 1500ML</c:v>
                </c:pt>
                <c:pt idx="13">
                  <c:v>CHAMPAGNE NICOLAS BLC DE NOIRS 1CT X 750ML</c:v>
                </c:pt>
                <c:pt idx="14">
                  <c:v>CHAMPAGNE NICOLAS 1ERE CUV ETU 1CT X 750ML</c:v>
                </c:pt>
              </c:strCache>
            </c:strRef>
          </c:cat>
          <c:val>
            <c:numRef>
              <c:f>Sheet1!$B$2:$B$16</c:f>
              <c:numCache>
                <c:formatCode>General</c:formatCode>
                <c:ptCount val="15"/>
                <c:pt idx="0">
                  <c:v>21.91</c:v>
                </c:pt>
                <c:pt idx="1">
                  <c:v>39.020000000000003</c:v>
                </c:pt>
                <c:pt idx="2">
                  <c:v>24.97</c:v>
                </c:pt>
                <c:pt idx="3">
                  <c:v>38.58</c:v>
                </c:pt>
                <c:pt idx="4">
                  <c:v>45.07</c:v>
                </c:pt>
                <c:pt idx="5">
                  <c:v>22.28</c:v>
                </c:pt>
                <c:pt idx="6">
                  <c:v>36.89</c:v>
                </c:pt>
                <c:pt idx="7">
                  <c:v>84.55</c:v>
                </c:pt>
                <c:pt idx="8">
                  <c:v>46.23</c:v>
                </c:pt>
                <c:pt idx="9">
                  <c:v>24.08</c:v>
                </c:pt>
                <c:pt idx="10">
                  <c:v>23.92</c:v>
                </c:pt>
                <c:pt idx="11">
                  <c:v>42.36</c:v>
                </c:pt>
                <c:pt idx="12">
                  <c:v>78</c:v>
                </c:pt>
                <c:pt idx="13">
                  <c:v>36.71</c:v>
                </c:pt>
                <c:pt idx="14">
                  <c:v>37.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Heidsieck &amp; Co Monopole</c:v>
                </c:pt>
                <c:pt idx="5">
                  <c:v>Ayala</c:v>
                </c:pt>
                <c:pt idx="6">
                  <c:v>De Bligny</c:v>
                </c:pt>
                <c:pt idx="7">
                  <c:v>Laurent Perrier</c:v>
                </c:pt>
                <c:pt idx="8">
                  <c:v>Roederer</c:v>
                </c:pt>
              </c:strCache>
            </c:strRef>
          </c:cat>
          <c:val>
            <c:numRef>
              <c:f>Sheet1!$B$2:$B$10</c:f>
              <c:numCache>
                <c:formatCode>General</c:formatCode>
                <c:ptCount val="9"/>
                <c:pt idx="0">
                  <c:v>63.233600000000003</c:v>
                </c:pt>
                <c:pt idx="1">
                  <c:v>163.35290000000001</c:v>
                </c:pt>
                <c:pt idx="2">
                  <c:v>95.336500000000001</c:v>
                </c:pt>
                <c:pt idx="7">
                  <c:v>86.633700000000005</c:v>
                </c:pt>
                <c:pt idx="8">
                  <c:v>137.086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Heidsieck &amp; Co Monopole</c:v>
                </c:pt>
                <c:pt idx="5">
                  <c:v>Ayala</c:v>
                </c:pt>
                <c:pt idx="6">
                  <c:v>De Bligny</c:v>
                </c:pt>
                <c:pt idx="7">
                  <c:v>Laurent Perrier</c:v>
                </c:pt>
                <c:pt idx="8">
                  <c:v>Roederer</c:v>
                </c:pt>
              </c:strCache>
            </c:strRef>
          </c:cat>
          <c:val>
            <c:numRef>
              <c:f>Sheet1!$C$2:$C$10</c:f>
              <c:numCache>
                <c:formatCode>General</c:formatCode>
                <c:ptCount val="9"/>
                <c:pt idx="0">
                  <c:v>24.280200000000001</c:v>
                </c:pt>
                <c:pt idx="1">
                  <c:v>46.483400000000003</c:v>
                </c:pt>
                <c:pt idx="2">
                  <c:v>28.0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Heidsieck &amp; Co Monopole</c:v>
                </c:pt>
                <c:pt idx="5">
                  <c:v>Ayala</c:v>
                </c:pt>
                <c:pt idx="6">
                  <c:v>De Bligny</c:v>
                </c:pt>
                <c:pt idx="7">
                  <c:v>Laurent Perrier</c:v>
                </c:pt>
                <c:pt idx="8">
                  <c:v>Roederer</c:v>
                </c:pt>
              </c:strCache>
            </c:strRef>
          </c:cat>
          <c:val>
            <c:numRef>
              <c:f>Sheet1!$D$2:$D$10</c:f>
              <c:numCache>
                <c:formatCode>General</c:formatCode>
                <c:ptCount val="9"/>
                <c:pt idx="0">
                  <c:v>22.5974</c:v>
                </c:pt>
                <c:pt idx="1">
                  <c:v>66.296499999999995</c:v>
                </c:pt>
                <c:pt idx="2">
                  <c:v>48.576999999999998</c:v>
                </c:pt>
                <c:pt idx="3">
                  <c:v>31.597000000000001</c:v>
                </c:pt>
                <c:pt idx="4">
                  <c:v>29.059000000000001</c:v>
                </c:pt>
                <c:pt idx="5">
                  <c:v>39.901000000000003</c:v>
                </c:pt>
                <c:pt idx="6">
                  <c:v>30.558900000000001</c:v>
                </c:pt>
                <c:pt idx="7">
                  <c:v>52.247300000000003</c:v>
                </c:pt>
                <c:pt idx="8">
                  <c:v>76.1289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All Others</c:v>
                </c:pt>
                <c:pt idx="3">
                  <c:v>Deutz</c:v>
                </c:pt>
                <c:pt idx="4">
                  <c:v>Malard</c:v>
                </c:pt>
                <c:pt idx="5">
                  <c:v>Laurent Perrier</c:v>
                </c:pt>
                <c:pt idx="6">
                  <c:v>Bollinger</c:v>
                </c:pt>
                <c:pt idx="7">
                  <c:v>Canard Duchêne</c:v>
                </c:pt>
                <c:pt idx="8">
                  <c:v>Ayala</c:v>
                </c:pt>
              </c:strCache>
            </c:strRef>
          </c:cat>
          <c:val>
            <c:numRef>
              <c:f>Sheet1!$B$2:$B$10</c:f>
              <c:numCache>
                <c:formatCode>General</c:formatCode>
                <c:ptCount val="9"/>
                <c:pt idx="0">
                  <c:v>57.242899999999999</c:v>
                </c:pt>
                <c:pt idx="1">
                  <c:v>169.39879999999999</c:v>
                </c:pt>
                <c:pt idx="2">
                  <c:v>63.256999999999998</c:v>
                </c:pt>
                <c:pt idx="3">
                  <c:v>92.336699999999993</c:v>
                </c:pt>
                <c:pt idx="5">
                  <c:v>85.640199999999993</c:v>
                </c:pt>
                <c:pt idx="6">
                  <c:v>135.11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Deutz</c:v>
                </c:pt>
                <c:pt idx="4">
                  <c:v>Malard</c:v>
                </c:pt>
                <c:pt idx="5">
                  <c:v>Laurent Perrier</c:v>
                </c:pt>
                <c:pt idx="6">
                  <c:v>Bollinger</c:v>
                </c:pt>
                <c:pt idx="7">
                  <c:v>Canard Duchêne</c:v>
                </c:pt>
                <c:pt idx="8">
                  <c:v>Ayala</c:v>
                </c:pt>
              </c:strCache>
            </c:strRef>
          </c:cat>
          <c:val>
            <c:numRef>
              <c:f>Sheet1!$C$2:$C$10</c:f>
              <c:numCache>
                <c:formatCode>General</c:formatCode>
                <c:ptCount val="9"/>
                <c:pt idx="0">
                  <c:v>23.765699999999999</c:v>
                </c:pt>
                <c:pt idx="1">
                  <c:v>44.912199999999999</c:v>
                </c:pt>
                <c:pt idx="3">
                  <c:v>28.6528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Deutz</c:v>
                </c:pt>
                <c:pt idx="4">
                  <c:v>Malard</c:v>
                </c:pt>
                <c:pt idx="5">
                  <c:v>Laurent Perrier</c:v>
                </c:pt>
                <c:pt idx="6">
                  <c:v>Bollinger</c:v>
                </c:pt>
                <c:pt idx="7">
                  <c:v>Canard Duchêne</c:v>
                </c:pt>
                <c:pt idx="8">
                  <c:v>Ayala</c:v>
                </c:pt>
              </c:strCache>
            </c:strRef>
          </c:cat>
          <c:val>
            <c:numRef>
              <c:f>Sheet1!$D$2:$D$10</c:f>
              <c:numCache>
                <c:formatCode>General</c:formatCode>
                <c:ptCount val="9"/>
                <c:pt idx="0">
                  <c:v>22.834499999999998</c:v>
                </c:pt>
                <c:pt idx="1">
                  <c:v>67.096299999999999</c:v>
                </c:pt>
                <c:pt idx="2">
                  <c:v>31.059200000000001</c:v>
                </c:pt>
                <c:pt idx="3">
                  <c:v>51.938000000000002</c:v>
                </c:pt>
                <c:pt idx="4">
                  <c:v>32.034199999999998</c:v>
                </c:pt>
                <c:pt idx="5">
                  <c:v>51.1282</c:v>
                </c:pt>
                <c:pt idx="6">
                  <c:v>64.599999999999994</c:v>
                </c:pt>
                <c:pt idx="7">
                  <c:v>34.480600000000003</c:v>
                </c:pt>
                <c:pt idx="8">
                  <c:v>40.8817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Roederer</c:v>
                </c:pt>
                <c:pt idx="6">
                  <c:v>Nicolas Feuillatte</c:v>
                </c:pt>
                <c:pt idx="7">
                  <c:v>Dom Perignon</c:v>
                </c:pt>
                <c:pt idx="8">
                  <c:v>All Others</c:v>
                </c:pt>
              </c:strCache>
            </c:strRef>
          </c:cat>
          <c:val>
            <c:numRef>
              <c:f>Sheet1!$B$2:$B$10</c:f>
              <c:numCache>
                <c:formatCode>General</c:formatCode>
                <c:ptCount val="9"/>
                <c:pt idx="0">
                  <c:v>58.9621</c:v>
                </c:pt>
                <c:pt idx="1">
                  <c:v>166.4468</c:v>
                </c:pt>
                <c:pt idx="2">
                  <c:v>93.388999999999996</c:v>
                </c:pt>
                <c:pt idx="3">
                  <c:v>86.174700000000001</c:v>
                </c:pt>
                <c:pt idx="5">
                  <c:v>154.0337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Roederer</c:v>
                </c:pt>
                <c:pt idx="6">
                  <c:v>Nicolas Feuillatte</c:v>
                </c:pt>
                <c:pt idx="7">
                  <c:v>Dom Perignon</c:v>
                </c:pt>
                <c:pt idx="8">
                  <c:v>All Others</c:v>
                </c:pt>
              </c:strCache>
            </c:strRef>
          </c:cat>
          <c:val>
            <c:numRef>
              <c:f>Sheet1!$C$2:$C$10</c:f>
              <c:numCache>
                <c:formatCode>General</c:formatCode>
                <c:ptCount val="9"/>
                <c:pt idx="0">
                  <c:v>23.048100000000002</c:v>
                </c:pt>
                <c:pt idx="1">
                  <c:v>47.365499999999997</c:v>
                </c:pt>
                <c:pt idx="2">
                  <c:v>28.6884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Roederer</c:v>
                </c:pt>
                <c:pt idx="6">
                  <c:v>Nicolas Feuillatte</c:v>
                </c:pt>
                <c:pt idx="7">
                  <c:v>Dom Perignon</c:v>
                </c:pt>
                <c:pt idx="8">
                  <c:v>All Others</c:v>
                </c:pt>
              </c:strCache>
            </c:strRef>
          </c:cat>
          <c:val>
            <c:numRef>
              <c:f>Sheet1!$D$2:$D$10</c:f>
              <c:numCache>
                <c:formatCode>General</c:formatCode>
                <c:ptCount val="9"/>
                <c:pt idx="0">
                  <c:v>23.108599999999999</c:v>
                </c:pt>
                <c:pt idx="1">
                  <c:v>69.286299999999997</c:v>
                </c:pt>
                <c:pt idx="2">
                  <c:v>49.114800000000002</c:v>
                </c:pt>
                <c:pt idx="3">
                  <c:v>49.671100000000003</c:v>
                </c:pt>
                <c:pt idx="4">
                  <c:v>31.505700000000001</c:v>
                </c:pt>
                <c:pt idx="5">
                  <c:v>94.748099999999994</c:v>
                </c:pt>
                <c:pt idx="6">
                  <c:v>32.024000000000001</c:v>
                </c:pt>
                <c:pt idx="7">
                  <c:v>287.68020000000001</c:v>
                </c:pt>
                <c:pt idx="8">
                  <c:v>38.3952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B$2:$B$10</c:f>
              <c:numCache>
                <c:formatCode>General</c:formatCode>
                <c:ptCount val="9"/>
                <c:pt idx="0">
                  <c:v>64.097899999999996</c:v>
                </c:pt>
                <c:pt idx="1">
                  <c:v>164.5009</c:v>
                </c:pt>
                <c:pt idx="2">
                  <c:v>93.368300000000005</c:v>
                </c:pt>
                <c:pt idx="3">
                  <c:v>86.5906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C$2:$C$10</c:f>
              <c:numCache>
                <c:formatCode>General</c:formatCode>
                <c:ptCount val="9"/>
                <c:pt idx="0">
                  <c:v>23.039200000000001</c:v>
                </c:pt>
                <c:pt idx="1">
                  <c:v>44.538200000000003</c:v>
                </c:pt>
                <c:pt idx="2">
                  <c:v>27.8953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Malard</c:v>
                </c:pt>
                <c:pt idx="5">
                  <c:v>Nicolas Feuillatte</c:v>
                </c:pt>
                <c:pt idx="6">
                  <c:v>Heidsieck &amp; Co Monopole</c:v>
                </c:pt>
                <c:pt idx="7">
                  <c:v>Roederer</c:v>
                </c:pt>
                <c:pt idx="8">
                  <c:v>Ayala</c:v>
                </c:pt>
              </c:strCache>
            </c:strRef>
          </c:cat>
          <c:val>
            <c:numRef>
              <c:f>Sheet1!$D$2:$D$10</c:f>
              <c:numCache>
                <c:formatCode>General</c:formatCode>
                <c:ptCount val="9"/>
                <c:pt idx="0">
                  <c:v>22.9619</c:v>
                </c:pt>
                <c:pt idx="1">
                  <c:v>65.921800000000005</c:v>
                </c:pt>
                <c:pt idx="2">
                  <c:v>47.822699999999998</c:v>
                </c:pt>
                <c:pt idx="3">
                  <c:v>47.154899999999998</c:v>
                </c:pt>
                <c:pt idx="4">
                  <c:v>31.512499999999999</c:v>
                </c:pt>
                <c:pt idx="5">
                  <c:v>31.7791</c:v>
                </c:pt>
                <c:pt idx="6">
                  <c:v>29.2836</c:v>
                </c:pt>
                <c:pt idx="7">
                  <c:v>73.404300000000006</c:v>
                </c:pt>
                <c:pt idx="8">
                  <c:v>38.4795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De Bligny</c:v>
                </c:pt>
              </c:strCache>
            </c:strRef>
          </c:cat>
          <c:val>
            <c:numRef>
              <c:f>Sheet1!$B$2:$B$10</c:f>
              <c:numCache>
                <c:formatCode>General</c:formatCode>
                <c:ptCount val="9"/>
                <c:pt idx="0">
                  <c:v>59.404299999999999</c:v>
                </c:pt>
                <c:pt idx="1">
                  <c:v>163.6448</c:v>
                </c:pt>
                <c:pt idx="2">
                  <c:v>92.814400000000006</c:v>
                </c:pt>
                <c:pt idx="4">
                  <c:v>84.7292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De Bligny</c:v>
                </c:pt>
              </c:strCache>
            </c:strRef>
          </c:cat>
          <c:val>
            <c:numRef>
              <c:f>Sheet1!$C$2:$C$10</c:f>
              <c:numCache>
                <c:formatCode>General</c:formatCode>
                <c:ptCount val="9"/>
                <c:pt idx="0">
                  <c:v>23.059899999999999</c:v>
                </c:pt>
                <c:pt idx="1">
                  <c:v>44.634399999999999</c:v>
                </c:pt>
                <c:pt idx="2">
                  <c:v>27.861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Ayala</c:v>
                </c:pt>
                <c:pt idx="8">
                  <c:v>De Bligny</c:v>
                </c:pt>
              </c:strCache>
            </c:strRef>
          </c:cat>
          <c:val>
            <c:numRef>
              <c:f>Sheet1!$D$2:$D$10</c:f>
              <c:numCache>
                <c:formatCode>General</c:formatCode>
                <c:ptCount val="9"/>
                <c:pt idx="0">
                  <c:v>23.1067</c:v>
                </c:pt>
                <c:pt idx="1">
                  <c:v>66.934399999999997</c:v>
                </c:pt>
                <c:pt idx="2">
                  <c:v>48.989899999999999</c:v>
                </c:pt>
                <c:pt idx="3">
                  <c:v>31.48</c:v>
                </c:pt>
                <c:pt idx="4">
                  <c:v>48.173200000000001</c:v>
                </c:pt>
                <c:pt idx="5">
                  <c:v>31.7424</c:v>
                </c:pt>
                <c:pt idx="6">
                  <c:v>29.253399999999999</c:v>
                </c:pt>
                <c:pt idx="7">
                  <c:v>38.716000000000001</c:v>
                </c:pt>
                <c:pt idx="8">
                  <c:v>30.6735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De Bligny</c:v>
                </c:pt>
                <c:pt idx="8">
                  <c:v>Ayala</c:v>
                </c:pt>
              </c:strCache>
            </c:strRef>
          </c:cat>
          <c:val>
            <c:numRef>
              <c:f>Sheet1!$B$2:$B$10</c:f>
              <c:numCache>
                <c:formatCode>General</c:formatCode>
                <c:ptCount val="9"/>
                <c:pt idx="0">
                  <c:v>59.111499999999999</c:v>
                </c:pt>
                <c:pt idx="1">
                  <c:v>167.5599</c:v>
                </c:pt>
                <c:pt idx="2">
                  <c:v>93.204499999999996</c:v>
                </c:pt>
                <c:pt idx="4">
                  <c:v>85.5998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De Bligny</c:v>
                </c:pt>
                <c:pt idx="8">
                  <c:v>Ayala</c:v>
                </c:pt>
              </c:strCache>
            </c:strRef>
          </c:cat>
          <c:val>
            <c:numRef>
              <c:f>Sheet1!$C$2:$C$10</c:f>
              <c:numCache>
                <c:formatCode>General</c:formatCode>
                <c:ptCount val="9"/>
                <c:pt idx="0">
                  <c:v>23.028099999999998</c:v>
                </c:pt>
                <c:pt idx="1">
                  <c:v>44.193199999999997</c:v>
                </c:pt>
                <c:pt idx="2">
                  <c:v>27.4990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Nicolas Feuillatte</c:v>
                </c:pt>
                <c:pt idx="6">
                  <c:v>Heidsieck &amp; Co Monopole</c:v>
                </c:pt>
                <c:pt idx="7">
                  <c:v>De Bligny</c:v>
                </c:pt>
                <c:pt idx="8">
                  <c:v>Ayala</c:v>
                </c:pt>
              </c:strCache>
            </c:strRef>
          </c:cat>
          <c:val>
            <c:numRef>
              <c:f>Sheet1!$D$2:$D$10</c:f>
              <c:numCache>
                <c:formatCode>General</c:formatCode>
                <c:ptCount val="9"/>
                <c:pt idx="0">
                  <c:v>23.255199999999999</c:v>
                </c:pt>
                <c:pt idx="1">
                  <c:v>67.132599999999996</c:v>
                </c:pt>
                <c:pt idx="2">
                  <c:v>47.8461</c:v>
                </c:pt>
                <c:pt idx="3">
                  <c:v>31.4968</c:v>
                </c:pt>
                <c:pt idx="4">
                  <c:v>47.393999999999998</c:v>
                </c:pt>
                <c:pt idx="5">
                  <c:v>31.6477</c:v>
                </c:pt>
                <c:pt idx="6">
                  <c:v>29.312200000000001</c:v>
                </c:pt>
                <c:pt idx="7">
                  <c:v>30.881599999999999</c:v>
                </c:pt>
                <c:pt idx="8">
                  <c:v>39.0679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Malard</c:v>
                </c:pt>
                <c:pt idx="4">
                  <c:v>Laurent Perrier</c:v>
                </c:pt>
                <c:pt idx="5">
                  <c:v>Heidsieck &amp; Co Monopole</c:v>
                </c:pt>
                <c:pt idx="6">
                  <c:v>Nicolas Feuillatte</c:v>
                </c:pt>
                <c:pt idx="7">
                  <c:v>De Bligny</c:v>
                </c:pt>
                <c:pt idx="8">
                  <c:v>Ayala</c:v>
                </c:pt>
              </c:strCache>
            </c:strRef>
          </c:cat>
          <c:val>
            <c:numRef>
              <c:f>Sheet1!$B$2:$B$10</c:f>
              <c:numCache>
                <c:formatCode>General</c:formatCode>
                <c:ptCount val="9"/>
                <c:pt idx="0">
                  <c:v>61.522199999999998</c:v>
                </c:pt>
                <c:pt idx="1">
                  <c:v>166.41739999999999</c:v>
                </c:pt>
                <c:pt idx="2">
                  <c:v>93.251199999999997</c:v>
                </c:pt>
                <c:pt idx="4">
                  <c:v>85.2801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Heidsieck &amp; Co Monopole</c:v>
                </c:pt>
                <c:pt idx="6">
                  <c:v>Nicolas Feuillatte</c:v>
                </c:pt>
                <c:pt idx="7">
                  <c:v>De Bligny</c:v>
                </c:pt>
                <c:pt idx="8">
                  <c:v>Ayala</c:v>
                </c:pt>
              </c:strCache>
            </c:strRef>
          </c:cat>
          <c:val>
            <c:numRef>
              <c:f>Sheet1!$C$2:$C$10</c:f>
              <c:numCache>
                <c:formatCode>General</c:formatCode>
                <c:ptCount val="9"/>
                <c:pt idx="0">
                  <c:v>23.175599999999999</c:v>
                </c:pt>
                <c:pt idx="1">
                  <c:v>43.857399999999998</c:v>
                </c:pt>
                <c:pt idx="2">
                  <c:v>27.8499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Malard</c:v>
                </c:pt>
                <c:pt idx="4">
                  <c:v>Laurent Perrier</c:v>
                </c:pt>
                <c:pt idx="5">
                  <c:v>Heidsieck &amp; Co Monopole</c:v>
                </c:pt>
                <c:pt idx="6">
                  <c:v>Nicolas Feuillatte</c:v>
                </c:pt>
                <c:pt idx="7">
                  <c:v>De Bligny</c:v>
                </c:pt>
                <c:pt idx="8">
                  <c:v>Ayala</c:v>
                </c:pt>
              </c:strCache>
            </c:strRef>
          </c:cat>
          <c:val>
            <c:numRef>
              <c:f>Sheet1!$D$2:$D$10</c:f>
              <c:numCache>
                <c:formatCode>General</c:formatCode>
                <c:ptCount val="9"/>
                <c:pt idx="0">
                  <c:v>23.2455</c:v>
                </c:pt>
                <c:pt idx="1">
                  <c:v>66.268500000000003</c:v>
                </c:pt>
                <c:pt idx="2">
                  <c:v>48.192</c:v>
                </c:pt>
                <c:pt idx="3">
                  <c:v>31.6996</c:v>
                </c:pt>
                <c:pt idx="4">
                  <c:v>48.079000000000001</c:v>
                </c:pt>
                <c:pt idx="5">
                  <c:v>29.232500000000002</c:v>
                </c:pt>
                <c:pt idx="6">
                  <c:v>32.206099999999999</c:v>
                </c:pt>
                <c:pt idx="7">
                  <c:v>31.156500000000001</c:v>
                </c:pt>
                <c:pt idx="8">
                  <c:v>39.1415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B$2:$B$10</c:f>
              <c:numCache>
                <c:formatCode>General</c:formatCode>
                <c:ptCount val="9"/>
                <c:pt idx="2">
                  <c:v>6.2972999999999999</c:v>
                </c:pt>
                <c:pt idx="7">
                  <c:v>6.7572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C$2:$C$10</c:f>
              <c:numCache>
                <c:formatCode>General</c:formatCode>
                <c:ptCount val="9"/>
                <c:pt idx="0">
                  <c:v>4.4322999999999997</c:v>
                </c:pt>
                <c:pt idx="1">
                  <c:v>6.0278999999999998</c:v>
                </c:pt>
                <c:pt idx="2">
                  <c:v>4.1239999999999997</c:v>
                </c:pt>
                <c:pt idx="3">
                  <c:v>5.8353000000000002</c:v>
                </c:pt>
                <c:pt idx="4">
                  <c:v>7.0829000000000004</c:v>
                </c:pt>
                <c:pt idx="5">
                  <c:v>6.7092999999999998</c:v>
                </c:pt>
                <c:pt idx="6">
                  <c:v>6.3136999999999999</c:v>
                </c:pt>
                <c:pt idx="7">
                  <c:v>4.6718999999999999</c:v>
                </c:pt>
                <c:pt idx="8">
                  <c:v>7.15050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Kriter</c:v>
                </c:pt>
              </c:strCache>
            </c:strRef>
          </c:cat>
          <c:val>
            <c:numRef>
              <c:f>Sheet1!$B$2:$B$10</c:f>
              <c:numCache>
                <c:formatCode>General</c:formatCode>
                <c:ptCount val="9"/>
                <c:pt idx="5">
                  <c:v>25.1607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Kriter</c:v>
                </c:pt>
              </c:strCache>
            </c:strRef>
          </c:cat>
          <c:val>
            <c:numRef>
              <c:f>Sheet1!$C$2:$C$10</c:f>
              <c:numCache>
                <c:formatCode>General</c:formatCode>
                <c:ptCount val="9"/>
                <c:pt idx="0">
                  <c:v>9.3068000000000008</c:v>
                </c:pt>
                <c:pt idx="1">
                  <c:v>11.451499999999999</c:v>
                </c:pt>
                <c:pt idx="2">
                  <c:v>12.7646</c:v>
                </c:pt>
                <c:pt idx="3">
                  <c:v>17.578900000000001</c:v>
                </c:pt>
                <c:pt idx="4">
                  <c:v>9.1104000000000003</c:v>
                </c:pt>
                <c:pt idx="5">
                  <c:v>11.1891</c:v>
                </c:pt>
                <c:pt idx="6">
                  <c:v>11.4077</c:v>
                </c:pt>
                <c:pt idx="7">
                  <c:v>13.4663</c:v>
                </c:pt>
                <c:pt idx="8">
                  <c:v>5.73880000000000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B$2:$B$10</c:f>
              <c:numCache>
                <c:formatCode>General</c:formatCode>
                <c:ptCount val="9"/>
                <c:pt idx="2">
                  <c:v>6.2972999999999999</c:v>
                </c:pt>
                <c:pt idx="7">
                  <c:v>6.7572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Mdd</c:v>
                </c:pt>
                <c:pt idx="1">
                  <c:v>All Others</c:v>
                </c:pt>
                <c:pt idx="2">
                  <c:v>Charles Volner</c:v>
                </c:pt>
                <c:pt idx="3">
                  <c:v>Freixenet</c:v>
                </c:pt>
                <c:pt idx="4">
                  <c:v>Wolfberger</c:v>
                </c:pt>
                <c:pt idx="5">
                  <c:v>Riccadonna</c:v>
                </c:pt>
                <c:pt idx="6">
                  <c:v>Vilaveroni</c:v>
                </c:pt>
                <c:pt idx="7">
                  <c:v>Kriter</c:v>
                </c:pt>
                <c:pt idx="8">
                  <c:v>Arthur Metz</c:v>
                </c:pt>
              </c:strCache>
            </c:strRef>
          </c:cat>
          <c:val>
            <c:numRef>
              <c:f>Sheet1!$C$2:$C$10</c:f>
              <c:numCache>
                <c:formatCode>General</c:formatCode>
                <c:ptCount val="9"/>
                <c:pt idx="0">
                  <c:v>4.4322999999999997</c:v>
                </c:pt>
                <c:pt idx="1">
                  <c:v>5.9724000000000004</c:v>
                </c:pt>
                <c:pt idx="2">
                  <c:v>4.1239999999999997</c:v>
                </c:pt>
                <c:pt idx="3">
                  <c:v>5.8353000000000002</c:v>
                </c:pt>
                <c:pt idx="4">
                  <c:v>7.0829000000000004</c:v>
                </c:pt>
                <c:pt idx="5">
                  <c:v>6.7092999999999998</c:v>
                </c:pt>
                <c:pt idx="6">
                  <c:v>6.3136999999999999</c:v>
                </c:pt>
                <c:pt idx="7">
                  <c:v>4.6665999999999999</c:v>
                </c:pt>
                <c:pt idx="8">
                  <c:v>7.15050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116-4D3F-8209-47327ED24364}"/>
                </c:ext>
              </c:extLst>
            </c:dLbl>
            <c:dLbl>
              <c:idx val="1"/>
              <c:tx>
                <c:rich>
                  <a:bodyPr/>
                  <a:lstStyle/>
                  <a:p>
                    <a:r>
                      <a:rPr lang="en-US"/>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116-4D3F-8209-47327ED24364}"/>
                </c:ext>
              </c:extLst>
            </c:dLbl>
            <c:dLbl>
              <c:idx val="2"/>
              <c:tx>
                <c:rich>
                  <a:bodyPr/>
                  <a:lstStyle/>
                  <a:p>
                    <a:r>
                      <a:rPr lang="en-US"/>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116-4D3F-8209-47327ED24364}"/>
                </c:ext>
              </c:extLst>
            </c:dLbl>
            <c:dLbl>
              <c:idx val="3"/>
              <c:tx>
                <c:rich>
                  <a:bodyPr/>
                  <a:lstStyle/>
                  <a:p>
                    <a:r>
                      <a:rPr lang="en-US"/>
                      <a:t>2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116-4D3F-8209-47327ED24364}"/>
                </c:ext>
              </c:extLst>
            </c:dLbl>
            <c:dLbl>
              <c:idx val="4"/>
              <c:tx>
                <c:rich>
                  <a:bodyPr/>
                  <a:lstStyle/>
                  <a:p>
                    <a:r>
                      <a:rPr lang="en-US"/>
                      <a:t>4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116-4D3F-8209-47327ED24364}"/>
                </c:ext>
              </c:extLst>
            </c:dLbl>
            <c:dLbl>
              <c:idx val="5"/>
              <c:tx>
                <c:rich>
                  <a:bodyPr/>
                  <a:lstStyle/>
                  <a:p>
                    <a:r>
                      <a:rPr lang="en-US"/>
                      <a:t>7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116-4D3F-8209-47327ED24364}"/>
                </c:ext>
              </c:extLst>
            </c:dLbl>
            <c:dLbl>
              <c:idx val="6"/>
              <c:tx>
                <c:rich>
                  <a:bodyPr/>
                  <a:lstStyle/>
                  <a:p>
                    <a:r>
                      <a:rPr lang="en-US"/>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116-4D3F-8209-47327ED24364}"/>
                </c:ext>
              </c:extLst>
            </c:dLbl>
            <c:dLbl>
              <c:idx val="7"/>
              <c:tx>
                <c:rich>
                  <a:bodyPr/>
                  <a:lstStyle/>
                  <a:p>
                    <a:r>
                      <a:rPr lang="en-US"/>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116-4D3F-8209-47327ED24364}"/>
                </c:ext>
              </c:extLst>
            </c:dLbl>
            <c:dLbl>
              <c:idx val="8"/>
              <c:tx>
                <c:rich>
                  <a:bodyPr/>
                  <a:lstStyle/>
                  <a:p>
                    <a:r>
                      <a:rPr lang="en-US"/>
                      <a:t>85.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116-4D3F-8209-47327ED24364}"/>
                </c:ext>
              </c:extLst>
            </c:dLbl>
            <c:dLbl>
              <c:idx val="9"/>
              <c:tx>
                <c:rich>
                  <a:bodyPr/>
                  <a:lstStyle/>
                  <a:p>
                    <a:r>
                      <a:rPr lang="en-US"/>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116-4D3F-8209-47327ED24364}"/>
                </c:ext>
              </c:extLst>
            </c:dLbl>
            <c:dLbl>
              <c:idx val="10"/>
              <c:tx>
                <c:rich>
                  <a:bodyPr/>
                  <a:lstStyle/>
                  <a:p>
                    <a:r>
                      <a:rPr lang="en-US"/>
                      <a:t>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116-4D3F-8209-47327ED24364}"/>
                </c:ext>
              </c:extLst>
            </c:dLbl>
            <c:dLbl>
              <c:idx val="11"/>
              <c:tx>
                <c:rich>
                  <a:bodyPr/>
                  <a:lstStyle/>
                  <a:p>
                    <a:r>
                      <a:rPr lang="en-US"/>
                      <a:t>2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116-4D3F-8209-47327ED24364}"/>
                </c:ext>
              </c:extLst>
            </c:dLbl>
            <c:dLbl>
              <c:idx val="12"/>
              <c:tx>
                <c:rich>
                  <a:bodyPr/>
                  <a:lstStyle/>
                  <a:p>
                    <a:r>
                      <a:rPr lang="en-US"/>
                      <a:t>42.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116-4D3F-8209-47327ED24364}"/>
                </c:ext>
              </c:extLst>
            </c:dLbl>
            <c:dLbl>
              <c:idx val="13"/>
              <c:tx>
                <c:rich>
                  <a:bodyPr/>
                  <a:lstStyle/>
                  <a:p>
                    <a:r>
                      <a:rPr lang="en-US"/>
                      <a:t>37.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116-4D3F-8209-47327ED24364}"/>
                </c:ext>
              </c:extLst>
            </c:dLbl>
            <c:dLbl>
              <c:idx val="14"/>
              <c:tx>
                <c:rich>
                  <a:bodyPr/>
                  <a:lstStyle/>
                  <a:p>
                    <a:r>
                      <a:rPr lang="en-US"/>
                      <a:t>37.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116-4D3F-8209-47327ED2436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7</c:v>
                </c:pt>
                <c:pt idx="1">
                  <c:v>37.32</c:v>
                </c:pt>
                <c:pt idx="2">
                  <c:v>45.58</c:v>
                </c:pt>
                <c:pt idx="3">
                  <c:v>22.47</c:v>
                </c:pt>
                <c:pt idx="4">
                  <c:v>46.63</c:v>
                </c:pt>
                <c:pt idx="5">
                  <c:v>74.05</c:v>
                </c:pt>
                <c:pt idx="6">
                  <c:v>38.99</c:v>
                </c:pt>
                <c:pt idx="7">
                  <c:v>23.96</c:v>
                </c:pt>
                <c:pt idx="8">
                  <c:v>85.97</c:v>
                </c:pt>
                <c:pt idx="9">
                  <c:v>24.98</c:v>
                </c:pt>
                <c:pt idx="10">
                  <c:v>41.3</c:v>
                </c:pt>
                <c:pt idx="11">
                  <c:v>23.48</c:v>
                </c:pt>
                <c:pt idx="12">
                  <c:v>42.05</c:v>
                </c:pt>
                <c:pt idx="13">
                  <c:v>37.03</c:v>
                </c:pt>
                <c:pt idx="14">
                  <c:v>37.3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B$2:$B$10</c:f>
              <c:numCache>
                <c:formatCode>General</c:formatCode>
                <c:ptCount val="9"/>
                <c:pt idx="6">
                  <c:v>24.5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C$2:$C$10</c:f>
              <c:numCache>
                <c:formatCode>General</c:formatCode>
                <c:ptCount val="9"/>
                <c:pt idx="0">
                  <c:v>9.1257000000000001</c:v>
                </c:pt>
                <c:pt idx="1">
                  <c:v>11.4527</c:v>
                </c:pt>
                <c:pt idx="2">
                  <c:v>12.753</c:v>
                </c:pt>
                <c:pt idx="3">
                  <c:v>17.479700000000001</c:v>
                </c:pt>
                <c:pt idx="4">
                  <c:v>9.0898000000000003</c:v>
                </c:pt>
                <c:pt idx="5">
                  <c:v>11.398199999999999</c:v>
                </c:pt>
                <c:pt idx="6">
                  <c:v>11.1995</c:v>
                </c:pt>
                <c:pt idx="7">
                  <c:v>13.5303</c:v>
                </c:pt>
                <c:pt idx="8">
                  <c:v>5.763899999999999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Patriarche</c:v>
                </c:pt>
                <c:pt idx="2">
                  <c:v>Bottega</c:v>
                </c:pt>
                <c:pt idx="3">
                  <c:v>Mure</c:v>
                </c:pt>
                <c:pt idx="4">
                  <c:v>Bouvet-Ladubay</c:v>
                </c:pt>
                <c:pt idx="5">
                  <c:v>Chateau Moncontour</c:v>
                </c:pt>
                <c:pt idx="6">
                  <c:v>Savian</c:v>
                </c:pt>
                <c:pt idx="7">
                  <c:v>De Chanceny</c:v>
                </c:pt>
                <c:pt idx="8">
                  <c:v>Kriter</c:v>
                </c:pt>
              </c:strCache>
            </c:strRef>
          </c:cat>
          <c:val>
            <c:numRef>
              <c:f>Sheet1!$B$2:$B$10</c:f>
              <c:numCache>
                <c:formatCode>General</c:formatCode>
                <c:ptCount val="9"/>
                <c:pt idx="4">
                  <c:v>24.7222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Patriarche</c:v>
                </c:pt>
                <c:pt idx="2">
                  <c:v>Bottega</c:v>
                </c:pt>
                <c:pt idx="3">
                  <c:v>Mure</c:v>
                </c:pt>
                <c:pt idx="4">
                  <c:v>Bouvet-Ladubay</c:v>
                </c:pt>
                <c:pt idx="5">
                  <c:v>Chateau Moncontour</c:v>
                </c:pt>
                <c:pt idx="6">
                  <c:v>Savian</c:v>
                </c:pt>
                <c:pt idx="7">
                  <c:v>De Chanceny</c:v>
                </c:pt>
                <c:pt idx="8">
                  <c:v>Kriter</c:v>
                </c:pt>
              </c:strCache>
            </c:strRef>
          </c:cat>
          <c:val>
            <c:numRef>
              <c:f>Sheet1!$C$2:$C$10</c:f>
              <c:numCache>
                <c:formatCode>General</c:formatCode>
                <c:ptCount val="9"/>
                <c:pt idx="0">
                  <c:v>9.3877000000000006</c:v>
                </c:pt>
                <c:pt idx="1">
                  <c:v>12.745100000000001</c:v>
                </c:pt>
                <c:pt idx="2">
                  <c:v>11.3698</c:v>
                </c:pt>
                <c:pt idx="3">
                  <c:v>17.418800000000001</c:v>
                </c:pt>
                <c:pt idx="4">
                  <c:v>11.152900000000001</c:v>
                </c:pt>
                <c:pt idx="5">
                  <c:v>11.376799999999999</c:v>
                </c:pt>
                <c:pt idx="6">
                  <c:v>9.0983000000000001</c:v>
                </c:pt>
                <c:pt idx="7">
                  <c:v>13.245200000000001</c:v>
                </c:pt>
                <c:pt idx="8">
                  <c:v>5.72259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Contarini</c:v>
                </c:pt>
              </c:strCache>
            </c:strRef>
          </c:cat>
          <c:val>
            <c:numRef>
              <c:f>Sheet1!$B$2:$B$10</c:f>
              <c:numCache>
                <c:formatCode>General</c:formatCode>
                <c:ptCount val="9"/>
                <c:pt idx="8">
                  <c:v>18.78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Contarini</c:v>
                </c:pt>
              </c:strCache>
            </c:strRef>
          </c:cat>
          <c:val>
            <c:numRef>
              <c:f>Sheet1!$C$2:$C$10</c:f>
              <c:numCache>
                <c:formatCode>General</c:formatCode>
                <c:ptCount val="9"/>
                <c:pt idx="0">
                  <c:v>9.3163999999999998</c:v>
                </c:pt>
                <c:pt idx="1">
                  <c:v>11.425599999999999</c:v>
                </c:pt>
                <c:pt idx="2">
                  <c:v>13.021599999999999</c:v>
                </c:pt>
                <c:pt idx="3">
                  <c:v>17.978999999999999</c:v>
                </c:pt>
                <c:pt idx="4">
                  <c:v>9.1058000000000003</c:v>
                </c:pt>
                <c:pt idx="5">
                  <c:v>11.366099999999999</c:v>
                </c:pt>
                <c:pt idx="6">
                  <c:v>11.259499999999999</c:v>
                </c:pt>
                <c:pt idx="7">
                  <c:v>13.419700000000001</c:v>
                </c:pt>
                <c:pt idx="8">
                  <c:v>9.892300000000000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Bouvet-Ladubay</c:v>
                </c:pt>
                <c:pt idx="4">
                  <c:v>Savian</c:v>
                </c:pt>
                <c:pt idx="5">
                  <c:v>Mure</c:v>
                </c:pt>
                <c:pt idx="6">
                  <c:v>Chateau Moncontour</c:v>
                </c:pt>
                <c:pt idx="7">
                  <c:v>De Chanceny</c:v>
                </c:pt>
                <c:pt idx="8">
                  <c:v>Contarini</c:v>
                </c:pt>
              </c:strCache>
            </c:strRef>
          </c:cat>
          <c:val>
            <c:numRef>
              <c:f>Sheet1!$B$2:$B$10</c:f>
              <c:numCache>
                <c:formatCode>General</c:formatCode>
                <c:ptCount val="9"/>
                <c:pt idx="3">
                  <c:v>25.583300000000001</c:v>
                </c:pt>
                <c:pt idx="8">
                  <c:v>19.238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Bouvet-Ladubay</c:v>
                </c:pt>
                <c:pt idx="4">
                  <c:v>Savian</c:v>
                </c:pt>
                <c:pt idx="5">
                  <c:v>Mure</c:v>
                </c:pt>
                <c:pt idx="6">
                  <c:v>Chateau Moncontour</c:v>
                </c:pt>
                <c:pt idx="7">
                  <c:v>De Chanceny</c:v>
                </c:pt>
                <c:pt idx="8">
                  <c:v>Contarini</c:v>
                </c:pt>
              </c:strCache>
            </c:strRef>
          </c:cat>
          <c:val>
            <c:numRef>
              <c:f>Sheet1!$C$2:$C$10</c:f>
              <c:numCache>
                <c:formatCode>General</c:formatCode>
                <c:ptCount val="9"/>
                <c:pt idx="0">
                  <c:v>9.0998999999999999</c:v>
                </c:pt>
                <c:pt idx="1">
                  <c:v>11.524699999999999</c:v>
                </c:pt>
                <c:pt idx="2">
                  <c:v>12.857200000000001</c:v>
                </c:pt>
                <c:pt idx="3">
                  <c:v>11.3195</c:v>
                </c:pt>
                <c:pt idx="4">
                  <c:v>9.1434999999999995</c:v>
                </c:pt>
                <c:pt idx="5">
                  <c:v>17.4514</c:v>
                </c:pt>
                <c:pt idx="6">
                  <c:v>11.5405</c:v>
                </c:pt>
                <c:pt idx="7">
                  <c:v>13.3918</c:v>
                </c:pt>
                <c:pt idx="8">
                  <c:v>9.93060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Mure</c:v>
                </c:pt>
                <c:pt idx="3">
                  <c:v>Patriarche</c:v>
                </c:pt>
                <c:pt idx="4">
                  <c:v>Bouvet-Ladubay</c:v>
                </c:pt>
                <c:pt idx="5">
                  <c:v>Savian</c:v>
                </c:pt>
                <c:pt idx="6">
                  <c:v>Chateau Moncontour</c:v>
                </c:pt>
                <c:pt idx="7">
                  <c:v>Contarini</c:v>
                </c:pt>
                <c:pt idx="8">
                  <c:v>De Chanceny</c:v>
                </c:pt>
              </c:strCache>
            </c:strRef>
          </c:cat>
          <c:val>
            <c:numRef>
              <c:f>Sheet1!$B$2:$B$10</c:f>
              <c:numCache>
                <c:formatCode>General</c:formatCode>
                <c:ptCount val="9"/>
                <c:pt idx="0">
                  <c:v>22.765599999999999</c:v>
                </c:pt>
                <c:pt idx="4">
                  <c:v>25.416699999999999</c:v>
                </c:pt>
                <c:pt idx="7">
                  <c:v>1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Mure</c:v>
                </c:pt>
                <c:pt idx="3">
                  <c:v>Patriarche</c:v>
                </c:pt>
                <c:pt idx="4">
                  <c:v>Bouvet-Ladubay</c:v>
                </c:pt>
                <c:pt idx="5">
                  <c:v>Savian</c:v>
                </c:pt>
                <c:pt idx="6">
                  <c:v>Chateau Moncontour</c:v>
                </c:pt>
                <c:pt idx="7">
                  <c:v>Contarini</c:v>
                </c:pt>
                <c:pt idx="8">
                  <c:v>De Chanceny</c:v>
                </c:pt>
              </c:strCache>
            </c:strRef>
          </c:cat>
          <c:val>
            <c:numRef>
              <c:f>Sheet1!$C$2:$C$10</c:f>
              <c:numCache>
                <c:formatCode>General</c:formatCode>
                <c:ptCount val="9"/>
                <c:pt idx="0">
                  <c:v>9.3094000000000001</c:v>
                </c:pt>
                <c:pt idx="1">
                  <c:v>11.4154</c:v>
                </c:pt>
                <c:pt idx="2">
                  <c:v>17.8979</c:v>
                </c:pt>
                <c:pt idx="3">
                  <c:v>12.435700000000001</c:v>
                </c:pt>
                <c:pt idx="4">
                  <c:v>11.1509</c:v>
                </c:pt>
                <c:pt idx="5">
                  <c:v>9.2040000000000006</c:v>
                </c:pt>
                <c:pt idx="6">
                  <c:v>11.5655</c:v>
                </c:pt>
                <c:pt idx="7">
                  <c:v>9.8796999999999997</c:v>
                </c:pt>
                <c:pt idx="8">
                  <c:v>13.44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B$2:$B$10</c:f>
              <c:numCache>
                <c:formatCode>General</c:formatCode>
                <c:ptCount val="9"/>
                <c:pt idx="6">
                  <c:v>24.415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Mure</c:v>
                </c:pt>
                <c:pt idx="4">
                  <c:v>Savian</c:v>
                </c:pt>
                <c:pt idx="5">
                  <c:v>Chateau Moncontour</c:v>
                </c:pt>
                <c:pt idx="6">
                  <c:v>Bouvet-Ladubay</c:v>
                </c:pt>
                <c:pt idx="7">
                  <c:v>De Chanceny</c:v>
                </c:pt>
                <c:pt idx="8">
                  <c:v>Kriter</c:v>
                </c:pt>
              </c:strCache>
            </c:strRef>
          </c:cat>
          <c:val>
            <c:numRef>
              <c:f>Sheet1!$C$2:$C$10</c:f>
              <c:numCache>
                <c:formatCode>General</c:formatCode>
                <c:ptCount val="9"/>
                <c:pt idx="0">
                  <c:v>8.9312000000000005</c:v>
                </c:pt>
                <c:pt idx="1">
                  <c:v>11.437099999999999</c:v>
                </c:pt>
                <c:pt idx="2">
                  <c:v>12.776999999999999</c:v>
                </c:pt>
                <c:pt idx="3">
                  <c:v>17.389700000000001</c:v>
                </c:pt>
                <c:pt idx="4">
                  <c:v>9.0905000000000005</c:v>
                </c:pt>
                <c:pt idx="5">
                  <c:v>11.3963</c:v>
                </c:pt>
                <c:pt idx="6">
                  <c:v>11.2171</c:v>
                </c:pt>
                <c:pt idx="7">
                  <c:v>13.4511</c:v>
                </c:pt>
                <c:pt idx="8">
                  <c:v>5.737499999999999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Contarini</c:v>
                </c:pt>
              </c:strCache>
            </c:strRef>
          </c:cat>
          <c:val>
            <c:numRef>
              <c:f>Sheet1!$B$2:$B$10</c:f>
              <c:numCache>
                <c:formatCode>General</c:formatCode>
                <c:ptCount val="9"/>
                <c:pt idx="5">
                  <c:v>25.835599999999999</c:v>
                </c:pt>
                <c:pt idx="8">
                  <c:v>18.7752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Contarini</c:v>
                </c:pt>
              </c:strCache>
            </c:strRef>
          </c:cat>
          <c:val>
            <c:numRef>
              <c:f>Sheet1!$C$2:$C$10</c:f>
              <c:numCache>
                <c:formatCode>General</c:formatCode>
                <c:ptCount val="9"/>
                <c:pt idx="0">
                  <c:v>8.6181999999999999</c:v>
                </c:pt>
                <c:pt idx="1">
                  <c:v>11.4709</c:v>
                </c:pt>
                <c:pt idx="2">
                  <c:v>12.8293</c:v>
                </c:pt>
                <c:pt idx="3">
                  <c:v>9.1577000000000002</c:v>
                </c:pt>
                <c:pt idx="4">
                  <c:v>17.518999999999998</c:v>
                </c:pt>
                <c:pt idx="5">
                  <c:v>11.204700000000001</c:v>
                </c:pt>
                <c:pt idx="6">
                  <c:v>11.4427</c:v>
                </c:pt>
                <c:pt idx="7">
                  <c:v>13.5473</c:v>
                </c:pt>
                <c:pt idx="8">
                  <c:v>9.881399999999999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Chateau Moncontour</c:v>
                </c:pt>
                <c:pt idx="6">
                  <c:v>Contarini</c:v>
                </c:pt>
                <c:pt idx="7">
                  <c:v>Vilaveroni</c:v>
                </c:pt>
                <c:pt idx="8">
                  <c:v>Bouvet-Ladubay</c:v>
                </c:pt>
              </c:strCache>
            </c:strRef>
          </c:cat>
          <c:val>
            <c:numRef>
              <c:f>Sheet1!$B$2:$B$10</c:f>
              <c:numCache>
                <c:formatCode>General</c:formatCode>
                <c:ptCount val="9"/>
                <c:pt idx="6">
                  <c:v>18.78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Savian</c:v>
                </c:pt>
                <c:pt idx="4">
                  <c:v>Mure</c:v>
                </c:pt>
                <c:pt idx="5">
                  <c:v>Chateau Moncontour</c:v>
                </c:pt>
                <c:pt idx="6">
                  <c:v>Contarini</c:v>
                </c:pt>
                <c:pt idx="7">
                  <c:v>Vilaveroni</c:v>
                </c:pt>
                <c:pt idx="8">
                  <c:v>Bouvet-Ladubay</c:v>
                </c:pt>
              </c:strCache>
            </c:strRef>
          </c:cat>
          <c:val>
            <c:numRef>
              <c:f>Sheet1!$C$2:$C$10</c:f>
              <c:numCache>
                <c:formatCode>General</c:formatCode>
                <c:ptCount val="9"/>
                <c:pt idx="0">
                  <c:v>9.6617999999999995</c:v>
                </c:pt>
                <c:pt idx="1">
                  <c:v>11.4886</c:v>
                </c:pt>
                <c:pt idx="2">
                  <c:v>12.6144</c:v>
                </c:pt>
                <c:pt idx="3">
                  <c:v>9.1776</c:v>
                </c:pt>
                <c:pt idx="4">
                  <c:v>17.562100000000001</c:v>
                </c:pt>
                <c:pt idx="5">
                  <c:v>11.366199999999999</c:v>
                </c:pt>
                <c:pt idx="6">
                  <c:v>9.8829999999999991</c:v>
                </c:pt>
                <c:pt idx="7">
                  <c:v>6.4760999999999997</c:v>
                </c:pt>
                <c:pt idx="8">
                  <c:v>10.989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Patriarche</c:v>
                </c:pt>
                <c:pt idx="2">
                  <c:v>Bottega</c:v>
                </c:pt>
                <c:pt idx="3">
                  <c:v>Bouvet-Ladubay</c:v>
                </c:pt>
                <c:pt idx="4">
                  <c:v>Mure</c:v>
                </c:pt>
                <c:pt idx="5">
                  <c:v>Kriter</c:v>
                </c:pt>
                <c:pt idx="6">
                  <c:v>Chateau Moncontour</c:v>
                </c:pt>
                <c:pt idx="7">
                  <c:v>Savian</c:v>
                </c:pt>
                <c:pt idx="8">
                  <c:v>Contarini</c:v>
                </c:pt>
              </c:strCache>
            </c:strRef>
          </c:cat>
          <c:val>
            <c:numRef>
              <c:f>Sheet1!$B$2:$B$10</c:f>
              <c:numCache>
                <c:formatCode>General</c:formatCode>
                <c:ptCount val="9"/>
                <c:pt idx="0">
                  <c:v>9.4552999999999994</c:v>
                </c:pt>
                <c:pt idx="1">
                  <c:v>12.6576</c:v>
                </c:pt>
                <c:pt idx="2">
                  <c:v>11.490399999999999</c:v>
                </c:pt>
                <c:pt idx="3">
                  <c:v>11.0585</c:v>
                </c:pt>
                <c:pt idx="4">
                  <c:v>17.4818</c:v>
                </c:pt>
                <c:pt idx="5">
                  <c:v>5.8106999999999998</c:v>
                </c:pt>
                <c:pt idx="6">
                  <c:v>11.525499999999999</c:v>
                </c:pt>
                <c:pt idx="7">
                  <c:v>9.1667000000000005</c:v>
                </c:pt>
                <c:pt idx="8">
                  <c:v>9.859199999999999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Mure</c:v>
                </c:pt>
                <c:pt idx="2">
                  <c:v>Patriarche</c:v>
                </c:pt>
                <c:pt idx="3">
                  <c:v>Savian</c:v>
                </c:pt>
                <c:pt idx="4">
                  <c:v>Bottega</c:v>
                </c:pt>
                <c:pt idx="5">
                  <c:v>Chateau Moncontour</c:v>
                </c:pt>
                <c:pt idx="6">
                  <c:v>Kriter</c:v>
                </c:pt>
                <c:pt idx="7">
                  <c:v>Bouvet-Ladubay</c:v>
                </c:pt>
                <c:pt idx="8">
                  <c:v>Contarini</c:v>
                </c:pt>
              </c:strCache>
            </c:strRef>
          </c:cat>
          <c:val>
            <c:numRef>
              <c:f>Sheet1!$B$2:$B$10</c:f>
              <c:numCache>
                <c:formatCode>General</c:formatCode>
                <c:ptCount val="9"/>
                <c:pt idx="0">
                  <c:v>20.663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Mure</c:v>
                </c:pt>
                <c:pt idx="2">
                  <c:v>Patriarche</c:v>
                </c:pt>
                <c:pt idx="3">
                  <c:v>Savian</c:v>
                </c:pt>
                <c:pt idx="4">
                  <c:v>Bottega</c:v>
                </c:pt>
                <c:pt idx="5">
                  <c:v>Chateau Moncontour</c:v>
                </c:pt>
                <c:pt idx="6">
                  <c:v>Kriter</c:v>
                </c:pt>
                <c:pt idx="7">
                  <c:v>Bouvet-Ladubay</c:v>
                </c:pt>
                <c:pt idx="8">
                  <c:v>Contarini</c:v>
                </c:pt>
              </c:strCache>
            </c:strRef>
          </c:cat>
          <c:val>
            <c:numRef>
              <c:f>Sheet1!$C$2:$C$10</c:f>
              <c:numCache>
                <c:formatCode>General</c:formatCode>
                <c:ptCount val="9"/>
                <c:pt idx="1">
                  <c:v>10.1559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Mure</c:v>
                </c:pt>
                <c:pt idx="2">
                  <c:v>Patriarche</c:v>
                </c:pt>
                <c:pt idx="3">
                  <c:v>Savian</c:v>
                </c:pt>
                <c:pt idx="4">
                  <c:v>Bottega</c:v>
                </c:pt>
                <c:pt idx="5">
                  <c:v>Chateau Moncontour</c:v>
                </c:pt>
                <c:pt idx="6">
                  <c:v>Kriter</c:v>
                </c:pt>
                <c:pt idx="7">
                  <c:v>Bouvet-Ladubay</c:v>
                </c:pt>
                <c:pt idx="8">
                  <c:v>Contarini</c:v>
                </c:pt>
              </c:strCache>
            </c:strRef>
          </c:cat>
          <c:val>
            <c:numRef>
              <c:f>Sheet1!$D$2:$D$10</c:f>
              <c:numCache>
                <c:formatCode>General</c:formatCode>
                <c:ptCount val="9"/>
                <c:pt idx="0">
                  <c:v>9.8419000000000008</c:v>
                </c:pt>
                <c:pt idx="1">
                  <c:v>18.327999999999999</c:v>
                </c:pt>
                <c:pt idx="2">
                  <c:v>12.973800000000001</c:v>
                </c:pt>
                <c:pt idx="3">
                  <c:v>9.0344999999999995</c:v>
                </c:pt>
                <c:pt idx="4">
                  <c:v>11.645300000000001</c:v>
                </c:pt>
                <c:pt idx="5">
                  <c:v>11.7005</c:v>
                </c:pt>
                <c:pt idx="6">
                  <c:v>5.8428000000000004</c:v>
                </c:pt>
                <c:pt idx="7">
                  <c:v>11.590199999999999</c:v>
                </c:pt>
                <c:pt idx="8">
                  <c:v>10.0149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F1E-428C-B0D7-38810D25D089}"/>
                </c:ext>
              </c:extLst>
            </c:dLbl>
            <c:dLbl>
              <c:idx val="1"/>
              <c:tx>
                <c:rich>
                  <a:bodyPr/>
                  <a:lstStyle/>
                  <a:p>
                    <a:r>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F1E-428C-B0D7-38810D25D089}"/>
                </c:ext>
              </c:extLst>
            </c:dLbl>
            <c:dLbl>
              <c:idx val="2"/>
              <c:tx>
                <c:rich>
                  <a:bodyPr/>
                  <a:lstStyle/>
                  <a:p>
                    <a:r>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F1E-428C-B0D7-38810D25D089}"/>
                </c:ext>
              </c:extLst>
            </c:dLbl>
            <c:dLbl>
              <c:idx val="3"/>
              <c:tx>
                <c:rich>
                  <a:bodyPr/>
                  <a:lstStyle/>
                  <a:p>
                    <a:r>
                      <a:t>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F1E-428C-B0D7-38810D25D089}"/>
                </c:ext>
              </c:extLst>
            </c:dLbl>
            <c:dLbl>
              <c:idx val="4"/>
              <c:tx>
                <c:rich>
                  <a:bodyPr/>
                  <a:lstStyle/>
                  <a:p>
                    <a:r>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F1E-428C-B0D7-38810D25D089}"/>
                </c:ext>
              </c:extLst>
            </c:dLbl>
            <c:dLbl>
              <c:idx val="5"/>
              <c:tx>
                <c:rich>
                  <a:bodyPr/>
                  <a:lstStyle/>
                  <a:p>
                    <a:r>
                      <a:t>7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F1E-428C-B0D7-38810D25D089}"/>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F1E-428C-B0D7-38810D25D089}"/>
                </c:ext>
              </c:extLst>
            </c:dLbl>
            <c:dLbl>
              <c:idx val="7"/>
              <c:tx>
                <c:rich>
                  <a:bodyPr/>
                  <a:lstStyle/>
                  <a:p>
                    <a:r>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F1E-428C-B0D7-38810D25D089}"/>
                </c:ext>
              </c:extLst>
            </c:dLbl>
            <c:dLbl>
              <c:idx val="8"/>
              <c:tx>
                <c:rich>
                  <a:bodyPr/>
                  <a:lstStyle/>
                  <a:p>
                    <a:r>
                      <a:t>85.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F1E-428C-B0D7-38810D25D089}"/>
                </c:ext>
              </c:extLst>
            </c:dLbl>
            <c:dLbl>
              <c:idx val="9"/>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F1E-428C-B0D7-38810D25D089}"/>
                </c:ext>
              </c:extLst>
            </c:dLbl>
            <c:dLbl>
              <c:idx val="10"/>
              <c:tx>
                <c:rich>
                  <a:bodyPr/>
                  <a:lstStyle/>
                  <a:p>
                    <a:r>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F1E-428C-B0D7-38810D25D089}"/>
                </c:ext>
              </c:extLst>
            </c:dLbl>
            <c:dLbl>
              <c:idx val="11"/>
              <c:tx>
                <c:rich>
                  <a:bodyPr/>
                  <a:lstStyle/>
                  <a:p>
                    <a:r>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F1E-428C-B0D7-38810D25D089}"/>
                </c:ext>
              </c:extLst>
            </c:dLbl>
            <c:dLbl>
              <c:idx val="12"/>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F1E-428C-B0D7-38810D25D089}"/>
                </c:ext>
              </c:extLst>
            </c:dLbl>
            <c:dLbl>
              <c:idx val="13"/>
              <c:tx>
                <c:rich>
                  <a:bodyPr/>
                  <a:lstStyle/>
                  <a:p>
                    <a:r>
                      <a:t>3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F1E-428C-B0D7-38810D25D089}"/>
                </c:ext>
              </c:extLst>
            </c:dLbl>
            <c:dLbl>
              <c:idx val="14"/>
              <c:tx>
                <c:rich>
                  <a:bodyPr/>
                  <a:lstStyle/>
                  <a:p>
                    <a:r>
                      <a:t>38.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F1E-428C-B0D7-38810D25D08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c:v>
                </c:pt>
                <c:pt idx="1">
                  <c:v>37.1</c:v>
                </c:pt>
                <c:pt idx="2">
                  <c:v>45.58</c:v>
                </c:pt>
                <c:pt idx="3">
                  <c:v>22.29</c:v>
                </c:pt>
                <c:pt idx="4">
                  <c:v>45.64</c:v>
                </c:pt>
                <c:pt idx="5">
                  <c:v>76.05</c:v>
                </c:pt>
                <c:pt idx="6">
                  <c:v>39.090000000000003</c:v>
                </c:pt>
                <c:pt idx="7">
                  <c:v>23.96</c:v>
                </c:pt>
                <c:pt idx="8">
                  <c:v>85.88</c:v>
                </c:pt>
                <c:pt idx="9">
                  <c:v>24.99</c:v>
                </c:pt>
                <c:pt idx="10">
                  <c:v>41.37</c:v>
                </c:pt>
                <c:pt idx="11">
                  <c:v>24.03</c:v>
                </c:pt>
                <c:pt idx="12">
                  <c:v>42.42</c:v>
                </c:pt>
                <c:pt idx="13">
                  <c:v>36.74</c:v>
                </c:pt>
                <c:pt idx="14">
                  <c:v>38.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Chateau Moncontour</c:v>
                </c:pt>
                <c:pt idx="6">
                  <c:v>Bouvet-Ladubay</c:v>
                </c:pt>
                <c:pt idx="7">
                  <c:v>De Chanceny</c:v>
                </c:pt>
                <c:pt idx="8">
                  <c:v>Contarini</c:v>
                </c:pt>
              </c:strCache>
            </c:strRef>
          </c:cat>
          <c:val>
            <c:numRef>
              <c:f>Sheet1!$B$2:$B$10</c:f>
              <c:numCache>
                <c:formatCode>General</c:formatCode>
                <c:ptCount val="9"/>
                <c:pt idx="6">
                  <c:v>24.5686</c:v>
                </c:pt>
                <c:pt idx="8">
                  <c:v>18.3974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Savian</c:v>
                </c:pt>
                <c:pt idx="4">
                  <c:v>Mure</c:v>
                </c:pt>
                <c:pt idx="5">
                  <c:v>Chateau Moncontour</c:v>
                </c:pt>
                <c:pt idx="6">
                  <c:v>Bouvet-Ladubay</c:v>
                </c:pt>
                <c:pt idx="7">
                  <c:v>De Chanceny</c:v>
                </c:pt>
                <c:pt idx="8">
                  <c:v>Contarini</c:v>
                </c:pt>
              </c:strCache>
            </c:strRef>
          </c:cat>
          <c:val>
            <c:numRef>
              <c:f>Sheet1!$C$2:$C$10</c:f>
              <c:numCache>
                <c:formatCode>General</c:formatCode>
                <c:ptCount val="9"/>
                <c:pt idx="0">
                  <c:v>8.8876000000000008</c:v>
                </c:pt>
                <c:pt idx="1">
                  <c:v>11.4457</c:v>
                </c:pt>
                <c:pt idx="2">
                  <c:v>12.7675</c:v>
                </c:pt>
                <c:pt idx="3">
                  <c:v>9.1258999999999997</c:v>
                </c:pt>
                <c:pt idx="4">
                  <c:v>17.377600000000001</c:v>
                </c:pt>
                <c:pt idx="5">
                  <c:v>11.3108</c:v>
                </c:pt>
                <c:pt idx="6">
                  <c:v>11.1692</c:v>
                </c:pt>
                <c:pt idx="7">
                  <c:v>13.266400000000001</c:v>
                </c:pt>
                <c:pt idx="8">
                  <c:v>9.823499999999999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Bouvet-Ladubay</c:v>
                </c:pt>
                <c:pt idx="5">
                  <c:v>Chateau Moncontour</c:v>
                </c:pt>
                <c:pt idx="6">
                  <c:v>Savian</c:v>
                </c:pt>
                <c:pt idx="7">
                  <c:v>De Chanceny</c:v>
                </c:pt>
                <c:pt idx="8">
                  <c:v>Kriter</c:v>
                </c:pt>
              </c:strCache>
            </c:strRef>
          </c:cat>
          <c:val>
            <c:numRef>
              <c:f>Sheet1!$B$2:$B$10</c:f>
              <c:numCache>
                <c:formatCode>General</c:formatCode>
                <c:ptCount val="9"/>
                <c:pt idx="4">
                  <c:v>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Mure</c:v>
                </c:pt>
                <c:pt idx="4">
                  <c:v>Bouvet-Ladubay</c:v>
                </c:pt>
                <c:pt idx="5">
                  <c:v>Chateau Moncontour</c:v>
                </c:pt>
                <c:pt idx="6">
                  <c:v>Savian</c:v>
                </c:pt>
                <c:pt idx="7">
                  <c:v>De Chanceny</c:v>
                </c:pt>
                <c:pt idx="8">
                  <c:v>Kriter</c:v>
                </c:pt>
              </c:strCache>
            </c:strRef>
          </c:cat>
          <c:val>
            <c:numRef>
              <c:f>Sheet1!$C$2:$C$10</c:f>
              <c:numCache>
                <c:formatCode>General</c:formatCode>
                <c:ptCount val="9"/>
                <c:pt idx="0">
                  <c:v>9.2073999999999998</c:v>
                </c:pt>
                <c:pt idx="1">
                  <c:v>11.4999</c:v>
                </c:pt>
                <c:pt idx="2">
                  <c:v>12.7821</c:v>
                </c:pt>
                <c:pt idx="3">
                  <c:v>17.526599999999998</c:v>
                </c:pt>
                <c:pt idx="4">
                  <c:v>11.1729</c:v>
                </c:pt>
                <c:pt idx="5">
                  <c:v>11.379899999999999</c:v>
                </c:pt>
                <c:pt idx="6">
                  <c:v>9.0538000000000007</c:v>
                </c:pt>
                <c:pt idx="7">
                  <c:v>13.565200000000001</c:v>
                </c:pt>
                <c:pt idx="8">
                  <c:v>5.761499999999999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Kriter</c:v>
                </c:pt>
              </c:strCache>
            </c:strRef>
          </c:cat>
          <c:val>
            <c:numRef>
              <c:f>Sheet1!$B$2:$B$10</c:f>
              <c:numCache>
                <c:formatCode>General</c:formatCode>
                <c:ptCount val="9"/>
                <c:pt idx="5">
                  <c:v>25.3303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Savian</c:v>
                </c:pt>
                <c:pt idx="4">
                  <c:v>Mure</c:v>
                </c:pt>
                <c:pt idx="5">
                  <c:v>Bouvet-Ladubay</c:v>
                </c:pt>
                <c:pt idx="6">
                  <c:v>Chateau Moncontour</c:v>
                </c:pt>
                <c:pt idx="7">
                  <c:v>De Chanceny</c:v>
                </c:pt>
                <c:pt idx="8">
                  <c:v>Kriter</c:v>
                </c:pt>
              </c:strCache>
            </c:strRef>
          </c:cat>
          <c:val>
            <c:numRef>
              <c:f>Sheet1!$C$2:$C$10</c:f>
              <c:numCache>
                <c:formatCode>General</c:formatCode>
                <c:ptCount val="9"/>
                <c:pt idx="0">
                  <c:v>9.1259999999999994</c:v>
                </c:pt>
                <c:pt idx="1">
                  <c:v>11.404999999999999</c:v>
                </c:pt>
                <c:pt idx="2">
                  <c:v>12.696099999999999</c:v>
                </c:pt>
                <c:pt idx="3">
                  <c:v>9.0840999999999994</c:v>
                </c:pt>
                <c:pt idx="4">
                  <c:v>17.412700000000001</c:v>
                </c:pt>
                <c:pt idx="5">
                  <c:v>11.2622</c:v>
                </c:pt>
                <c:pt idx="6">
                  <c:v>11.4129</c:v>
                </c:pt>
                <c:pt idx="7">
                  <c:v>13.5061</c:v>
                </c:pt>
                <c:pt idx="8">
                  <c:v>5.734300000000000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Contarini</c:v>
                </c:pt>
              </c:strCache>
            </c:strRef>
          </c:cat>
          <c:val>
            <c:numRef>
              <c:f>Sheet1!$B$2:$B$10</c:f>
              <c:numCache>
                <c:formatCode>General</c:formatCode>
                <c:ptCount val="9"/>
                <c:pt idx="5">
                  <c:v>25.491700000000002</c:v>
                </c:pt>
                <c:pt idx="8">
                  <c:v>18.380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Bottega</c:v>
                </c:pt>
                <c:pt idx="2">
                  <c:v>Patriarche</c:v>
                </c:pt>
                <c:pt idx="3">
                  <c:v>Mure</c:v>
                </c:pt>
                <c:pt idx="4">
                  <c:v>Savian</c:v>
                </c:pt>
                <c:pt idx="5">
                  <c:v>Bouvet-Ladubay</c:v>
                </c:pt>
                <c:pt idx="6">
                  <c:v>Chateau Moncontour</c:v>
                </c:pt>
                <c:pt idx="7">
                  <c:v>De Chanceny</c:v>
                </c:pt>
                <c:pt idx="8">
                  <c:v>Contarini</c:v>
                </c:pt>
              </c:strCache>
            </c:strRef>
          </c:cat>
          <c:val>
            <c:numRef>
              <c:f>Sheet1!$C$2:$C$10</c:f>
              <c:numCache>
                <c:formatCode>General</c:formatCode>
                <c:ptCount val="9"/>
                <c:pt idx="0">
                  <c:v>9.6282999999999994</c:v>
                </c:pt>
                <c:pt idx="1">
                  <c:v>11.3996</c:v>
                </c:pt>
                <c:pt idx="2">
                  <c:v>12.751099999999999</c:v>
                </c:pt>
                <c:pt idx="3">
                  <c:v>17.831800000000001</c:v>
                </c:pt>
                <c:pt idx="4">
                  <c:v>9.1219000000000001</c:v>
                </c:pt>
                <c:pt idx="5">
                  <c:v>11.1836</c:v>
                </c:pt>
                <c:pt idx="6">
                  <c:v>11.430300000000001</c:v>
                </c:pt>
                <c:pt idx="7">
                  <c:v>13.4643</c:v>
                </c:pt>
                <c:pt idx="8">
                  <c:v>9.893100000000000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Patriarche</c:v>
                </c:pt>
                <c:pt idx="2">
                  <c:v>Mure</c:v>
                </c:pt>
                <c:pt idx="3">
                  <c:v>Bottega</c:v>
                </c:pt>
                <c:pt idx="4">
                  <c:v>Bouvet-Ladubay</c:v>
                </c:pt>
                <c:pt idx="5">
                  <c:v>Chateau Moncontour</c:v>
                </c:pt>
                <c:pt idx="6">
                  <c:v>Savian</c:v>
                </c:pt>
                <c:pt idx="7">
                  <c:v>Kriter</c:v>
                </c:pt>
                <c:pt idx="8">
                  <c:v>De Chanceny</c:v>
                </c:pt>
              </c:strCache>
            </c:strRef>
          </c:cat>
          <c:val>
            <c:numRef>
              <c:f>Sheet1!$B$2:$B$10</c:f>
              <c:numCache>
                <c:formatCode>General</c:formatCode>
                <c:ptCount val="9"/>
                <c:pt idx="4">
                  <c:v>24.8113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Patriarche</c:v>
                </c:pt>
                <c:pt idx="2">
                  <c:v>Mure</c:v>
                </c:pt>
                <c:pt idx="3">
                  <c:v>Bottega</c:v>
                </c:pt>
                <c:pt idx="4">
                  <c:v>Bouvet-Ladubay</c:v>
                </c:pt>
                <c:pt idx="5">
                  <c:v>Chateau Moncontour</c:v>
                </c:pt>
                <c:pt idx="6">
                  <c:v>Savian</c:v>
                </c:pt>
                <c:pt idx="7">
                  <c:v>Kriter</c:v>
                </c:pt>
                <c:pt idx="8">
                  <c:v>De Chanceny</c:v>
                </c:pt>
              </c:strCache>
            </c:strRef>
          </c:cat>
          <c:val>
            <c:numRef>
              <c:f>Sheet1!$C$2:$C$10</c:f>
              <c:numCache>
                <c:formatCode>General</c:formatCode>
                <c:ptCount val="9"/>
                <c:pt idx="0">
                  <c:v>9.6161999999999992</c:v>
                </c:pt>
                <c:pt idx="1">
                  <c:v>12.7788</c:v>
                </c:pt>
                <c:pt idx="2">
                  <c:v>17.647300000000001</c:v>
                </c:pt>
                <c:pt idx="3">
                  <c:v>11.5068</c:v>
                </c:pt>
                <c:pt idx="4">
                  <c:v>11.100300000000001</c:v>
                </c:pt>
                <c:pt idx="5">
                  <c:v>11.451700000000001</c:v>
                </c:pt>
                <c:pt idx="6">
                  <c:v>9.1301000000000005</c:v>
                </c:pt>
                <c:pt idx="7">
                  <c:v>5.7043999999999997</c:v>
                </c:pt>
                <c:pt idx="8">
                  <c:v>13.4638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rtigny</c:v>
                </c:pt>
                <c:pt idx="1">
                  <c:v>Festillant</c:v>
                </c:pt>
                <c:pt idx="2">
                  <c:v>Petillant De Listel</c:v>
                </c:pt>
                <c:pt idx="3">
                  <c:v>Mdd</c:v>
                </c:pt>
                <c:pt idx="4">
                  <c:v>Freixenet</c:v>
                </c:pt>
                <c:pt idx="5">
                  <c:v>All Others</c:v>
                </c:pt>
                <c:pt idx="6">
                  <c:v>Ackerman</c:v>
                </c:pt>
                <c:pt idx="7">
                  <c:v>De Chanceny</c:v>
                </c:pt>
                <c:pt idx="8">
                  <c:v>Lyre's</c:v>
                </c:pt>
              </c:strCache>
            </c:strRef>
          </c:cat>
          <c:val>
            <c:numRef>
              <c:f>Sheet1!$B$2:$B$10</c:f>
              <c:numCache>
                <c:formatCode>General</c:formatCode>
                <c:ptCount val="9"/>
                <c:pt idx="0">
                  <c:v>3.5871</c:v>
                </c:pt>
                <c:pt idx="1">
                  <c:v>3.6676000000000002</c:v>
                </c:pt>
                <c:pt idx="2">
                  <c:v>3.9388000000000001</c:v>
                </c:pt>
                <c:pt idx="3">
                  <c:v>2.9666999999999999</c:v>
                </c:pt>
                <c:pt idx="4">
                  <c:v>5.45</c:v>
                </c:pt>
                <c:pt idx="5">
                  <c:v>6.5571000000000002</c:v>
                </c:pt>
                <c:pt idx="6">
                  <c:v>7.4157999999999999</c:v>
                </c:pt>
                <c:pt idx="7">
                  <c:v>29.135300000000001</c:v>
                </c:pt>
                <c:pt idx="8">
                  <c:v>11.0292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944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107099999999999</c:v>
                </c:pt>
                <c:pt idx="1">
                  <c:v>11.3858</c:v>
                </c:pt>
                <c:pt idx="2">
                  <c:v>14.8488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rtigny</c:v>
                </c:pt>
                <c:pt idx="1">
                  <c:v>Festillant</c:v>
                </c:pt>
                <c:pt idx="2">
                  <c:v>Petillant De Listel</c:v>
                </c:pt>
                <c:pt idx="3">
                  <c:v>Mdd</c:v>
                </c:pt>
                <c:pt idx="4">
                  <c:v>Freixenet</c:v>
                </c:pt>
                <c:pt idx="5">
                  <c:v>All Others</c:v>
                </c:pt>
                <c:pt idx="6">
                  <c:v>Ackerman</c:v>
                </c:pt>
                <c:pt idx="7">
                  <c:v>Arthur Metz</c:v>
                </c:pt>
                <c:pt idx="8">
                  <c:v>Mionetto</c:v>
                </c:pt>
              </c:strCache>
            </c:strRef>
          </c:cat>
          <c:val>
            <c:numRef>
              <c:f>Sheet1!$B$2:$B$10</c:f>
              <c:numCache>
                <c:formatCode>General</c:formatCode>
                <c:ptCount val="9"/>
                <c:pt idx="0">
                  <c:v>3.5871</c:v>
                </c:pt>
                <c:pt idx="1">
                  <c:v>3.6676000000000002</c:v>
                </c:pt>
                <c:pt idx="2">
                  <c:v>3.9388000000000001</c:v>
                </c:pt>
                <c:pt idx="3">
                  <c:v>2.9666999999999999</c:v>
                </c:pt>
                <c:pt idx="4">
                  <c:v>5.45</c:v>
                </c:pt>
                <c:pt idx="5">
                  <c:v>5.9781000000000004</c:v>
                </c:pt>
                <c:pt idx="6">
                  <c:v>7.4157999999999999</c:v>
                </c:pt>
                <c:pt idx="7">
                  <c:v>6.202</c:v>
                </c:pt>
                <c:pt idx="8">
                  <c:v>6.809300000000000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0218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26399999999999</c:v>
                </c:pt>
                <c:pt idx="1">
                  <c:v>11.3819</c:v>
                </c:pt>
                <c:pt idx="2">
                  <c:v>14.593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271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73699999999999</c:v>
                </c:pt>
                <c:pt idx="1">
                  <c:v>11.320499999999999</c:v>
                </c:pt>
                <c:pt idx="2">
                  <c:v>13.4972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660-4EAC-8AF1-3C85F1128D60}"/>
                </c:ext>
              </c:extLst>
            </c:dLbl>
            <c:dLbl>
              <c:idx val="1"/>
              <c:tx>
                <c:rich>
                  <a:bodyPr/>
                  <a:lstStyle/>
                  <a:p>
                    <a:r>
                      <a:t>3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660-4EAC-8AF1-3C85F1128D60}"/>
                </c:ext>
              </c:extLst>
            </c:dLbl>
            <c:dLbl>
              <c:idx val="2"/>
              <c:tx>
                <c:rich>
                  <a:bodyPr/>
                  <a:lstStyle/>
                  <a:p>
                    <a:r>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660-4EAC-8AF1-3C85F1128D60}"/>
                </c:ext>
              </c:extLst>
            </c:dLbl>
            <c:dLbl>
              <c:idx val="3"/>
              <c:tx>
                <c:rich>
                  <a:bodyPr/>
                  <a:lstStyle/>
                  <a:p>
                    <a:r>
                      <a:t>2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660-4EAC-8AF1-3C85F1128D60}"/>
                </c:ext>
              </c:extLst>
            </c:dLbl>
            <c:dLbl>
              <c:idx val="4"/>
              <c:tx>
                <c:rich>
                  <a:bodyPr/>
                  <a:lstStyle/>
                  <a:p>
                    <a:r>
                      <a:t>4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660-4EAC-8AF1-3C85F1128D60}"/>
                </c:ext>
              </c:extLst>
            </c:dLbl>
            <c:dLbl>
              <c:idx val="5"/>
              <c:tx>
                <c:rich>
                  <a:bodyPr/>
                  <a:lstStyle/>
                  <a:p>
                    <a:r>
                      <a:t>79.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660-4EAC-8AF1-3C85F1128D60}"/>
                </c:ext>
              </c:extLst>
            </c:dLbl>
            <c:dLbl>
              <c:idx val="6"/>
              <c:tx>
                <c:rich>
                  <a:bodyPr/>
                  <a:lstStyle/>
                  <a:p>
                    <a:r>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660-4EAC-8AF1-3C85F1128D60}"/>
                </c:ext>
              </c:extLst>
            </c:dLbl>
            <c:dLbl>
              <c:idx val="7"/>
              <c:tx>
                <c:rich>
                  <a:bodyPr/>
                  <a:lstStyle/>
                  <a:p>
                    <a:r>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660-4EAC-8AF1-3C85F1128D60}"/>
                </c:ext>
              </c:extLst>
            </c:dLbl>
            <c:dLbl>
              <c:idx val="8"/>
              <c:tx>
                <c:rich>
                  <a:bodyPr/>
                  <a:lstStyle/>
                  <a:p>
                    <a:r>
                      <a:t>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660-4EAC-8AF1-3C85F1128D60}"/>
                </c:ext>
              </c:extLst>
            </c:dLbl>
            <c:dLbl>
              <c:idx val="9"/>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660-4EAC-8AF1-3C85F1128D60}"/>
                </c:ext>
              </c:extLst>
            </c:dLbl>
            <c:dLbl>
              <c:idx val="10"/>
              <c:tx>
                <c:rich>
                  <a:bodyPr/>
                  <a:lstStyle/>
                  <a:p>
                    <a:r>
                      <a:t>4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660-4EAC-8AF1-3C85F1128D60}"/>
                </c:ext>
              </c:extLst>
            </c:dLbl>
            <c:dLbl>
              <c:idx val="11"/>
              <c:tx>
                <c:rich>
                  <a:bodyPr/>
                  <a:lstStyle/>
                  <a:p>
                    <a:r>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660-4EAC-8AF1-3C85F1128D60}"/>
                </c:ext>
              </c:extLst>
            </c:dLbl>
            <c:dLbl>
              <c:idx val="12"/>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660-4EAC-8AF1-3C85F1128D60}"/>
                </c:ext>
              </c:extLst>
            </c:dLbl>
            <c:dLbl>
              <c:idx val="13"/>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660-4EAC-8AF1-3C85F1128D60}"/>
                </c:ext>
              </c:extLst>
            </c:dLbl>
            <c:dLbl>
              <c:idx val="14"/>
              <c:tx>
                <c:rich>
                  <a:bodyPr/>
                  <a:lstStyle/>
                  <a:p>
                    <a:r>
                      <a:t>3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660-4EAC-8AF1-3C85F1128D6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1</c:v>
                </c:pt>
                <c:pt idx="1">
                  <c:v>37.08</c:v>
                </c:pt>
                <c:pt idx="2">
                  <c:v>45.64</c:v>
                </c:pt>
                <c:pt idx="3">
                  <c:v>22.26</c:v>
                </c:pt>
                <c:pt idx="4">
                  <c:v>45.73</c:v>
                </c:pt>
                <c:pt idx="5">
                  <c:v>79.31</c:v>
                </c:pt>
                <c:pt idx="6">
                  <c:v>39.049999999999997</c:v>
                </c:pt>
                <c:pt idx="7">
                  <c:v>24.06</c:v>
                </c:pt>
                <c:pt idx="8">
                  <c:v>83.3</c:v>
                </c:pt>
                <c:pt idx="9">
                  <c:v>25.02</c:v>
                </c:pt>
                <c:pt idx="10">
                  <c:v>41.04</c:v>
                </c:pt>
                <c:pt idx="11">
                  <c:v>24.08</c:v>
                </c:pt>
                <c:pt idx="12">
                  <c:v>43.15</c:v>
                </c:pt>
                <c:pt idx="13">
                  <c:v>36.93</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3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1313</c:v>
                </c:pt>
                <c:pt idx="1">
                  <c:v>11.426500000000001</c:v>
                </c:pt>
                <c:pt idx="2">
                  <c:v>15.6148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All Others</c:v>
                </c:pt>
                <c:pt idx="2">
                  <c:v>Lyre's</c:v>
                </c:pt>
              </c:strCache>
            </c:strRef>
          </c:cat>
          <c:val>
            <c:numRef>
              <c:f>Sheet1!$B$2:$B$4</c:f>
              <c:numCache>
                <c:formatCode>General</c:formatCode>
                <c:ptCount val="3"/>
                <c:pt idx="1">
                  <c:v>18.41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All Others</c:v>
                </c:pt>
                <c:pt idx="2">
                  <c:v>Lyre's</c:v>
                </c:pt>
              </c:strCache>
            </c:strRef>
          </c:cat>
          <c:val>
            <c:numRef>
              <c:f>Sheet1!$C$2:$C$4</c:f>
              <c:numCache>
                <c:formatCode>General</c:formatCode>
                <c:ptCount val="3"/>
                <c:pt idx="0">
                  <c:v>29.110499999999998</c:v>
                </c:pt>
                <c:pt idx="1">
                  <c:v>20.696000000000002</c:v>
                </c:pt>
                <c:pt idx="2">
                  <c:v>11.4327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40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191199999999998</c:v>
                </c:pt>
                <c:pt idx="1">
                  <c:v>11.3607</c:v>
                </c:pt>
                <c:pt idx="2">
                  <c:v>13.589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0462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11900000000001</c:v>
                </c:pt>
                <c:pt idx="1">
                  <c:v>11.3827</c:v>
                </c:pt>
                <c:pt idx="2">
                  <c:v>15.2894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2574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1084</c:v>
                </c:pt>
                <c:pt idx="1">
                  <c:v>11.2789</c:v>
                </c:pt>
                <c:pt idx="2">
                  <c:v>15.033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624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1648</c:v>
                </c:pt>
                <c:pt idx="1">
                  <c:v>11.4002</c:v>
                </c:pt>
                <c:pt idx="2">
                  <c:v>14.222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9.19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628900000000002</c:v>
                </c:pt>
                <c:pt idx="1">
                  <c:v>11.506600000000001</c:v>
                </c:pt>
                <c:pt idx="2">
                  <c:v>12.831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9.0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984000000000002</c:v>
                </c:pt>
                <c:pt idx="1">
                  <c:v>11.5024</c:v>
                </c:pt>
                <c:pt idx="2">
                  <c:v>16.56940000000000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0819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425</c:v>
                </c:pt>
                <c:pt idx="1">
                  <c:v>11.2257</c:v>
                </c:pt>
                <c:pt idx="2">
                  <c:v>16.995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52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84499999999998</c:v>
                </c:pt>
                <c:pt idx="1">
                  <c:v>11.353199999999999</c:v>
                </c:pt>
                <c:pt idx="2">
                  <c:v>15.956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AA8-43A9-A85C-49ECFFBA33B0}"/>
                </c:ext>
              </c:extLst>
            </c:dLbl>
            <c:dLbl>
              <c:idx val="1"/>
              <c:tx>
                <c:rich>
                  <a:bodyPr/>
                  <a:lstStyle/>
                  <a:p>
                    <a:r>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AA8-43A9-A85C-49ECFFBA33B0}"/>
                </c:ext>
              </c:extLst>
            </c:dLbl>
            <c:dLbl>
              <c:idx val="2"/>
              <c:tx>
                <c:rich>
                  <a:bodyPr/>
                  <a:lstStyle/>
                  <a:p>
                    <a:r>
                      <a:t>45.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AA8-43A9-A85C-49ECFFBA33B0}"/>
                </c:ext>
              </c:extLst>
            </c:dLbl>
            <c:dLbl>
              <c:idx val="3"/>
              <c:tx>
                <c:rich>
                  <a:bodyPr/>
                  <a:lstStyle/>
                  <a:p>
                    <a:r>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AA8-43A9-A85C-49ECFFBA33B0}"/>
                </c:ext>
              </c:extLst>
            </c:dLbl>
            <c:dLbl>
              <c:idx val="4"/>
              <c:tx>
                <c:rich>
                  <a:bodyPr/>
                  <a:lstStyle/>
                  <a:p>
                    <a:r>
                      <a:t>45.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AA8-43A9-A85C-49ECFFBA33B0}"/>
                </c:ext>
              </c:extLst>
            </c:dLbl>
            <c:dLbl>
              <c:idx val="5"/>
              <c:tx>
                <c:rich>
                  <a:bodyPr/>
                  <a:lstStyle/>
                  <a:p>
                    <a:r>
                      <a:t>74.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AA8-43A9-A85C-49ECFFBA33B0}"/>
                </c:ext>
              </c:extLst>
            </c:dLbl>
            <c:dLbl>
              <c:idx val="6"/>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AA8-43A9-A85C-49ECFFBA33B0}"/>
                </c:ext>
              </c:extLst>
            </c:dLbl>
            <c:dLbl>
              <c:idx val="7"/>
              <c:tx>
                <c:rich>
                  <a:bodyPr/>
                  <a:lstStyle/>
                  <a:p>
                    <a:r>
                      <a:t>8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AA8-43A9-A85C-49ECFFBA33B0}"/>
                </c:ext>
              </c:extLst>
            </c:dLbl>
            <c:dLbl>
              <c:idx val="8"/>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AA8-43A9-A85C-49ECFFBA33B0}"/>
                </c:ext>
              </c:extLst>
            </c:dLbl>
            <c:dLbl>
              <c:idx val="9"/>
              <c:tx>
                <c:rich>
                  <a:bodyPr/>
                  <a:lstStyle/>
                  <a:p>
                    <a:r>
                      <a:t>2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AA8-43A9-A85C-49ECFFBA33B0}"/>
                </c:ext>
              </c:extLst>
            </c:dLbl>
            <c:dLbl>
              <c:idx val="10"/>
              <c:tx>
                <c:rich>
                  <a:bodyPr/>
                  <a:lstStyle/>
                  <a:p>
                    <a:r>
                      <a:t>42.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AA8-43A9-A85C-49ECFFBA33B0}"/>
                </c:ext>
              </c:extLst>
            </c:dLbl>
            <c:dLbl>
              <c:idx val="11"/>
              <c:tx>
                <c:rich>
                  <a:bodyPr/>
                  <a:lstStyle/>
                  <a:p>
                    <a:r>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AA8-43A9-A85C-49ECFFBA33B0}"/>
                </c:ext>
              </c:extLst>
            </c:dLbl>
            <c:dLbl>
              <c:idx val="12"/>
              <c:tx>
                <c:rich>
                  <a:bodyPr/>
                  <a:lstStyle/>
                  <a:p>
                    <a:r>
                      <a:t>3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AA8-43A9-A85C-49ECFFBA33B0}"/>
                </c:ext>
              </c:extLst>
            </c:dLbl>
            <c:dLbl>
              <c:idx val="13"/>
              <c:tx>
                <c:rich>
                  <a:bodyPr/>
                  <a:lstStyle/>
                  <a:p>
                    <a:r>
                      <a:t>39.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AA8-43A9-A85C-49ECFFBA33B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81</c:v>
                </c:pt>
                <c:pt idx="1">
                  <c:v>37.07</c:v>
                </c:pt>
                <c:pt idx="2">
                  <c:v>45.08</c:v>
                </c:pt>
                <c:pt idx="3">
                  <c:v>22.34</c:v>
                </c:pt>
                <c:pt idx="4">
                  <c:v>45.65</c:v>
                </c:pt>
                <c:pt idx="5">
                  <c:v>74.959999999999994</c:v>
                </c:pt>
                <c:pt idx="6">
                  <c:v>39.020000000000003</c:v>
                </c:pt>
                <c:pt idx="7">
                  <c:v>83.76</c:v>
                </c:pt>
                <c:pt idx="8">
                  <c:v>24.3</c:v>
                </c:pt>
                <c:pt idx="9">
                  <c:v>24.91</c:v>
                </c:pt>
                <c:pt idx="10">
                  <c:v>42.78</c:v>
                </c:pt>
                <c:pt idx="11">
                  <c:v>23.87</c:v>
                </c:pt>
                <c:pt idx="12">
                  <c:v>36.619999999999997</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563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535</c:v>
                </c:pt>
                <c:pt idx="1">
                  <c:v>11.4306</c:v>
                </c:pt>
                <c:pt idx="2">
                  <c:v>15.011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126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99299999999999</c:v>
                </c:pt>
                <c:pt idx="1">
                  <c:v>11.4146</c:v>
                </c:pt>
                <c:pt idx="2">
                  <c:v>12.9521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e Chanceny</c:v>
                </c:pt>
                <c:pt idx="1">
                  <c:v>Lyre's</c:v>
                </c:pt>
                <c:pt idx="2">
                  <c:v>All Others</c:v>
                </c:pt>
              </c:strCache>
            </c:strRef>
          </c:cat>
          <c:val>
            <c:numRef>
              <c:f>Sheet1!$B$2:$B$4</c:f>
              <c:numCache>
                <c:formatCode>General</c:formatCode>
                <c:ptCount val="3"/>
                <c:pt idx="2">
                  <c:v>18.3176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e Chanceny</c:v>
                </c:pt>
                <c:pt idx="1">
                  <c:v>Lyre's</c:v>
                </c:pt>
                <c:pt idx="2">
                  <c:v>All Others</c:v>
                </c:pt>
              </c:strCache>
            </c:strRef>
          </c:cat>
          <c:val>
            <c:numRef>
              <c:f>Sheet1!$C$2:$C$4</c:f>
              <c:numCache>
                <c:formatCode>General</c:formatCode>
                <c:ptCount val="3"/>
                <c:pt idx="0">
                  <c:v>29.068899999999999</c:v>
                </c:pt>
                <c:pt idx="1">
                  <c:v>11.472899999999999</c:v>
                </c:pt>
                <c:pt idx="2">
                  <c:v>11.707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Canard Duchêne</c:v>
                </c:pt>
                <c:pt idx="3">
                  <c:v>Malard</c:v>
                </c:pt>
                <c:pt idx="4">
                  <c:v>Besserat De Bellefon</c:v>
                </c:pt>
                <c:pt idx="5">
                  <c:v>Henriot</c:v>
                </c:pt>
                <c:pt idx="6">
                  <c:v>Ayala</c:v>
                </c:pt>
                <c:pt idx="7">
                  <c:v>Delamotte</c:v>
                </c:pt>
                <c:pt idx="8">
                  <c:v>All Others</c:v>
                </c:pt>
              </c:strCache>
            </c:strRef>
          </c:cat>
          <c:val>
            <c:numRef>
              <c:f>Sheet1!$B$2:$B$10</c:f>
              <c:numCache>
                <c:formatCode>General</c:formatCode>
                <c:ptCount val="9"/>
                <c:pt idx="0">
                  <c:v>86.618600000000001</c:v>
                </c:pt>
                <c:pt idx="1">
                  <c:v>218.82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Canard Duchêne</c:v>
                </c:pt>
                <c:pt idx="3">
                  <c:v>Malard</c:v>
                </c:pt>
                <c:pt idx="4">
                  <c:v>Besserat De Bellefon</c:v>
                </c:pt>
                <c:pt idx="5">
                  <c:v>Henriot</c:v>
                </c:pt>
                <c:pt idx="6">
                  <c:v>Ayala</c:v>
                </c:pt>
                <c:pt idx="7">
                  <c:v>Delamotte</c:v>
                </c:pt>
                <c:pt idx="8">
                  <c:v>All Others</c:v>
                </c:pt>
              </c:strCache>
            </c:strRef>
          </c:cat>
          <c:val>
            <c:numRef>
              <c:f>Sheet1!$C$2:$C$10</c:f>
              <c:numCache>
                <c:formatCode>General</c:formatCode>
                <c:ptCount val="9"/>
                <c:pt idx="0">
                  <c:v>24.0078</c:v>
                </c:pt>
                <c:pt idx="1">
                  <c:v>57.2297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Canard Duchêne</c:v>
                </c:pt>
                <c:pt idx="3">
                  <c:v>Malard</c:v>
                </c:pt>
                <c:pt idx="4">
                  <c:v>Besserat De Bellefon</c:v>
                </c:pt>
                <c:pt idx="5">
                  <c:v>Henriot</c:v>
                </c:pt>
                <c:pt idx="6">
                  <c:v>Ayala</c:v>
                </c:pt>
                <c:pt idx="7">
                  <c:v>Delamotte</c:v>
                </c:pt>
                <c:pt idx="8">
                  <c:v>All Others</c:v>
                </c:pt>
              </c:strCache>
            </c:strRef>
          </c:cat>
          <c:val>
            <c:numRef>
              <c:f>Sheet1!$D$2:$D$10</c:f>
              <c:numCache>
                <c:formatCode>General</c:formatCode>
                <c:ptCount val="9"/>
                <c:pt idx="0">
                  <c:v>39.975700000000003</c:v>
                </c:pt>
                <c:pt idx="1">
                  <c:v>95.523700000000005</c:v>
                </c:pt>
                <c:pt idx="2">
                  <c:v>30.7135</c:v>
                </c:pt>
                <c:pt idx="3">
                  <c:v>35.273200000000003</c:v>
                </c:pt>
                <c:pt idx="4">
                  <c:v>59.044199999999996</c:v>
                </c:pt>
                <c:pt idx="5">
                  <c:v>46.6693</c:v>
                </c:pt>
                <c:pt idx="6">
                  <c:v>74.661799999999999</c:v>
                </c:pt>
                <c:pt idx="7">
                  <c:v>53.226900000000001</c:v>
                </c:pt>
                <c:pt idx="8">
                  <c:v>42.4979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All Others</c:v>
                </c:pt>
              </c:strCache>
            </c:strRef>
          </c:cat>
          <c:val>
            <c:numRef>
              <c:f>Sheet1!$B$2:$B$10</c:f>
              <c:numCache>
                <c:formatCode>General</c:formatCode>
                <c:ptCount val="9"/>
                <c:pt idx="0">
                  <c:v>90.510999999999996</c:v>
                </c:pt>
                <c:pt idx="1">
                  <c:v>225.91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All Others</c:v>
                </c:pt>
              </c:strCache>
            </c:strRef>
          </c:cat>
          <c:val>
            <c:numRef>
              <c:f>Sheet1!$C$2:$C$10</c:f>
              <c:numCache>
                <c:formatCode>General</c:formatCode>
                <c:ptCount val="9"/>
                <c:pt idx="0">
                  <c:v>24.402000000000001</c:v>
                </c:pt>
                <c:pt idx="1">
                  <c:v>56.6869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All Others</c:v>
                </c:pt>
              </c:strCache>
            </c:strRef>
          </c:cat>
          <c:val>
            <c:numRef>
              <c:f>Sheet1!$D$2:$D$10</c:f>
              <c:numCache>
                <c:formatCode>General</c:formatCode>
                <c:ptCount val="9"/>
                <c:pt idx="0">
                  <c:v>40.259700000000002</c:v>
                </c:pt>
                <c:pt idx="1">
                  <c:v>95.963899999999995</c:v>
                </c:pt>
                <c:pt idx="2">
                  <c:v>35.308900000000001</c:v>
                </c:pt>
                <c:pt idx="3">
                  <c:v>61.0276</c:v>
                </c:pt>
                <c:pt idx="4">
                  <c:v>46.972900000000003</c:v>
                </c:pt>
                <c:pt idx="5">
                  <c:v>53.583599999999997</c:v>
                </c:pt>
                <c:pt idx="6">
                  <c:v>37.996200000000002</c:v>
                </c:pt>
                <c:pt idx="7">
                  <c:v>76.687899999999999</c:v>
                </c:pt>
                <c:pt idx="8">
                  <c:v>35.1362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Canard Duchêne</c:v>
                </c:pt>
                <c:pt idx="1">
                  <c:v>Ruinart</c:v>
                </c:pt>
                <c:pt idx="2">
                  <c:v>Besserat De Bellefon</c:v>
                </c:pt>
                <c:pt idx="3">
                  <c:v>All Others</c:v>
                </c:pt>
                <c:pt idx="4">
                  <c:v>Ayala</c:v>
                </c:pt>
              </c:strCache>
            </c:strRef>
          </c:cat>
          <c:val>
            <c:numRef>
              <c:f>Sheet1!$B$2:$B$6</c:f>
              <c:numCache>
                <c:formatCode>General</c:formatCode>
                <c:ptCount val="5"/>
                <c:pt idx="0">
                  <c:v>30.7121</c:v>
                </c:pt>
                <c:pt idx="1">
                  <c:v>94.970299999999995</c:v>
                </c:pt>
                <c:pt idx="2">
                  <c:v>55.431899999999999</c:v>
                </c:pt>
                <c:pt idx="3">
                  <c:v>62.532200000000003</c:v>
                </c:pt>
                <c:pt idx="4">
                  <c:v>73.07170000000000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Henriot</c:v>
                </c:pt>
                <c:pt idx="4">
                  <c:v>Besserat De Bellefon</c:v>
                </c:pt>
                <c:pt idx="5">
                  <c:v>Delamotte</c:v>
                </c:pt>
                <c:pt idx="6">
                  <c:v>De Bligny</c:v>
                </c:pt>
                <c:pt idx="7">
                  <c:v>Ayala</c:v>
                </c:pt>
                <c:pt idx="8">
                  <c:v>De Venoge</c:v>
                </c:pt>
              </c:strCache>
            </c:strRef>
          </c:cat>
          <c:val>
            <c:numRef>
              <c:f>Sheet1!$B$2:$B$10</c:f>
              <c:numCache>
                <c:formatCode>General</c:formatCode>
                <c:ptCount val="9"/>
                <c:pt idx="0">
                  <c:v>88.058599999999998</c:v>
                </c:pt>
                <c:pt idx="1">
                  <c:v>223.7708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Besserat De Bellefon</c:v>
                </c:pt>
                <c:pt idx="5">
                  <c:v>Delamotte</c:v>
                </c:pt>
                <c:pt idx="6">
                  <c:v>De Bligny</c:v>
                </c:pt>
                <c:pt idx="7">
                  <c:v>Ayala</c:v>
                </c:pt>
                <c:pt idx="8">
                  <c:v>De Venoge</c:v>
                </c:pt>
              </c:strCache>
            </c:strRef>
          </c:cat>
          <c:val>
            <c:numRef>
              <c:f>Sheet1!$C$2:$C$10</c:f>
              <c:numCache>
                <c:formatCode>General</c:formatCode>
                <c:ptCount val="9"/>
                <c:pt idx="0">
                  <c:v>24.135100000000001</c:v>
                </c:pt>
                <c:pt idx="1">
                  <c:v>56.29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Besserat De Bellefon</c:v>
                </c:pt>
                <c:pt idx="5">
                  <c:v>Delamotte</c:v>
                </c:pt>
                <c:pt idx="6">
                  <c:v>De Bligny</c:v>
                </c:pt>
                <c:pt idx="7">
                  <c:v>Ayala</c:v>
                </c:pt>
                <c:pt idx="8">
                  <c:v>De Venoge</c:v>
                </c:pt>
              </c:strCache>
            </c:strRef>
          </c:cat>
          <c:val>
            <c:numRef>
              <c:f>Sheet1!$D$2:$D$10</c:f>
              <c:numCache>
                <c:formatCode>General</c:formatCode>
                <c:ptCount val="9"/>
                <c:pt idx="0">
                  <c:v>39.774000000000001</c:v>
                </c:pt>
                <c:pt idx="1">
                  <c:v>96.4542</c:v>
                </c:pt>
                <c:pt idx="2">
                  <c:v>35.276000000000003</c:v>
                </c:pt>
                <c:pt idx="3">
                  <c:v>46.558799999999998</c:v>
                </c:pt>
                <c:pt idx="4">
                  <c:v>60.906599999999997</c:v>
                </c:pt>
                <c:pt idx="5">
                  <c:v>52.786099999999998</c:v>
                </c:pt>
                <c:pt idx="6">
                  <c:v>37.8521</c:v>
                </c:pt>
                <c:pt idx="7">
                  <c:v>75.428600000000003</c:v>
                </c:pt>
                <c:pt idx="8">
                  <c:v>70.9702000000000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All Others</c:v>
                </c:pt>
                <c:pt idx="3">
                  <c:v>Malard</c:v>
                </c:pt>
                <c:pt idx="4">
                  <c:v>Besserat De Bellefon</c:v>
                </c:pt>
                <c:pt idx="5">
                  <c:v>Henriot</c:v>
                </c:pt>
                <c:pt idx="6">
                  <c:v>De Bligny</c:v>
                </c:pt>
                <c:pt idx="7">
                  <c:v>Ayala</c:v>
                </c:pt>
                <c:pt idx="8">
                  <c:v>Delamotte</c:v>
                </c:pt>
              </c:strCache>
            </c:strRef>
          </c:cat>
          <c:val>
            <c:numRef>
              <c:f>Sheet1!$B$2:$B$10</c:f>
              <c:numCache>
                <c:formatCode>General</c:formatCode>
                <c:ptCount val="9"/>
                <c:pt idx="0">
                  <c:v>89.366200000000006</c:v>
                </c:pt>
                <c:pt idx="1">
                  <c:v>224.011</c:v>
                </c:pt>
                <c:pt idx="2">
                  <c:v>67.06069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Malard</c:v>
                </c:pt>
                <c:pt idx="4">
                  <c:v>Besserat De Bellefon</c:v>
                </c:pt>
                <c:pt idx="5">
                  <c:v>Henriot</c:v>
                </c:pt>
                <c:pt idx="6">
                  <c:v>De Bligny</c:v>
                </c:pt>
                <c:pt idx="7">
                  <c:v>Ayala</c:v>
                </c:pt>
                <c:pt idx="8">
                  <c:v>Delamotte</c:v>
                </c:pt>
              </c:strCache>
            </c:strRef>
          </c:cat>
          <c:val>
            <c:numRef>
              <c:f>Sheet1!$C$2:$C$10</c:f>
              <c:numCache>
                <c:formatCode>General</c:formatCode>
                <c:ptCount val="9"/>
                <c:pt idx="0">
                  <c:v>24.2515</c:v>
                </c:pt>
                <c:pt idx="1">
                  <c:v>56.6666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Malard</c:v>
                </c:pt>
                <c:pt idx="4">
                  <c:v>Besserat De Bellefon</c:v>
                </c:pt>
                <c:pt idx="5">
                  <c:v>Henriot</c:v>
                </c:pt>
                <c:pt idx="6">
                  <c:v>De Bligny</c:v>
                </c:pt>
                <c:pt idx="7">
                  <c:v>Ayala</c:v>
                </c:pt>
                <c:pt idx="8">
                  <c:v>Delamotte</c:v>
                </c:pt>
              </c:strCache>
            </c:strRef>
          </c:cat>
          <c:val>
            <c:numRef>
              <c:f>Sheet1!$D$2:$D$10</c:f>
              <c:numCache>
                <c:formatCode>General</c:formatCode>
                <c:ptCount val="9"/>
                <c:pt idx="0">
                  <c:v>39.9193</c:v>
                </c:pt>
                <c:pt idx="1">
                  <c:v>96.078299999999999</c:v>
                </c:pt>
                <c:pt idx="2">
                  <c:v>32.052399999999999</c:v>
                </c:pt>
                <c:pt idx="3">
                  <c:v>35.055900000000001</c:v>
                </c:pt>
                <c:pt idx="4">
                  <c:v>60.41</c:v>
                </c:pt>
                <c:pt idx="5">
                  <c:v>46.262700000000002</c:v>
                </c:pt>
                <c:pt idx="6">
                  <c:v>37.4221</c:v>
                </c:pt>
                <c:pt idx="7">
                  <c:v>76.025499999999994</c:v>
                </c:pt>
                <c:pt idx="8">
                  <c:v>53.080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B$2:$B$10</c:f>
              <c:numCache>
                <c:formatCode>General</c:formatCode>
                <c:ptCount val="9"/>
                <c:pt idx="0">
                  <c:v>92.185199999999995</c:v>
                </c:pt>
                <c:pt idx="1">
                  <c:v>225.807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C$2:$C$10</c:f>
              <c:numCache>
                <c:formatCode>General</c:formatCode>
                <c:ptCount val="9"/>
                <c:pt idx="0">
                  <c:v>24.387799999999999</c:v>
                </c:pt>
                <c:pt idx="1">
                  <c:v>56.5058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0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D$2:$D$10</c:f>
              <c:numCache>
                <c:formatCode>General</c:formatCode>
                <c:ptCount val="9"/>
                <c:pt idx="7">
                  <c:v>517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Henriot</c:v>
                </c:pt>
                <c:pt idx="4">
                  <c:v>Delamotte</c:v>
                </c:pt>
                <c:pt idx="5">
                  <c:v>Besserat De Bellefon</c:v>
                </c:pt>
                <c:pt idx="6">
                  <c:v>Taittinger</c:v>
                </c:pt>
                <c:pt idx="7">
                  <c:v>Deutz</c:v>
                </c:pt>
                <c:pt idx="8">
                  <c:v>De Bligny</c:v>
                </c:pt>
              </c:strCache>
            </c:strRef>
          </c:cat>
          <c:val>
            <c:numRef>
              <c:f>Sheet1!$E$2:$E$10</c:f>
              <c:numCache>
                <c:formatCode>General</c:formatCode>
                <c:ptCount val="9"/>
                <c:pt idx="0">
                  <c:v>41.3127</c:v>
                </c:pt>
                <c:pt idx="1">
                  <c:v>95.9983</c:v>
                </c:pt>
                <c:pt idx="2">
                  <c:v>35.456499999999998</c:v>
                </c:pt>
                <c:pt idx="3">
                  <c:v>47.288200000000003</c:v>
                </c:pt>
                <c:pt idx="4">
                  <c:v>54.0471</c:v>
                </c:pt>
                <c:pt idx="5">
                  <c:v>61.1402</c:v>
                </c:pt>
                <c:pt idx="6">
                  <c:v>238.8587</c:v>
                </c:pt>
                <c:pt idx="7">
                  <c:v>205.27500000000001</c:v>
                </c:pt>
                <c:pt idx="8">
                  <c:v>39.58</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Perrier Jouet</c:v>
                </c:pt>
                <c:pt idx="3">
                  <c:v>Malard</c:v>
                </c:pt>
                <c:pt idx="4">
                  <c:v>Henriot</c:v>
                </c:pt>
                <c:pt idx="5">
                  <c:v>Besserat De Bellefon</c:v>
                </c:pt>
                <c:pt idx="6">
                  <c:v>Delamotte</c:v>
                </c:pt>
                <c:pt idx="7">
                  <c:v>Deutz</c:v>
                </c:pt>
                <c:pt idx="8">
                  <c:v>Laurent Perrier: All Others</c:v>
                </c:pt>
              </c:strCache>
            </c:strRef>
          </c:cat>
          <c:val>
            <c:numRef>
              <c:f>Sheet1!$B$2:$B$10</c:f>
              <c:numCache>
                <c:formatCode>General</c:formatCode>
                <c:ptCount val="9"/>
                <c:pt idx="0">
                  <c:v>95.3</c:v>
                </c:pt>
                <c:pt idx="1">
                  <c:v>225.94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Perrier Jouet</c:v>
                </c:pt>
                <c:pt idx="3">
                  <c:v>Malard</c:v>
                </c:pt>
                <c:pt idx="4">
                  <c:v>Henriot</c:v>
                </c:pt>
                <c:pt idx="5">
                  <c:v>Besserat De Bellefon</c:v>
                </c:pt>
                <c:pt idx="6">
                  <c:v>Delamotte</c:v>
                </c:pt>
                <c:pt idx="7">
                  <c:v>Deutz</c:v>
                </c:pt>
                <c:pt idx="8">
                  <c:v>Laurent Perrier: All Others</c:v>
                </c:pt>
              </c:strCache>
            </c:strRef>
          </c:cat>
          <c:val>
            <c:numRef>
              <c:f>Sheet1!$C$2:$C$10</c:f>
              <c:numCache>
                <c:formatCode>General</c:formatCode>
                <c:ptCount val="9"/>
                <c:pt idx="0">
                  <c:v>24.552399999999999</c:v>
                </c:pt>
                <c:pt idx="1">
                  <c:v>56.7034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Perrier Jouet</c:v>
                </c:pt>
                <c:pt idx="3">
                  <c:v>Malard</c:v>
                </c:pt>
                <c:pt idx="4">
                  <c:v>Henriot</c:v>
                </c:pt>
                <c:pt idx="5">
                  <c:v>Besserat De Bellefon</c:v>
                </c:pt>
                <c:pt idx="6">
                  <c:v>Delamotte</c:v>
                </c:pt>
                <c:pt idx="7">
                  <c:v>Deutz</c:v>
                </c:pt>
                <c:pt idx="8">
                  <c:v>Laurent Perrier: All Others</c:v>
                </c:pt>
              </c:strCache>
            </c:strRef>
          </c:cat>
          <c:val>
            <c:numRef>
              <c:f>Sheet1!$D$2:$D$10</c:f>
              <c:numCache>
                <c:formatCode>General</c:formatCode>
                <c:ptCount val="9"/>
                <c:pt idx="0">
                  <c:v>40.410800000000002</c:v>
                </c:pt>
                <c:pt idx="1">
                  <c:v>94.750100000000003</c:v>
                </c:pt>
                <c:pt idx="2">
                  <c:v>84.719300000000004</c:v>
                </c:pt>
                <c:pt idx="3">
                  <c:v>35.465499999999999</c:v>
                </c:pt>
                <c:pt idx="4">
                  <c:v>47.244599999999998</c:v>
                </c:pt>
                <c:pt idx="5">
                  <c:v>61.442799999999998</c:v>
                </c:pt>
                <c:pt idx="6">
                  <c:v>52.890099999999997</c:v>
                </c:pt>
                <c:pt idx="7">
                  <c:v>207.94640000000001</c:v>
                </c:pt>
                <c:pt idx="8">
                  <c:v>2450</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708-4393-8979-32FBD2D28C7C}"/>
                </c:ext>
              </c:extLst>
            </c:dLbl>
            <c:dLbl>
              <c:idx val="1"/>
              <c:tx>
                <c:rich>
                  <a:bodyPr/>
                  <a:lstStyle/>
                  <a:p>
                    <a:r>
                      <a:t>37.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708-4393-8979-32FBD2D28C7C}"/>
                </c:ext>
              </c:extLst>
            </c:dLbl>
            <c:dLbl>
              <c:idx val="2"/>
              <c:tx>
                <c:rich>
                  <a:bodyPr/>
                  <a:lstStyle/>
                  <a:p>
                    <a:r>
                      <a:t>2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708-4393-8979-32FBD2D28C7C}"/>
                </c:ext>
              </c:extLst>
            </c:dLbl>
            <c:dLbl>
              <c:idx val="3"/>
              <c:tx>
                <c:rich>
                  <a:bodyPr/>
                  <a:lstStyle/>
                  <a:p>
                    <a:r>
                      <a:t>4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708-4393-8979-32FBD2D28C7C}"/>
                </c:ext>
              </c:extLst>
            </c:dLbl>
            <c:dLbl>
              <c:idx val="4"/>
              <c:tx>
                <c:rich>
                  <a:bodyPr/>
                  <a:lstStyle/>
                  <a:p>
                    <a:r>
                      <a:t>4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708-4393-8979-32FBD2D28C7C}"/>
                </c:ext>
              </c:extLst>
            </c:dLbl>
            <c:dLbl>
              <c:idx val="5"/>
              <c:tx>
                <c:rich>
                  <a:bodyPr/>
                  <a:lstStyle/>
                  <a:p>
                    <a:r>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708-4393-8979-32FBD2D28C7C}"/>
                </c:ext>
              </c:extLst>
            </c:dLbl>
            <c:dLbl>
              <c:idx val="6"/>
              <c:tx>
                <c:rich>
                  <a:bodyPr/>
                  <a:lstStyle/>
                  <a:p>
                    <a:r>
                      <a:t>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708-4393-8979-32FBD2D28C7C}"/>
                </c:ext>
              </c:extLst>
            </c:dLbl>
            <c:dLbl>
              <c:idx val="7"/>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708-4393-8979-32FBD2D28C7C}"/>
                </c:ext>
              </c:extLst>
            </c:dLbl>
            <c:dLbl>
              <c:idx val="8"/>
              <c:tx>
                <c:rich>
                  <a:bodyPr/>
                  <a:lstStyle/>
                  <a:p>
                    <a:r>
                      <a:t>39.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708-4393-8979-32FBD2D28C7C}"/>
                </c:ext>
              </c:extLst>
            </c:dLbl>
            <c:dLbl>
              <c:idx val="9"/>
              <c:tx>
                <c:rich>
                  <a:bodyPr/>
                  <a:lstStyle/>
                  <a:p>
                    <a:r>
                      <a:t>2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708-4393-8979-32FBD2D28C7C}"/>
                </c:ext>
              </c:extLst>
            </c:dLbl>
            <c:dLbl>
              <c:idx val="10"/>
              <c:tx>
                <c:rich>
                  <a:bodyPr/>
                  <a:lstStyle/>
                  <a:p>
                    <a:r>
                      <a:t>36.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708-4393-8979-32FBD2D28C7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CHAMPAGNE NICOLAS BLC/BLC BS 1CT X 750ML</c:v>
                </c:pt>
                <c:pt idx="6">
                  <c:v>1/2 CHAMP NICOLAS BLC/BLC BS 1CT X 375ML</c:v>
                </c:pt>
                <c:pt idx="7">
                  <c:v>CHAMPAGNE E.NICOLAS ROSE 1CT X 750ML</c:v>
                </c:pt>
                <c:pt idx="8">
                  <c:v>CHAMPAGNE NICOLAS ROSE 1ERE CU 1CT X 750ML</c:v>
                </c:pt>
                <c:pt idx="9">
                  <c:v>1/2 CHAMP NICOLAS ROSE 1E C BS 1CT X 375ML</c:v>
                </c:pt>
                <c:pt idx="10">
                  <c:v>CHAMPAGNE NICOLAS BLC DE NOIRS 1CT X 750ML</c:v>
                </c:pt>
              </c:strCache>
            </c:strRef>
          </c:cat>
          <c:val>
            <c:numRef>
              <c:f>Sheet1!$B$2:$B$12</c:f>
              <c:numCache>
                <c:formatCode>General</c:formatCode>
                <c:ptCount val="11"/>
                <c:pt idx="0">
                  <c:v>21.92</c:v>
                </c:pt>
                <c:pt idx="1">
                  <c:v>37.26</c:v>
                </c:pt>
                <c:pt idx="2">
                  <c:v>22.3</c:v>
                </c:pt>
                <c:pt idx="3">
                  <c:v>46.52</c:v>
                </c:pt>
                <c:pt idx="4">
                  <c:v>45.45</c:v>
                </c:pt>
                <c:pt idx="5">
                  <c:v>38.979999999999997</c:v>
                </c:pt>
                <c:pt idx="6">
                  <c:v>24.1</c:v>
                </c:pt>
                <c:pt idx="7">
                  <c:v>25.01</c:v>
                </c:pt>
                <c:pt idx="8">
                  <c:v>39.56</c:v>
                </c:pt>
                <c:pt idx="9">
                  <c:v>23.74</c:v>
                </c:pt>
                <c:pt idx="10">
                  <c:v>36.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Ayala</c:v>
                </c:pt>
                <c:pt idx="5">
                  <c:v>Deutz</c:v>
                </c:pt>
                <c:pt idx="6">
                  <c:v>De Venoge</c:v>
                </c:pt>
                <c:pt idx="7">
                  <c:v>Henriot</c:v>
                </c:pt>
                <c:pt idx="8">
                  <c:v>Delamotte</c:v>
                </c:pt>
              </c:strCache>
            </c:strRef>
          </c:cat>
          <c:val>
            <c:numRef>
              <c:f>Sheet1!$B$2:$B$10</c:f>
              <c:numCache>
                <c:formatCode>General</c:formatCode>
                <c:ptCount val="9"/>
                <c:pt idx="0">
                  <c:v>92.710499999999996</c:v>
                </c:pt>
                <c:pt idx="1">
                  <c:v>226.6571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Ayala</c:v>
                </c:pt>
                <c:pt idx="5">
                  <c:v>Deutz</c:v>
                </c:pt>
                <c:pt idx="6">
                  <c:v>De Venoge</c:v>
                </c:pt>
                <c:pt idx="7">
                  <c:v>Henriot</c:v>
                </c:pt>
                <c:pt idx="8">
                  <c:v>Delamotte</c:v>
                </c:pt>
              </c:strCache>
            </c:strRef>
          </c:cat>
          <c:val>
            <c:numRef>
              <c:f>Sheet1!$C$2:$C$10</c:f>
              <c:numCache>
                <c:formatCode>General</c:formatCode>
                <c:ptCount val="9"/>
                <c:pt idx="0">
                  <c:v>24.841100000000001</c:v>
                </c:pt>
                <c:pt idx="1">
                  <c:v>56.5760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Ayala</c:v>
                </c:pt>
                <c:pt idx="5">
                  <c:v>Deutz</c:v>
                </c:pt>
                <c:pt idx="6">
                  <c:v>De Venoge</c:v>
                </c:pt>
                <c:pt idx="7">
                  <c:v>Henriot</c:v>
                </c:pt>
                <c:pt idx="8">
                  <c:v>Delamotte</c:v>
                </c:pt>
              </c:strCache>
            </c:strRef>
          </c:cat>
          <c:val>
            <c:numRef>
              <c:f>Sheet1!$D$2:$D$10</c:f>
              <c:numCache>
                <c:formatCode>General</c:formatCode>
                <c:ptCount val="9"/>
                <c:pt idx="0">
                  <c:v>41.911799999999999</c:v>
                </c:pt>
                <c:pt idx="1">
                  <c:v>95.842799999999997</c:v>
                </c:pt>
                <c:pt idx="2">
                  <c:v>35.363399999999999</c:v>
                </c:pt>
                <c:pt idx="3">
                  <c:v>62.746000000000002</c:v>
                </c:pt>
                <c:pt idx="4">
                  <c:v>78.006</c:v>
                </c:pt>
                <c:pt idx="5">
                  <c:v>201.91669999999999</c:v>
                </c:pt>
                <c:pt idx="6">
                  <c:v>72.110299999999995</c:v>
                </c:pt>
                <c:pt idx="7">
                  <c:v>48.165100000000002</c:v>
                </c:pt>
                <c:pt idx="8">
                  <c:v>56.2235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Perrier Jouet</c:v>
                </c:pt>
              </c:strCache>
            </c:strRef>
          </c:cat>
          <c:val>
            <c:numRef>
              <c:f>Sheet1!$B$2:$B$10</c:f>
              <c:numCache>
                <c:formatCode>General</c:formatCode>
                <c:ptCount val="9"/>
                <c:pt idx="0">
                  <c:v>87.290199999999999</c:v>
                </c:pt>
                <c:pt idx="1">
                  <c:v>222.1862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Perrier Jouet</c:v>
                </c:pt>
              </c:strCache>
            </c:strRef>
          </c:cat>
          <c:val>
            <c:numRef>
              <c:f>Sheet1!$C$2:$C$10</c:f>
              <c:numCache>
                <c:formatCode>General</c:formatCode>
                <c:ptCount val="9"/>
                <c:pt idx="0">
                  <c:v>24.0688</c:v>
                </c:pt>
                <c:pt idx="1">
                  <c:v>56.1852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Perrier Jouet</c:v>
                </c:pt>
              </c:strCache>
            </c:strRef>
          </c:cat>
          <c:val>
            <c:numRef>
              <c:f>Sheet1!$D$2:$D$10</c:f>
              <c:numCache>
                <c:formatCode>General</c:formatCode>
                <c:ptCount val="9"/>
                <c:pt idx="0">
                  <c:v>39.604700000000001</c:v>
                </c:pt>
                <c:pt idx="1">
                  <c:v>95.803299999999993</c:v>
                </c:pt>
                <c:pt idx="2">
                  <c:v>35.237200000000001</c:v>
                </c:pt>
                <c:pt idx="3">
                  <c:v>60.535600000000002</c:v>
                </c:pt>
                <c:pt idx="4">
                  <c:v>46.434600000000003</c:v>
                </c:pt>
                <c:pt idx="5">
                  <c:v>52.797199999999997</c:v>
                </c:pt>
                <c:pt idx="6">
                  <c:v>37.828899999999997</c:v>
                </c:pt>
                <c:pt idx="7">
                  <c:v>75.531400000000005</c:v>
                </c:pt>
                <c:pt idx="8">
                  <c:v>82.4898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De Bligny</c:v>
                </c:pt>
                <c:pt idx="5">
                  <c:v>Henriot</c:v>
                </c:pt>
                <c:pt idx="6">
                  <c:v>Taittinger</c:v>
                </c:pt>
                <c:pt idx="7">
                  <c:v>Delamotte</c:v>
                </c:pt>
                <c:pt idx="8">
                  <c:v>Deutz</c:v>
                </c:pt>
              </c:strCache>
            </c:strRef>
          </c:cat>
          <c:val>
            <c:numRef>
              <c:f>Sheet1!$B$2:$B$10</c:f>
              <c:numCache>
                <c:formatCode>General</c:formatCode>
                <c:ptCount val="9"/>
                <c:pt idx="0">
                  <c:v>91.930599999999998</c:v>
                </c:pt>
                <c:pt idx="1">
                  <c:v>224.3104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De Bligny</c:v>
                </c:pt>
                <c:pt idx="5">
                  <c:v>Henriot</c:v>
                </c:pt>
                <c:pt idx="6">
                  <c:v>Taittinger</c:v>
                </c:pt>
                <c:pt idx="7">
                  <c:v>Delamotte</c:v>
                </c:pt>
                <c:pt idx="8">
                  <c:v>Deutz</c:v>
                </c:pt>
              </c:strCache>
            </c:strRef>
          </c:cat>
          <c:val>
            <c:numRef>
              <c:f>Sheet1!$C$2:$C$10</c:f>
              <c:numCache>
                <c:formatCode>General</c:formatCode>
                <c:ptCount val="9"/>
                <c:pt idx="0">
                  <c:v>24.4</c:v>
                </c:pt>
                <c:pt idx="1">
                  <c:v>56.7749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De Bligny</c:v>
                </c:pt>
                <c:pt idx="5">
                  <c:v>Henriot</c:v>
                </c:pt>
                <c:pt idx="6">
                  <c:v>Taittinger</c:v>
                </c:pt>
                <c:pt idx="7">
                  <c:v>Delamotte</c:v>
                </c:pt>
                <c:pt idx="8">
                  <c:v>Deutz</c:v>
                </c:pt>
              </c:strCache>
            </c:strRef>
          </c:cat>
          <c:val>
            <c:numRef>
              <c:f>Sheet1!$D$2:$D$10</c:f>
              <c:numCache>
                <c:formatCode>General</c:formatCode>
                <c:ptCount val="9"/>
                <c:pt idx="0">
                  <c:v>40.92</c:v>
                </c:pt>
                <c:pt idx="1">
                  <c:v>95.906700000000001</c:v>
                </c:pt>
                <c:pt idx="2">
                  <c:v>35.273699999999998</c:v>
                </c:pt>
                <c:pt idx="3">
                  <c:v>61.043700000000001</c:v>
                </c:pt>
                <c:pt idx="4">
                  <c:v>38.656100000000002</c:v>
                </c:pt>
                <c:pt idx="5">
                  <c:v>47.862200000000001</c:v>
                </c:pt>
                <c:pt idx="6">
                  <c:v>235.16220000000001</c:v>
                </c:pt>
                <c:pt idx="7">
                  <c:v>54.452500000000001</c:v>
                </c:pt>
                <c:pt idx="8">
                  <c:v>201.49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Ayala</c:v>
                </c:pt>
                <c:pt idx="6">
                  <c:v>De Bligny</c:v>
                </c:pt>
                <c:pt idx="7">
                  <c:v>Delamotte</c:v>
                </c:pt>
                <c:pt idx="8">
                  <c:v>Deutz</c:v>
                </c:pt>
              </c:strCache>
            </c:strRef>
          </c:cat>
          <c:val>
            <c:numRef>
              <c:f>Sheet1!$B$2:$B$10</c:f>
              <c:numCache>
                <c:formatCode>General</c:formatCode>
                <c:ptCount val="9"/>
                <c:pt idx="0">
                  <c:v>92.433999999999997</c:v>
                </c:pt>
                <c:pt idx="1">
                  <c:v>23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Ayala</c:v>
                </c:pt>
                <c:pt idx="6">
                  <c:v>De Bligny</c:v>
                </c:pt>
                <c:pt idx="7">
                  <c:v>Delamotte</c:v>
                </c:pt>
                <c:pt idx="8">
                  <c:v>Deutz</c:v>
                </c:pt>
              </c:strCache>
            </c:strRef>
          </c:cat>
          <c:val>
            <c:numRef>
              <c:f>Sheet1!$C$2:$C$10</c:f>
              <c:numCache>
                <c:formatCode>General</c:formatCode>
                <c:ptCount val="9"/>
                <c:pt idx="0">
                  <c:v>24.758099999999999</c:v>
                </c:pt>
                <c:pt idx="1">
                  <c:v>56.8412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Ayala</c:v>
                </c:pt>
                <c:pt idx="6">
                  <c:v>De Bligny</c:v>
                </c:pt>
                <c:pt idx="7">
                  <c:v>Delamotte</c:v>
                </c:pt>
                <c:pt idx="8">
                  <c:v>Deutz</c:v>
                </c:pt>
              </c:strCache>
            </c:strRef>
          </c:cat>
          <c:val>
            <c:numRef>
              <c:f>Sheet1!$D$2:$D$10</c:f>
              <c:numCache>
                <c:formatCode>General</c:formatCode>
                <c:ptCount val="9"/>
                <c:pt idx="0">
                  <c:v>42.445700000000002</c:v>
                </c:pt>
                <c:pt idx="1">
                  <c:v>96.617000000000004</c:v>
                </c:pt>
                <c:pt idx="2">
                  <c:v>35.475900000000003</c:v>
                </c:pt>
                <c:pt idx="3">
                  <c:v>61.813499999999998</c:v>
                </c:pt>
                <c:pt idx="4">
                  <c:v>47.451099999999997</c:v>
                </c:pt>
                <c:pt idx="5">
                  <c:v>77.934200000000004</c:v>
                </c:pt>
                <c:pt idx="6">
                  <c:v>38.840800000000002</c:v>
                </c:pt>
                <c:pt idx="7">
                  <c:v>55.329700000000003</c:v>
                </c:pt>
                <c:pt idx="8">
                  <c:v>211.6286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Besserat De Bellefon</c:v>
                </c:pt>
                <c:pt idx="3">
                  <c:v>Malard</c:v>
                </c:pt>
                <c:pt idx="4">
                  <c:v>Henriot</c:v>
                </c:pt>
                <c:pt idx="5">
                  <c:v>Delamotte</c:v>
                </c:pt>
                <c:pt idx="6">
                  <c:v>Ayala</c:v>
                </c:pt>
                <c:pt idx="7">
                  <c:v>De Bligny</c:v>
                </c:pt>
                <c:pt idx="8">
                  <c:v>De Venoge</c:v>
                </c:pt>
              </c:strCache>
            </c:strRef>
          </c:cat>
          <c:val>
            <c:numRef>
              <c:f>Sheet1!$B$2:$B$10</c:f>
              <c:numCache>
                <c:formatCode>General</c:formatCode>
                <c:ptCount val="9"/>
                <c:pt idx="0">
                  <c:v>91.3125</c:v>
                </c:pt>
                <c:pt idx="1">
                  <c:v>245.4166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Besserat De Bellefon</c:v>
                </c:pt>
                <c:pt idx="3">
                  <c:v>Malard</c:v>
                </c:pt>
                <c:pt idx="4">
                  <c:v>Henriot</c:v>
                </c:pt>
                <c:pt idx="5">
                  <c:v>Delamotte</c:v>
                </c:pt>
                <c:pt idx="6">
                  <c:v>Ayala</c:v>
                </c:pt>
                <c:pt idx="7">
                  <c:v>De Bligny</c:v>
                </c:pt>
                <c:pt idx="8">
                  <c:v>De Venoge</c:v>
                </c:pt>
              </c:strCache>
            </c:strRef>
          </c:cat>
          <c:val>
            <c:numRef>
              <c:f>Sheet1!$C$2:$C$10</c:f>
              <c:numCache>
                <c:formatCode>General</c:formatCode>
                <c:ptCount val="9"/>
                <c:pt idx="0">
                  <c:v>26.416699999999999</c:v>
                </c:pt>
                <c:pt idx="1">
                  <c:v>57.871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Besserat De Bellefon</c:v>
                </c:pt>
                <c:pt idx="3">
                  <c:v>Malard</c:v>
                </c:pt>
                <c:pt idx="4">
                  <c:v>Henriot</c:v>
                </c:pt>
                <c:pt idx="5">
                  <c:v>Delamotte</c:v>
                </c:pt>
                <c:pt idx="6">
                  <c:v>Ayala</c:v>
                </c:pt>
                <c:pt idx="7">
                  <c:v>De Bligny</c:v>
                </c:pt>
                <c:pt idx="8">
                  <c:v>De Venoge</c:v>
                </c:pt>
              </c:strCache>
            </c:strRef>
          </c:cat>
          <c:val>
            <c:numRef>
              <c:f>Sheet1!$D$2:$D$10</c:f>
              <c:numCache>
                <c:formatCode>General</c:formatCode>
                <c:ptCount val="9"/>
                <c:pt idx="0">
                  <c:v>41.639499999999998</c:v>
                </c:pt>
                <c:pt idx="1">
                  <c:v>96.386799999999994</c:v>
                </c:pt>
                <c:pt idx="2">
                  <c:v>61.688400000000001</c:v>
                </c:pt>
                <c:pt idx="3">
                  <c:v>35.562199999999997</c:v>
                </c:pt>
                <c:pt idx="4">
                  <c:v>48.439599999999999</c:v>
                </c:pt>
                <c:pt idx="5">
                  <c:v>55.195900000000002</c:v>
                </c:pt>
                <c:pt idx="6">
                  <c:v>82.162800000000004</c:v>
                </c:pt>
                <c:pt idx="7">
                  <c:v>37.318800000000003</c:v>
                </c:pt>
                <c:pt idx="8">
                  <c:v>75.06669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B$2:$B$10</c:f>
              <c:numCache>
                <c:formatCode>General</c:formatCode>
                <c:ptCount val="9"/>
                <c:pt idx="0">
                  <c:v>89.466700000000003</c:v>
                </c:pt>
                <c:pt idx="1">
                  <c:v>66.688699999999997</c:v>
                </c:pt>
                <c:pt idx="2">
                  <c:v>247.41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C$2:$C$10</c:f>
              <c:numCache>
                <c:formatCode>General</c:formatCode>
                <c:ptCount val="9"/>
                <c:pt idx="1">
                  <c:v>231.666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7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D$2:$D$10</c:f>
              <c:numCache>
                <c:formatCode>General</c:formatCode>
                <c:ptCount val="9"/>
                <c:pt idx="0">
                  <c:v>24.594899999999999</c:v>
                </c:pt>
                <c:pt idx="1">
                  <c:v>17.6462</c:v>
                </c:pt>
                <c:pt idx="2">
                  <c:v>63.2308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Ruinart</c:v>
                </c:pt>
                <c:pt idx="3">
                  <c:v>Malard</c:v>
                </c:pt>
                <c:pt idx="4">
                  <c:v>Ayala</c:v>
                </c:pt>
                <c:pt idx="5">
                  <c:v>Delamotte</c:v>
                </c:pt>
                <c:pt idx="6">
                  <c:v>Henriot</c:v>
                </c:pt>
                <c:pt idx="7">
                  <c:v>De Bligny</c:v>
                </c:pt>
                <c:pt idx="8">
                  <c:v>De Venoge</c:v>
                </c:pt>
              </c:strCache>
            </c:strRef>
          </c:cat>
          <c:val>
            <c:numRef>
              <c:f>Sheet1!$E$2:$E$10</c:f>
              <c:numCache>
                <c:formatCode>General</c:formatCode>
                <c:ptCount val="9"/>
                <c:pt idx="0">
                  <c:v>42.855899999999998</c:v>
                </c:pt>
                <c:pt idx="1">
                  <c:v>31.4816</c:v>
                </c:pt>
                <c:pt idx="2">
                  <c:v>97.942099999999996</c:v>
                </c:pt>
                <c:pt idx="3">
                  <c:v>35.214300000000001</c:v>
                </c:pt>
                <c:pt idx="4">
                  <c:v>77.7453</c:v>
                </c:pt>
                <c:pt idx="5">
                  <c:v>56.062899999999999</c:v>
                </c:pt>
                <c:pt idx="6">
                  <c:v>48.066099999999999</c:v>
                </c:pt>
                <c:pt idx="7">
                  <c:v>40.115099999999998</c:v>
                </c:pt>
                <c:pt idx="8">
                  <c:v>72.92959999999999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All Others</c:v>
                </c:pt>
                <c:pt idx="5">
                  <c:v>Perrier Jouet</c:v>
                </c:pt>
                <c:pt idx="6">
                  <c:v>Henriot</c:v>
                </c:pt>
                <c:pt idx="7">
                  <c:v>Delamotte</c:v>
                </c:pt>
                <c:pt idx="8">
                  <c:v>Deutz</c:v>
                </c:pt>
              </c:strCache>
            </c:strRef>
          </c:cat>
          <c:val>
            <c:numRef>
              <c:f>Sheet1!$B$2:$B$10</c:f>
              <c:numCache>
                <c:formatCode>General</c:formatCode>
                <c:ptCount val="9"/>
                <c:pt idx="0">
                  <c:v>88.192300000000003</c:v>
                </c:pt>
                <c:pt idx="1">
                  <c:v>223.05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All Others</c:v>
                </c:pt>
                <c:pt idx="5">
                  <c:v>Perrier Jouet</c:v>
                </c:pt>
                <c:pt idx="6">
                  <c:v>Henriot</c:v>
                </c:pt>
                <c:pt idx="7">
                  <c:v>Delamotte</c:v>
                </c:pt>
                <c:pt idx="8">
                  <c:v>Deutz</c:v>
                </c:pt>
              </c:strCache>
            </c:strRef>
          </c:cat>
          <c:val>
            <c:numRef>
              <c:f>Sheet1!$C$2:$C$10</c:f>
              <c:numCache>
                <c:formatCode>General</c:formatCode>
                <c:ptCount val="9"/>
                <c:pt idx="0">
                  <c:v>24.1524</c:v>
                </c:pt>
                <c:pt idx="1">
                  <c:v>56.2325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All Others</c:v>
                </c:pt>
                <c:pt idx="5">
                  <c:v>Perrier Jouet</c:v>
                </c:pt>
                <c:pt idx="6">
                  <c:v>Henriot</c:v>
                </c:pt>
                <c:pt idx="7">
                  <c:v>Delamotte</c:v>
                </c:pt>
                <c:pt idx="8">
                  <c:v>Deutz</c:v>
                </c:pt>
              </c:strCache>
            </c:strRef>
          </c:cat>
          <c:val>
            <c:numRef>
              <c:f>Sheet1!$D$2:$D$10</c:f>
              <c:numCache>
                <c:formatCode>General</c:formatCode>
                <c:ptCount val="9"/>
                <c:pt idx="0">
                  <c:v>39.905999999999999</c:v>
                </c:pt>
                <c:pt idx="1">
                  <c:v>96.482600000000005</c:v>
                </c:pt>
                <c:pt idx="2">
                  <c:v>35.273200000000003</c:v>
                </c:pt>
                <c:pt idx="3">
                  <c:v>60.676600000000001</c:v>
                </c:pt>
                <c:pt idx="4">
                  <c:v>34.063299999999998</c:v>
                </c:pt>
                <c:pt idx="5">
                  <c:v>84.996300000000005</c:v>
                </c:pt>
                <c:pt idx="6">
                  <c:v>46.717700000000001</c:v>
                </c:pt>
                <c:pt idx="7">
                  <c:v>53.284199999999998</c:v>
                </c:pt>
                <c:pt idx="8">
                  <c:v>197.9745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De Venoge</c:v>
                </c:pt>
              </c:strCache>
            </c:strRef>
          </c:cat>
          <c:val>
            <c:numRef>
              <c:f>Sheet1!$B$2:$B$10</c:f>
              <c:numCache>
                <c:formatCode>General</c:formatCode>
                <c:ptCount val="9"/>
                <c:pt idx="0">
                  <c:v>89.484499999999997</c:v>
                </c:pt>
                <c:pt idx="1">
                  <c:v>225.66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De Venoge</c:v>
                </c:pt>
              </c:strCache>
            </c:strRef>
          </c:cat>
          <c:val>
            <c:numRef>
              <c:f>Sheet1!$C$2:$C$10</c:f>
              <c:numCache>
                <c:formatCode>General</c:formatCode>
                <c:ptCount val="9"/>
                <c:pt idx="0">
                  <c:v>24.424499999999998</c:v>
                </c:pt>
                <c:pt idx="1">
                  <c:v>56.8337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lamotte</c:v>
                </c:pt>
                <c:pt idx="6">
                  <c:v>De Bligny</c:v>
                </c:pt>
                <c:pt idx="7">
                  <c:v>Ayala</c:v>
                </c:pt>
                <c:pt idx="8">
                  <c:v>De Venoge</c:v>
                </c:pt>
              </c:strCache>
            </c:strRef>
          </c:cat>
          <c:val>
            <c:numRef>
              <c:f>Sheet1!$D$2:$D$10</c:f>
              <c:numCache>
                <c:formatCode>General</c:formatCode>
                <c:ptCount val="9"/>
                <c:pt idx="0">
                  <c:v>39.916200000000003</c:v>
                </c:pt>
                <c:pt idx="1">
                  <c:v>95.576800000000006</c:v>
                </c:pt>
                <c:pt idx="2">
                  <c:v>35.284500000000001</c:v>
                </c:pt>
                <c:pt idx="3">
                  <c:v>60.646500000000003</c:v>
                </c:pt>
                <c:pt idx="4">
                  <c:v>46.8782</c:v>
                </c:pt>
                <c:pt idx="5">
                  <c:v>53.136400000000002</c:v>
                </c:pt>
                <c:pt idx="6">
                  <c:v>37.7256</c:v>
                </c:pt>
                <c:pt idx="7">
                  <c:v>76.505700000000004</c:v>
                </c:pt>
                <c:pt idx="8">
                  <c:v>71.7489000000000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utz</c:v>
                </c:pt>
              </c:strCache>
            </c:strRef>
          </c:cat>
          <c:val>
            <c:numRef>
              <c:f>Sheet1!$B$2:$B$10</c:f>
              <c:numCache>
                <c:formatCode>General</c:formatCode>
                <c:ptCount val="9"/>
                <c:pt idx="0">
                  <c:v>89.195700000000002</c:v>
                </c:pt>
                <c:pt idx="1">
                  <c:v>224.2391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utz</c:v>
                </c:pt>
              </c:strCache>
            </c:strRef>
          </c:cat>
          <c:val>
            <c:numRef>
              <c:f>Sheet1!$C$2:$C$10</c:f>
              <c:numCache>
                <c:formatCode>General</c:formatCode>
                <c:ptCount val="9"/>
                <c:pt idx="0">
                  <c:v>24.209299999999999</c:v>
                </c:pt>
                <c:pt idx="1">
                  <c:v>56.751600000000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utz</c:v>
                </c:pt>
              </c:strCache>
            </c:strRef>
          </c:cat>
          <c:val>
            <c:numRef>
              <c:f>Sheet1!$D$2:$D$10</c:f>
              <c:numCache>
                <c:formatCode>General</c:formatCode>
                <c:ptCount val="9"/>
                <c:pt idx="0">
                  <c:v>40.290599999999998</c:v>
                </c:pt>
                <c:pt idx="1">
                  <c:v>95.631600000000006</c:v>
                </c:pt>
                <c:pt idx="2">
                  <c:v>35.116300000000003</c:v>
                </c:pt>
                <c:pt idx="3">
                  <c:v>60.499099999999999</c:v>
                </c:pt>
                <c:pt idx="4">
                  <c:v>46.718200000000003</c:v>
                </c:pt>
                <c:pt idx="5">
                  <c:v>37.393700000000003</c:v>
                </c:pt>
                <c:pt idx="6">
                  <c:v>53.1616</c:v>
                </c:pt>
                <c:pt idx="7">
                  <c:v>75.871099999999998</c:v>
                </c:pt>
                <c:pt idx="8">
                  <c:v>200.5533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 Venoge</c:v>
                </c:pt>
              </c:strCache>
            </c:strRef>
          </c:cat>
          <c:val>
            <c:numRef>
              <c:f>Sheet1!$B$2:$B$10</c:f>
              <c:numCache>
                <c:formatCode>General</c:formatCode>
                <c:ptCount val="9"/>
                <c:pt idx="0">
                  <c:v>89.755600000000001</c:v>
                </c:pt>
                <c:pt idx="1">
                  <c:v>225.0973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 Venoge</c:v>
                </c:pt>
              </c:strCache>
            </c:strRef>
          </c:cat>
          <c:val>
            <c:numRef>
              <c:f>Sheet1!$C$2:$C$10</c:f>
              <c:numCache>
                <c:formatCode>General</c:formatCode>
                <c:ptCount val="9"/>
                <c:pt idx="0">
                  <c:v>24.264900000000001</c:v>
                </c:pt>
                <c:pt idx="1">
                  <c:v>56.7451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Henriot</c:v>
                </c:pt>
                <c:pt idx="5">
                  <c:v>De Bligny</c:v>
                </c:pt>
                <c:pt idx="6">
                  <c:v>Delamotte</c:v>
                </c:pt>
                <c:pt idx="7">
                  <c:v>Ayala</c:v>
                </c:pt>
                <c:pt idx="8">
                  <c:v>De Venoge</c:v>
                </c:pt>
              </c:strCache>
            </c:strRef>
          </c:cat>
          <c:val>
            <c:numRef>
              <c:f>Sheet1!$D$2:$D$10</c:f>
              <c:numCache>
                <c:formatCode>General</c:formatCode>
                <c:ptCount val="9"/>
                <c:pt idx="0">
                  <c:v>40.270299999999999</c:v>
                </c:pt>
                <c:pt idx="1">
                  <c:v>95.644999999999996</c:v>
                </c:pt>
                <c:pt idx="2">
                  <c:v>35.230899999999998</c:v>
                </c:pt>
                <c:pt idx="3">
                  <c:v>60.8889</c:v>
                </c:pt>
                <c:pt idx="4">
                  <c:v>46.652500000000003</c:v>
                </c:pt>
                <c:pt idx="5">
                  <c:v>37.884399999999999</c:v>
                </c:pt>
                <c:pt idx="6">
                  <c:v>52.9955</c:v>
                </c:pt>
                <c:pt idx="7">
                  <c:v>76.6631</c:v>
                </c:pt>
                <c:pt idx="8">
                  <c:v>70.1694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F86-40AE-9FD1-D761C8E69214}"/>
                </c:ext>
              </c:extLst>
            </c:dLbl>
            <c:dLbl>
              <c:idx val="1"/>
              <c:tx>
                <c:rich>
                  <a:bodyPr/>
                  <a:lstStyle/>
                  <a:p>
                    <a:r>
                      <a:rPr lang="en-US"/>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F86-40AE-9FD1-D761C8E69214}"/>
                </c:ext>
              </c:extLst>
            </c:dLbl>
            <c:dLbl>
              <c:idx val="2"/>
              <c:tx>
                <c:rich>
                  <a:bodyPr/>
                  <a:lstStyle/>
                  <a:p>
                    <a:r>
                      <a:rPr lang="en-US"/>
                      <a:t>2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F86-40AE-9FD1-D761C8E69214}"/>
                </c:ext>
              </c:extLst>
            </c:dLbl>
            <c:dLbl>
              <c:idx val="3"/>
              <c:tx>
                <c:rich>
                  <a:bodyPr/>
                  <a:lstStyle/>
                  <a:p>
                    <a:r>
                      <a:rPr lang="en-US"/>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F86-40AE-9FD1-D761C8E69214}"/>
                </c:ext>
              </c:extLst>
            </c:dLbl>
            <c:dLbl>
              <c:idx val="4"/>
              <c:tx>
                <c:rich>
                  <a:bodyPr/>
                  <a:lstStyle/>
                  <a:p>
                    <a:r>
                      <a:rPr lang="en-US"/>
                      <a:t>42.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F86-40AE-9FD1-D761C8E69214}"/>
                </c:ext>
              </c:extLst>
            </c:dLbl>
            <c:dLbl>
              <c:idx val="5"/>
              <c:tx>
                <c:rich>
                  <a:bodyPr/>
                  <a:lstStyle/>
                  <a:p>
                    <a:r>
                      <a:rPr lang="en-US"/>
                      <a:t>45.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F86-40AE-9FD1-D761C8E69214}"/>
                </c:ext>
              </c:extLst>
            </c:dLbl>
            <c:dLbl>
              <c:idx val="6"/>
              <c:tx>
                <c:rich>
                  <a:bodyPr/>
                  <a:lstStyle/>
                  <a:p>
                    <a:r>
                      <a:rPr lang="en-US"/>
                      <a:t>3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F86-40AE-9FD1-D761C8E69214}"/>
                </c:ext>
              </c:extLst>
            </c:dLbl>
            <c:dLbl>
              <c:idx val="7"/>
              <c:tx>
                <c:rich>
                  <a:bodyPr/>
                  <a:lstStyle/>
                  <a:p>
                    <a:r>
                      <a:rPr lang="en-US"/>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F86-40AE-9FD1-D761C8E69214}"/>
                </c:ext>
              </c:extLst>
            </c:dLbl>
            <c:dLbl>
              <c:idx val="8"/>
              <c:tx>
                <c:rich>
                  <a:bodyPr/>
                  <a:lstStyle/>
                  <a:p>
                    <a:r>
                      <a:rPr lang="en-US"/>
                      <a:t>45.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F86-40AE-9FD1-D761C8E69214}"/>
                </c:ext>
              </c:extLst>
            </c:dLbl>
            <c:dLbl>
              <c:idx val="9"/>
              <c:tx>
                <c:rich>
                  <a:bodyPr/>
                  <a:lstStyle/>
                  <a:p>
                    <a:r>
                      <a:rPr lang="en-US"/>
                      <a:t>8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F86-40AE-9FD1-D761C8E69214}"/>
                </c:ext>
              </c:extLst>
            </c:dLbl>
            <c:dLbl>
              <c:idx val="10"/>
              <c:tx>
                <c:rich>
                  <a:bodyPr/>
                  <a:lstStyle/>
                  <a:p>
                    <a:r>
                      <a:rPr lang="en-US"/>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F86-40AE-9FD1-D761C8E69214}"/>
                </c:ext>
              </c:extLst>
            </c:dLbl>
            <c:dLbl>
              <c:idx val="11"/>
              <c:tx>
                <c:rich>
                  <a:bodyPr/>
                  <a:lstStyle/>
                  <a:p>
                    <a:r>
                      <a:rPr lang="en-US"/>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F86-40AE-9FD1-D761C8E69214}"/>
                </c:ext>
              </c:extLst>
            </c:dLbl>
            <c:dLbl>
              <c:idx val="12"/>
              <c:tx>
                <c:rich>
                  <a:bodyPr/>
                  <a:lstStyle/>
                  <a:p>
                    <a:r>
                      <a:rPr lang="en-US"/>
                      <a:t>74.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F86-40AE-9FD1-D761C8E69214}"/>
                </c:ext>
              </c:extLst>
            </c:dLbl>
            <c:dLbl>
              <c:idx val="13"/>
              <c:tx>
                <c:rich>
                  <a:bodyPr/>
                  <a:lstStyle/>
                  <a:p>
                    <a:r>
                      <a:rPr lang="en-US"/>
                      <a:t>39.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F86-40AE-9FD1-D761C8E6921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CHAMPAGNE NICOLAS BLC DE NOIRS 1CT X 750ML</c:v>
                </c:pt>
                <c:pt idx="7">
                  <c:v>1/2 CHAMPAGNE NICOLAS 1ERE CUV 1CT X 375ML</c:v>
                </c:pt>
                <c:pt idx="8">
                  <c:v>CHAMPAGNE NICOLAS BIO NAT 2017 1CT X 750ML</c:v>
                </c:pt>
                <c:pt idx="9">
                  <c:v>MG CHAMPAGNE NICOLAS BLC/BL BS 1CT X 1500ML</c:v>
                </c:pt>
                <c:pt idx="10">
                  <c:v>1/2 CHAMP NICOLAS BLC/BLC BS 1CT X 375ML</c:v>
                </c:pt>
                <c:pt idx="11">
                  <c:v>1/2 CHAMP NICOLAS ROSE 1E C BS 1CT X 375ML</c:v>
                </c:pt>
                <c:pt idx="12">
                  <c:v>MG CHAMPAGNE NICOLAS 1ERE CUVE 1CT X 1500ML</c:v>
                </c:pt>
                <c:pt idx="13">
                  <c:v>CHAMPAGNE NICOLAS 1ER CRU BS 1CT X 750ML</c:v>
                </c:pt>
              </c:strCache>
            </c:strRef>
          </c:cat>
          <c:val>
            <c:numRef>
              <c:f>Sheet1!$B$2:$B$15</c:f>
              <c:numCache>
                <c:formatCode>General</c:formatCode>
                <c:ptCount val="14"/>
                <c:pt idx="0">
                  <c:v>21.81</c:v>
                </c:pt>
                <c:pt idx="1">
                  <c:v>39.020000000000003</c:v>
                </c:pt>
                <c:pt idx="2">
                  <c:v>24.91</c:v>
                </c:pt>
                <c:pt idx="3">
                  <c:v>37.07</c:v>
                </c:pt>
                <c:pt idx="4">
                  <c:v>42.78</c:v>
                </c:pt>
                <c:pt idx="5">
                  <c:v>45.08</c:v>
                </c:pt>
                <c:pt idx="6">
                  <c:v>36.619999999999997</c:v>
                </c:pt>
                <c:pt idx="7">
                  <c:v>22.34</c:v>
                </c:pt>
                <c:pt idx="8">
                  <c:v>45.65</c:v>
                </c:pt>
                <c:pt idx="9">
                  <c:v>83.76</c:v>
                </c:pt>
                <c:pt idx="10">
                  <c:v>24.3</c:v>
                </c:pt>
                <c:pt idx="11">
                  <c:v>23.87</c:v>
                </c:pt>
                <c:pt idx="12">
                  <c:v>74.959999999999994</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33-4086-B168-979895F86EF6}"/>
                </c:ext>
              </c:extLst>
            </c:dLbl>
            <c:dLbl>
              <c:idx val="1"/>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433-4086-B168-979895F86EF6}"/>
                </c:ext>
              </c:extLst>
            </c:dLbl>
            <c:dLbl>
              <c:idx val="2"/>
              <c:tx>
                <c:rich>
                  <a:bodyPr/>
                  <a:lstStyle/>
                  <a:p>
                    <a:r>
                      <a:t>4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433-4086-B168-979895F86EF6}"/>
                </c:ext>
              </c:extLst>
            </c:dLbl>
            <c:dLbl>
              <c:idx val="3"/>
              <c:tx>
                <c:rich>
                  <a:bodyPr/>
                  <a:lstStyle/>
                  <a:p>
                    <a:r>
                      <a:t>2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433-4086-B168-979895F86EF6}"/>
                </c:ext>
              </c:extLst>
            </c:dLbl>
            <c:dLbl>
              <c:idx val="4"/>
              <c:tx>
                <c:rich>
                  <a:bodyPr/>
                  <a:lstStyle/>
                  <a:p>
                    <a:r>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433-4086-B168-979895F86EF6}"/>
                </c:ext>
              </c:extLst>
            </c:dLbl>
            <c:dLbl>
              <c:idx val="5"/>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433-4086-B168-979895F86EF6}"/>
                </c:ext>
              </c:extLst>
            </c:dLbl>
            <c:dLbl>
              <c:idx val="6"/>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433-4086-B168-979895F86EF6}"/>
                </c:ext>
              </c:extLst>
            </c:dLbl>
            <c:dLbl>
              <c:idx val="7"/>
              <c:tx>
                <c:rich>
                  <a:bodyPr/>
                  <a:lstStyle/>
                  <a:p>
                    <a:r>
                      <a:t>4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433-4086-B168-979895F86EF6}"/>
                </c:ext>
              </c:extLst>
            </c:dLbl>
            <c:dLbl>
              <c:idx val="8"/>
              <c:tx>
                <c:rich>
                  <a:bodyPr/>
                  <a:lstStyle/>
                  <a:p>
                    <a:r>
                      <a:t>3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433-4086-B168-979895F86EF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1ERE CUVEE 1CT X 750ML</c:v>
                </c:pt>
                <c:pt idx="2">
                  <c:v>MG CHAMPAGNE E.NICOLAS BRUT 1CT X 1500ML</c:v>
                </c:pt>
                <c:pt idx="3">
                  <c:v>1/2 CHAMPAGNE NICOLAS 1ERE CUV 1CT X 375ML</c:v>
                </c:pt>
                <c:pt idx="4">
                  <c:v>CHAMPAGNE NICOLAS BLC/BLC BS 1CT X 750ML</c:v>
                </c:pt>
                <c:pt idx="5">
                  <c:v>1/2 CHAMP NICOLAS BLC/BLC BS 1CT X 375ML</c:v>
                </c:pt>
                <c:pt idx="6">
                  <c:v>CHAMPAGNE E.NICOLAS ROSE 1CT X 750ML</c:v>
                </c:pt>
                <c:pt idx="7">
                  <c:v>CHAMPAGNE NICOLAS ROSE 1ERE CU 1CT X 750ML</c:v>
                </c:pt>
                <c:pt idx="8">
                  <c:v>CHAMPAGNE NICOLAS BLC DE NOIRS 1CT X 750ML</c:v>
                </c:pt>
              </c:strCache>
            </c:strRef>
          </c:cat>
          <c:val>
            <c:numRef>
              <c:f>Sheet1!$B$2:$B$10</c:f>
              <c:numCache>
                <c:formatCode>General</c:formatCode>
                <c:ptCount val="9"/>
                <c:pt idx="0">
                  <c:v>21.93</c:v>
                </c:pt>
                <c:pt idx="1">
                  <c:v>36.89</c:v>
                </c:pt>
                <c:pt idx="2">
                  <c:v>46.93</c:v>
                </c:pt>
                <c:pt idx="3">
                  <c:v>23.37</c:v>
                </c:pt>
                <c:pt idx="4">
                  <c:v>39.08</c:v>
                </c:pt>
                <c:pt idx="5">
                  <c:v>24.16</c:v>
                </c:pt>
                <c:pt idx="6">
                  <c:v>25.02</c:v>
                </c:pt>
                <c:pt idx="7">
                  <c:v>45.18</c:v>
                </c:pt>
                <c:pt idx="8">
                  <c:v>37.29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Malard</c:v>
                </c:pt>
                <c:pt idx="3">
                  <c:v>Besserat De Bellefon</c:v>
                </c:pt>
                <c:pt idx="4">
                  <c:v>De Bligny</c:v>
                </c:pt>
                <c:pt idx="5">
                  <c:v>Henriot</c:v>
                </c:pt>
                <c:pt idx="6">
                  <c:v>Delamotte</c:v>
                </c:pt>
                <c:pt idx="7">
                  <c:v>Ayala</c:v>
                </c:pt>
                <c:pt idx="8">
                  <c:v>De Venoge</c:v>
                </c:pt>
              </c:strCache>
            </c:strRef>
          </c:cat>
          <c:val>
            <c:numRef>
              <c:f>Sheet1!$B$2:$B$10</c:f>
              <c:numCache>
                <c:formatCode>General</c:formatCode>
                <c:ptCount val="9"/>
                <c:pt idx="0">
                  <c:v>88.335700000000003</c:v>
                </c:pt>
                <c:pt idx="1">
                  <c:v>225.9652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De Bligny</c:v>
                </c:pt>
                <c:pt idx="5">
                  <c:v>Henriot</c:v>
                </c:pt>
                <c:pt idx="6">
                  <c:v>Delamotte</c:v>
                </c:pt>
                <c:pt idx="7">
                  <c:v>Ayala</c:v>
                </c:pt>
                <c:pt idx="8">
                  <c:v>De Venoge</c:v>
                </c:pt>
              </c:strCache>
            </c:strRef>
          </c:cat>
          <c:val>
            <c:numRef>
              <c:f>Sheet1!$C$2:$C$10</c:f>
              <c:numCache>
                <c:formatCode>General</c:formatCode>
                <c:ptCount val="9"/>
                <c:pt idx="0">
                  <c:v>24.253299999999999</c:v>
                </c:pt>
                <c:pt idx="1">
                  <c:v>57.1743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Malard</c:v>
                </c:pt>
                <c:pt idx="3">
                  <c:v>Besserat De Bellefon</c:v>
                </c:pt>
                <c:pt idx="4">
                  <c:v>De Bligny</c:v>
                </c:pt>
                <c:pt idx="5">
                  <c:v>Henriot</c:v>
                </c:pt>
                <c:pt idx="6">
                  <c:v>Delamotte</c:v>
                </c:pt>
                <c:pt idx="7">
                  <c:v>Ayala</c:v>
                </c:pt>
                <c:pt idx="8">
                  <c:v>De Venoge</c:v>
                </c:pt>
              </c:strCache>
            </c:strRef>
          </c:cat>
          <c:val>
            <c:numRef>
              <c:f>Sheet1!$D$2:$D$10</c:f>
              <c:numCache>
                <c:formatCode>General</c:formatCode>
                <c:ptCount val="9"/>
                <c:pt idx="0">
                  <c:v>40.243200000000002</c:v>
                </c:pt>
                <c:pt idx="1">
                  <c:v>95.365799999999993</c:v>
                </c:pt>
                <c:pt idx="2">
                  <c:v>35.324399999999997</c:v>
                </c:pt>
                <c:pt idx="3">
                  <c:v>61.014899999999997</c:v>
                </c:pt>
                <c:pt idx="4">
                  <c:v>37.983400000000003</c:v>
                </c:pt>
                <c:pt idx="5">
                  <c:v>46.985599999999998</c:v>
                </c:pt>
                <c:pt idx="6">
                  <c:v>53.462699999999998</c:v>
                </c:pt>
                <c:pt idx="7">
                  <c:v>75.419600000000003</c:v>
                </c:pt>
                <c:pt idx="8">
                  <c:v>71.43680000000000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All Others</c:v>
                </c:pt>
                <c:pt idx="2">
                  <c:v>Nicolas Feuillatte</c:v>
                </c:pt>
                <c:pt idx="3">
                  <c:v>Mumm</c:v>
                </c:pt>
                <c:pt idx="4">
                  <c:v>Charles Lafitte</c:v>
                </c:pt>
                <c:pt idx="5">
                  <c:v>Canard Duchêne</c:v>
                </c:pt>
                <c:pt idx="6">
                  <c:v>Alfred De Rothschild</c:v>
                </c:pt>
                <c:pt idx="7">
                  <c:v>Moët &amp; Chandon</c:v>
                </c:pt>
                <c:pt idx="8">
                  <c:v>Ruinart</c:v>
                </c:pt>
              </c:strCache>
            </c:strRef>
          </c:cat>
          <c:val>
            <c:numRef>
              <c:f>Sheet1!$B$2:$B$10</c:f>
              <c:numCache>
                <c:formatCode>General</c:formatCode>
                <c:ptCount val="9"/>
                <c:pt idx="0">
                  <c:v>51.0039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Nicolas Feuillatte</c:v>
                </c:pt>
                <c:pt idx="3">
                  <c:v>Mumm</c:v>
                </c:pt>
                <c:pt idx="4">
                  <c:v>Charles Lafitte</c:v>
                </c:pt>
                <c:pt idx="5">
                  <c:v>Canard Duchêne</c:v>
                </c:pt>
                <c:pt idx="6">
                  <c:v>Alfred De Rothschild</c:v>
                </c:pt>
                <c:pt idx="7">
                  <c:v>Moët &amp; Chandon</c:v>
                </c:pt>
                <c:pt idx="8">
                  <c:v>Ruinart</c:v>
                </c:pt>
              </c:strCache>
            </c:strRef>
          </c:cat>
          <c:val>
            <c:numRef>
              <c:f>Sheet1!$C$2:$C$10</c:f>
              <c:numCache>
                <c:formatCode>General</c:formatCode>
                <c:ptCount val="9"/>
                <c:pt idx="0">
                  <c:v>22.531700000000001</c:v>
                </c:pt>
                <c:pt idx="2">
                  <c:v>29.477499999999999</c:v>
                </c:pt>
                <c:pt idx="3">
                  <c:v>34.965000000000003</c:v>
                </c:pt>
                <c:pt idx="6">
                  <c:v>27.5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All Others</c:v>
                </c:pt>
                <c:pt idx="2">
                  <c:v>Nicolas Feuillatte</c:v>
                </c:pt>
                <c:pt idx="3">
                  <c:v>Mumm</c:v>
                </c:pt>
                <c:pt idx="4">
                  <c:v>Charles Lafitte</c:v>
                </c:pt>
                <c:pt idx="5">
                  <c:v>Canard Duchêne</c:v>
                </c:pt>
                <c:pt idx="6">
                  <c:v>Alfred De Rothschild</c:v>
                </c:pt>
                <c:pt idx="7">
                  <c:v>Moët &amp; Chandon</c:v>
                </c:pt>
                <c:pt idx="8">
                  <c:v>Ruinart</c:v>
                </c:pt>
              </c:strCache>
            </c:strRef>
          </c:cat>
          <c:val>
            <c:numRef>
              <c:f>Sheet1!$D$2:$D$10</c:f>
              <c:numCache>
                <c:formatCode>General</c:formatCode>
                <c:ptCount val="9"/>
                <c:pt idx="0">
                  <c:v>21.809799999999999</c:v>
                </c:pt>
                <c:pt idx="1">
                  <c:v>21.126100000000001</c:v>
                </c:pt>
                <c:pt idx="2">
                  <c:v>24.473199999999999</c:v>
                </c:pt>
                <c:pt idx="3">
                  <c:v>30.1785</c:v>
                </c:pt>
                <c:pt idx="4">
                  <c:v>18.683299999999999</c:v>
                </c:pt>
                <c:pt idx="5">
                  <c:v>25.569099999999999</c:v>
                </c:pt>
                <c:pt idx="6">
                  <c:v>24.006499999999999</c:v>
                </c:pt>
                <c:pt idx="7">
                  <c:v>40.288600000000002</c:v>
                </c:pt>
                <c:pt idx="8">
                  <c:v>57.4761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B$2:$B$10</c:f>
              <c:numCache>
                <c:formatCode>General</c:formatCode>
                <c:ptCount val="9"/>
                <c:pt idx="0">
                  <c:v>52.061900000000001</c:v>
                </c:pt>
                <c:pt idx="1">
                  <c:v>137.3159</c:v>
                </c:pt>
                <c:pt idx="2">
                  <c:v>93.355999999999995</c:v>
                </c:pt>
                <c:pt idx="3">
                  <c:v>85.862499999999997</c:v>
                </c:pt>
                <c:pt idx="8">
                  <c:v>92.0348999999999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C$2:$C$10</c:f>
              <c:numCache>
                <c:formatCode>General</c:formatCode>
                <c:ptCount val="9"/>
                <c:pt idx="0">
                  <c:v>22.444800000000001</c:v>
                </c:pt>
                <c:pt idx="1">
                  <c:v>37.064399999999999</c:v>
                </c:pt>
                <c:pt idx="2">
                  <c:v>26.4323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D$2:$D$10</c:f>
              <c:numCache>
                <c:formatCode>General</c:formatCode>
                <c:ptCount val="9"/>
                <c:pt idx="0">
                  <c:v>21.833300000000001</c:v>
                </c:pt>
                <c:pt idx="1">
                  <c:v>55.453899999999997</c:v>
                </c:pt>
                <c:pt idx="2">
                  <c:v>46.061900000000001</c:v>
                </c:pt>
                <c:pt idx="3">
                  <c:v>43.406399999999998</c:v>
                </c:pt>
                <c:pt idx="4">
                  <c:v>29.266200000000001</c:v>
                </c:pt>
                <c:pt idx="5">
                  <c:v>37.167400000000001</c:v>
                </c:pt>
                <c:pt idx="6">
                  <c:v>30.283100000000001</c:v>
                </c:pt>
                <c:pt idx="7">
                  <c:v>37.756599999999999</c:v>
                </c:pt>
                <c:pt idx="8">
                  <c:v>45.49199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All Others</c:v>
                </c:pt>
                <c:pt idx="1">
                  <c:v>Nicolas Feuillatte</c:v>
                </c:pt>
                <c:pt idx="2">
                  <c:v>Mumm</c:v>
                </c:pt>
                <c:pt idx="3">
                  <c:v>Charles Lafitte</c:v>
                </c:pt>
                <c:pt idx="4">
                  <c:v>Alfred De Rothschild</c:v>
                </c:pt>
                <c:pt idx="5">
                  <c:v>Canard Duchêne</c:v>
                </c:pt>
                <c:pt idx="6">
                  <c:v>Moët &amp; Chandon</c:v>
                </c:pt>
                <c:pt idx="7">
                  <c:v>Tsarine</c:v>
                </c:pt>
                <c:pt idx="8">
                  <c:v>Demoiselle</c:v>
                </c:pt>
              </c:strCache>
            </c:strRef>
          </c:cat>
          <c:val>
            <c:numRef>
              <c:f>Sheet1!$B$2:$B$10</c:f>
              <c:numCache>
                <c:formatCode>General</c:formatCode>
                <c:ptCount val="9"/>
                <c:pt idx="1">
                  <c:v>29.758500000000002</c:v>
                </c:pt>
                <c:pt idx="2">
                  <c:v>34.965000000000003</c:v>
                </c:pt>
                <c:pt idx="4">
                  <c:v>27.56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All Others</c:v>
                </c:pt>
                <c:pt idx="1">
                  <c:v>Nicolas Feuillatte</c:v>
                </c:pt>
                <c:pt idx="2">
                  <c:v>Mumm</c:v>
                </c:pt>
                <c:pt idx="3">
                  <c:v>Charles Lafitte</c:v>
                </c:pt>
                <c:pt idx="4">
                  <c:v>Alfred De Rothschild</c:v>
                </c:pt>
                <c:pt idx="5">
                  <c:v>Canard Duchêne</c:v>
                </c:pt>
                <c:pt idx="6">
                  <c:v>Moët &amp; Chandon</c:v>
                </c:pt>
                <c:pt idx="7">
                  <c:v>Tsarine</c:v>
                </c:pt>
                <c:pt idx="8">
                  <c:v>Demoiselle</c:v>
                </c:pt>
              </c:strCache>
            </c:strRef>
          </c:cat>
          <c:val>
            <c:numRef>
              <c:f>Sheet1!$C$2:$C$10</c:f>
              <c:numCache>
                <c:formatCode>General</c:formatCode>
                <c:ptCount val="9"/>
                <c:pt idx="0">
                  <c:v>20.895099999999999</c:v>
                </c:pt>
                <c:pt idx="1">
                  <c:v>24.472200000000001</c:v>
                </c:pt>
                <c:pt idx="2">
                  <c:v>30.1785</c:v>
                </c:pt>
                <c:pt idx="3">
                  <c:v>18.683299999999999</c:v>
                </c:pt>
                <c:pt idx="4">
                  <c:v>24.006499999999999</c:v>
                </c:pt>
                <c:pt idx="5">
                  <c:v>25.3188</c:v>
                </c:pt>
                <c:pt idx="6">
                  <c:v>40.106299999999997</c:v>
                </c:pt>
                <c:pt idx="7">
                  <c:v>28.297000000000001</c:v>
                </c:pt>
                <c:pt idx="8">
                  <c:v>28.3759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B$2:$B$10</c:f>
              <c:numCache>
                <c:formatCode>General</c:formatCode>
                <c:ptCount val="9"/>
                <c:pt idx="0">
                  <c:v>51.175400000000003</c:v>
                </c:pt>
                <c:pt idx="1">
                  <c:v>137.51609999999999</c:v>
                </c:pt>
                <c:pt idx="2">
                  <c:v>93.112300000000005</c:v>
                </c:pt>
                <c:pt idx="3">
                  <c:v>85.005300000000005</c:v>
                </c:pt>
                <c:pt idx="8">
                  <c:v>91.4055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C$2:$C$10</c:f>
              <c:numCache>
                <c:formatCode>General</c:formatCode>
                <c:ptCount val="9"/>
                <c:pt idx="0">
                  <c:v>22.279</c:v>
                </c:pt>
                <c:pt idx="1">
                  <c:v>36.953099999999999</c:v>
                </c:pt>
                <c:pt idx="2">
                  <c:v>26.321100000000001</c:v>
                </c:pt>
                <c:pt idx="6">
                  <c:v>19.3591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All Others</c:v>
                </c:pt>
                <c:pt idx="8">
                  <c:v>Taittinger</c:v>
                </c:pt>
              </c:strCache>
            </c:strRef>
          </c:cat>
          <c:val>
            <c:numRef>
              <c:f>Sheet1!$D$2:$D$10</c:f>
              <c:numCache>
                <c:formatCode>General</c:formatCode>
                <c:ptCount val="9"/>
                <c:pt idx="0">
                  <c:v>21.895900000000001</c:v>
                </c:pt>
                <c:pt idx="1">
                  <c:v>55.040599999999998</c:v>
                </c:pt>
                <c:pt idx="2">
                  <c:v>46.077199999999998</c:v>
                </c:pt>
                <c:pt idx="3">
                  <c:v>43.1633</c:v>
                </c:pt>
                <c:pt idx="4">
                  <c:v>29.3154</c:v>
                </c:pt>
                <c:pt idx="5">
                  <c:v>37.176900000000003</c:v>
                </c:pt>
                <c:pt idx="6">
                  <c:v>29.834800000000001</c:v>
                </c:pt>
                <c:pt idx="7">
                  <c:v>38.108600000000003</c:v>
                </c:pt>
                <c:pt idx="8">
                  <c:v>45.4519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Canard Duchêne</c:v>
                </c:pt>
                <c:pt idx="4">
                  <c:v>Laurent Perrier</c:v>
                </c:pt>
                <c:pt idx="5">
                  <c:v>All Others</c:v>
                </c:pt>
                <c:pt idx="6">
                  <c:v>De Bligny</c:v>
                </c:pt>
                <c:pt idx="7">
                  <c:v>Heidsieck &amp; Co Monopole</c:v>
                </c:pt>
                <c:pt idx="8">
                  <c:v>Ayala</c:v>
                </c:pt>
              </c:strCache>
            </c:strRef>
          </c:cat>
          <c:val>
            <c:numRef>
              <c:f>Sheet1!$B$2:$B$10</c:f>
              <c:numCache>
                <c:formatCode>General</c:formatCode>
                <c:ptCount val="9"/>
                <c:pt idx="0">
                  <c:v>52.450499999999998</c:v>
                </c:pt>
                <c:pt idx="1">
                  <c:v>136.2167</c:v>
                </c:pt>
                <c:pt idx="2">
                  <c:v>92.314700000000002</c:v>
                </c:pt>
                <c:pt idx="3">
                  <c:v>63.527200000000001</c:v>
                </c:pt>
                <c:pt idx="4">
                  <c:v>84.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Canard Duchêne</c:v>
                </c:pt>
                <c:pt idx="4">
                  <c:v>Laurent Perrier</c:v>
                </c:pt>
                <c:pt idx="5">
                  <c:v>All Others</c:v>
                </c:pt>
                <c:pt idx="6">
                  <c:v>De Bligny</c:v>
                </c:pt>
                <c:pt idx="7">
                  <c:v>Heidsieck &amp; Co Monopole</c:v>
                </c:pt>
                <c:pt idx="8">
                  <c:v>Ayala</c:v>
                </c:pt>
              </c:strCache>
            </c:strRef>
          </c:cat>
          <c:val>
            <c:numRef>
              <c:f>Sheet1!$C$2:$C$10</c:f>
              <c:numCache>
                <c:formatCode>General</c:formatCode>
                <c:ptCount val="9"/>
                <c:pt idx="0">
                  <c:v>22.334599999999998</c:v>
                </c:pt>
                <c:pt idx="1">
                  <c:v>36.984400000000001</c:v>
                </c:pt>
                <c:pt idx="2">
                  <c:v>26.2171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Canard Duchêne</c:v>
                </c:pt>
                <c:pt idx="4">
                  <c:v>Laurent Perrier</c:v>
                </c:pt>
                <c:pt idx="5">
                  <c:v>All Others</c:v>
                </c:pt>
                <c:pt idx="6">
                  <c:v>De Bligny</c:v>
                </c:pt>
                <c:pt idx="7">
                  <c:v>Heidsieck &amp; Co Monopole</c:v>
                </c:pt>
                <c:pt idx="8">
                  <c:v>Ayala</c:v>
                </c:pt>
              </c:strCache>
            </c:strRef>
          </c:cat>
          <c:val>
            <c:numRef>
              <c:f>Sheet1!$D$2:$D$10</c:f>
              <c:numCache>
                <c:formatCode>General</c:formatCode>
                <c:ptCount val="9"/>
                <c:pt idx="0">
                  <c:v>21.7423</c:v>
                </c:pt>
                <c:pt idx="1">
                  <c:v>55.280900000000003</c:v>
                </c:pt>
                <c:pt idx="2">
                  <c:v>45.923000000000002</c:v>
                </c:pt>
                <c:pt idx="3">
                  <c:v>30.184100000000001</c:v>
                </c:pt>
                <c:pt idx="4">
                  <c:v>43.075099999999999</c:v>
                </c:pt>
                <c:pt idx="5">
                  <c:v>34.528700000000001</c:v>
                </c:pt>
                <c:pt idx="6">
                  <c:v>29.9451</c:v>
                </c:pt>
                <c:pt idx="7">
                  <c:v>29.143899999999999</c:v>
                </c:pt>
                <c:pt idx="8">
                  <c:v>36.6869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All Others</c:v>
                </c:pt>
                <c:pt idx="5">
                  <c:v>Taittinger</c:v>
                </c:pt>
                <c:pt idx="6">
                  <c:v>Bollinger</c:v>
                </c:pt>
                <c:pt idx="7">
                  <c:v>Ayala</c:v>
                </c:pt>
                <c:pt idx="8">
                  <c:v>Heidsieck &amp; Co Monopole</c:v>
                </c:pt>
              </c:strCache>
            </c:strRef>
          </c:cat>
          <c:val>
            <c:numRef>
              <c:f>Sheet1!$B$2:$B$10</c:f>
              <c:numCache>
                <c:formatCode>General</c:formatCode>
                <c:ptCount val="9"/>
                <c:pt idx="0">
                  <c:v>53.683199999999999</c:v>
                </c:pt>
                <c:pt idx="1">
                  <c:v>137.11070000000001</c:v>
                </c:pt>
                <c:pt idx="2">
                  <c:v>94.390699999999995</c:v>
                </c:pt>
                <c:pt idx="3">
                  <c:v>85.206199999999995</c:v>
                </c:pt>
                <c:pt idx="5">
                  <c:v>92.043999999999997</c:v>
                </c:pt>
                <c:pt idx="6">
                  <c:v>135.35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Taittinger</c:v>
                </c:pt>
                <c:pt idx="6">
                  <c:v>Bollinger</c:v>
                </c:pt>
                <c:pt idx="7">
                  <c:v>Ayala</c:v>
                </c:pt>
                <c:pt idx="8">
                  <c:v>Heidsieck &amp; Co Monopole</c:v>
                </c:pt>
              </c:strCache>
            </c:strRef>
          </c:cat>
          <c:val>
            <c:numRef>
              <c:f>Sheet1!$C$2:$C$10</c:f>
              <c:numCache>
                <c:formatCode>General</c:formatCode>
                <c:ptCount val="9"/>
                <c:pt idx="0">
                  <c:v>22.469100000000001</c:v>
                </c:pt>
                <c:pt idx="1">
                  <c:v>36.789499999999997</c:v>
                </c:pt>
                <c:pt idx="2">
                  <c:v>26.681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All Others</c:v>
                </c:pt>
                <c:pt idx="5">
                  <c:v>Taittinger</c:v>
                </c:pt>
                <c:pt idx="6">
                  <c:v>Bollinger</c:v>
                </c:pt>
                <c:pt idx="7">
                  <c:v>Ayala</c:v>
                </c:pt>
                <c:pt idx="8">
                  <c:v>Heidsieck &amp; Co Monopole</c:v>
                </c:pt>
              </c:strCache>
            </c:strRef>
          </c:cat>
          <c:val>
            <c:numRef>
              <c:f>Sheet1!$D$2:$D$10</c:f>
              <c:numCache>
                <c:formatCode>General</c:formatCode>
                <c:ptCount val="9"/>
                <c:pt idx="0">
                  <c:v>21.906700000000001</c:v>
                </c:pt>
                <c:pt idx="1">
                  <c:v>56.039900000000003</c:v>
                </c:pt>
                <c:pt idx="2">
                  <c:v>46.494900000000001</c:v>
                </c:pt>
                <c:pt idx="3">
                  <c:v>44.0274</c:v>
                </c:pt>
                <c:pt idx="4">
                  <c:v>39.030700000000003</c:v>
                </c:pt>
                <c:pt idx="5">
                  <c:v>45.698399999999999</c:v>
                </c:pt>
                <c:pt idx="6">
                  <c:v>57.755299999999998</c:v>
                </c:pt>
                <c:pt idx="7">
                  <c:v>37.579000000000001</c:v>
                </c:pt>
                <c:pt idx="8">
                  <c:v>29.1818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Veuve Clicquot</c:v>
                </c:pt>
                <c:pt idx="5">
                  <c:v>Ayala</c:v>
                </c:pt>
                <c:pt idx="6">
                  <c:v>Heidsieck &amp; Co Monopole</c:v>
                </c:pt>
                <c:pt idx="7">
                  <c:v>Taittinger</c:v>
                </c:pt>
                <c:pt idx="8">
                  <c:v>All Others</c:v>
                </c:pt>
              </c:strCache>
            </c:strRef>
          </c:cat>
          <c:val>
            <c:numRef>
              <c:f>Sheet1!$B$2:$B$10</c:f>
              <c:numCache>
                <c:formatCode>General</c:formatCode>
                <c:ptCount val="9"/>
                <c:pt idx="0">
                  <c:v>52.628799999999998</c:v>
                </c:pt>
                <c:pt idx="1">
                  <c:v>136.79650000000001</c:v>
                </c:pt>
                <c:pt idx="2">
                  <c:v>93.687899999999999</c:v>
                </c:pt>
                <c:pt idx="3">
                  <c:v>86.529700000000005</c:v>
                </c:pt>
                <c:pt idx="7">
                  <c:v>92.1932999999999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Veuve Clicquot</c:v>
                </c:pt>
                <c:pt idx="5">
                  <c:v>Ayala</c:v>
                </c:pt>
                <c:pt idx="6">
                  <c:v>Heidsieck &amp; Co Monopole</c:v>
                </c:pt>
                <c:pt idx="7">
                  <c:v>Taittinger</c:v>
                </c:pt>
                <c:pt idx="8">
                  <c:v>All Others</c:v>
                </c:pt>
              </c:strCache>
            </c:strRef>
          </c:cat>
          <c:val>
            <c:numRef>
              <c:f>Sheet1!$C$2:$C$10</c:f>
              <c:numCache>
                <c:formatCode>General</c:formatCode>
                <c:ptCount val="9"/>
                <c:pt idx="0">
                  <c:v>22.6038</c:v>
                </c:pt>
                <c:pt idx="1">
                  <c:v>36.796399999999998</c:v>
                </c:pt>
                <c:pt idx="2">
                  <c:v>26.6285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Veuve Clicquot</c:v>
                </c:pt>
                <c:pt idx="5">
                  <c:v>Ayala</c:v>
                </c:pt>
                <c:pt idx="6">
                  <c:v>Heidsieck &amp; Co Monopole</c:v>
                </c:pt>
                <c:pt idx="7">
                  <c:v>Taittinger</c:v>
                </c:pt>
                <c:pt idx="8">
                  <c:v>All Others</c:v>
                </c:pt>
              </c:strCache>
            </c:strRef>
          </c:cat>
          <c:val>
            <c:numRef>
              <c:f>Sheet1!$D$2:$D$10</c:f>
              <c:numCache>
                <c:formatCode>General</c:formatCode>
                <c:ptCount val="9"/>
                <c:pt idx="0">
                  <c:v>21.819600000000001</c:v>
                </c:pt>
                <c:pt idx="1">
                  <c:v>56.209800000000001</c:v>
                </c:pt>
                <c:pt idx="2">
                  <c:v>46.073999999999998</c:v>
                </c:pt>
                <c:pt idx="3">
                  <c:v>43.989100000000001</c:v>
                </c:pt>
                <c:pt idx="4">
                  <c:v>52.6676</c:v>
                </c:pt>
                <c:pt idx="5">
                  <c:v>37.256599999999999</c:v>
                </c:pt>
                <c:pt idx="6">
                  <c:v>29.456499999999998</c:v>
                </c:pt>
                <c:pt idx="7">
                  <c:v>45.474699999999999</c:v>
                </c:pt>
                <c:pt idx="8">
                  <c:v>40.606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Taittinger</c:v>
                </c:pt>
                <c:pt idx="5">
                  <c:v>Canard Duchêne</c:v>
                </c:pt>
                <c:pt idx="6">
                  <c:v>Heidsieck &amp; Co Monopole</c:v>
                </c:pt>
                <c:pt idx="7">
                  <c:v>De Bligny</c:v>
                </c:pt>
                <c:pt idx="8">
                  <c:v>Roederer</c:v>
                </c:pt>
              </c:strCache>
            </c:strRef>
          </c:cat>
          <c:val>
            <c:numRef>
              <c:f>Sheet1!$B$2:$B$10</c:f>
              <c:numCache>
                <c:formatCode>General</c:formatCode>
                <c:ptCount val="9"/>
                <c:pt idx="0">
                  <c:v>54.783799999999999</c:v>
                </c:pt>
                <c:pt idx="1">
                  <c:v>136.7216</c:v>
                </c:pt>
                <c:pt idx="2">
                  <c:v>94.285399999999996</c:v>
                </c:pt>
                <c:pt idx="3">
                  <c:v>89.191699999999997</c:v>
                </c:pt>
                <c:pt idx="4">
                  <c:v>92.4589</c:v>
                </c:pt>
                <c:pt idx="5">
                  <c:v>64.455299999999994</c:v>
                </c:pt>
                <c:pt idx="8">
                  <c:v>133.5833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Taittinger</c:v>
                </c:pt>
                <c:pt idx="5">
                  <c:v>Canard Duchêne</c:v>
                </c:pt>
                <c:pt idx="6">
                  <c:v>Heidsieck &amp; Co Monopole</c:v>
                </c:pt>
                <c:pt idx="7">
                  <c:v>De Bligny</c:v>
                </c:pt>
                <c:pt idx="8">
                  <c:v>Roederer</c:v>
                </c:pt>
              </c:strCache>
            </c:strRef>
          </c:cat>
          <c:val>
            <c:numRef>
              <c:f>Sheet1!$C$2:$C$10</c:f>
              <c:numCache>
                <c:formatCode>General</c:formatCode>
                <c:ptCount val="9"/>
                <c:pt idx="0">
                  <c:v>23.235800000000001</c:v>
                </c:pt>
                <c:pt idx="1">
                  <c:v>37.9014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Taittinger</c:v>
                </c:pt>
                <c:pt idx="5">
                  <c:v>Canard Duchêne</c:v>
                </c:pt>
                <c:pt idx="6">
                  <c:v>Heidsieck &amp; Co Monopole</c:v>
                </c:pt>
                <c:pt idx="7">
                  <c:v>De Bligny</c:v>
                </c:pt>
                <c:pt idx="8">
                  <c:v>Roederer</c:v>
                </c:pt>
              </c:strCache>
            </c:strRef>
          </c:cat>
          <c:val>
            <c:numRef>
              <c:f>Sheet1!$D$2:$D$10</c:f>
              <c:numCache>
                <c:formatCode>General</c:formatCode>
                <c:ptCount val="9"/>
                <c:pt idx="0">
                  <c:v>21.763999999999999</c:v>
                </c:pt>
                <c:pt idx="1">
                  <c:v>56.445900000000002</c:v>
                </c:pt>
                <c:pt idx="2">
                  <c:v>45.9602</c:v>
                </c:pt>
                <c:pt idx="3">
                  <c:v>42.460599999999999</c:v>
                </c:pt>
                <c:pt idx="4">
                  <c:v>45.422800000000002</c:v>
                </c:pt>
                <c:pt idx="5">
                  <c:v>31.658999999999999</c:v>
                </c:pt>
                <c:pt idx="6">
                  <c:v>29.222100000000001</c:v>
                </c:pt>
                <c:pt idx="7">
                  <c:v>29.836300000000001</c:v>
                </c:pt>
                <c:pt idx="8">
                  <c:v>57.8053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All Others</c:v>
                </c:pt>
                <c:pt idx="7">
                  <c:v>Taittinger</c:v>
                </c:pt>
                <c:pt idx="8">
                  <c:v>Canard Duchêne</c:v>
                </c:pt>
              </c:strCache>
            </c:strRef>
          </c:cat>
          <c:val>
            <c:numRef>
              <c:f>Sheet1!$B$2:$B$10</c:f>
              <c:numCache>
                <c:formatCode>General</c:formatCode>
                <c:ptCount val="9"/>
                <c:pt idx="0">
                  <c:v>51.496699999999997</c:v>
                </c:pt>
                <c:pt idx="1">
                  <c:v>137.07900000000001</c:v>
                </c:pt>
                <c:pt idx="2">
                  <c:v>93.053200000000004</c:v>
                </c:pt>
                <c:pt idx="3">
                  <c:v>84.974800000000002</c:v>
                </c:pt>
                <c:pt idx="7">
                  <c:v>91.27320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All Others</c:v>
                </c:pt>
                <c:pt idx="7">
                  <c:v>Taittinger</c:v>
                </c:pt>
                <c:pt idx="8">
                  <c:v>Canard Duchêne</c:v>
                </c:pt>
              </c:strCache>
            </c:strRef>
          </c:cat>
          <c:val>
            <c:numRef>
              <c:f>Sheet1!$C$2:$C$10</c:f>
              <c:numCache>
                <c:formatCode>General</c:formatCode>
                <c:ptCount val="9"/>
                <c:pt idx="0">
                  <c:v>22.2423</c:v>
                </c:pt>
                <c:pt idx="1">
                  <c:v>36.8414</c:v>
                </c:pt>
                <c:pt idx="2">
                  <c:v>26.4095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All Others</c:v>
                </c:pt>
                <c:pt idx="7">
                  <c:v>Taittinger</c:v>
                </c:pt>
                <c:pt idx="8">
                  <c:v>Canard Duchêne</c:v>
                </c:pt>
              </c:strCache>
            </c:strRef>
          </c:cat>
          <c:val>
            <c:numRef>
              <c:f>Sheet1!$D$2:$D$10</c:f>
              <c:numCache>
                <c:formatCode>General</c:formatCode>
                <c:ptCount val="9"/>
                <c:pt idx="0">
                  <c:v>21.857199999999999</c:v>
                </c:pt>
                <c:pt idx="1">
                  <c:v>55.3598</c:v>
                </c:pt>
                <c:pt idx="2">
                  <c:v>46.072099999999999</c:v>
                </c:pt>
                <c:pt idx="3">
                  <c:v>43.437100000000001</c:v>
                </c:pt>
                <c:pt idx="4">
                  <c:v>29.276599999999998</c:v>
                </c:pt>
                <c:pt idx="5">
                  <c:v>37.083300000000001</c:v>
                </c:pt>
                <c:pt idx="6">
                  <c:v>38.492699999999999</c:v>
                </c:pt>
                <c:pt idx="7">
                  <c:v>45.428899999999999</c:v>
                </c:pt>
                <c:pt idx="8">
                  <c:v>30.0173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672-44A6-AA64-57050C94A3F5}"/>
                </c:ext>
              </c:extLst>
            </c:dLbl>
            <c:dLbl>
              <c:idx val="1"/>
              <c:tx>
                <c:rich>
                  <a:bodyPr/>
                  <a:lstStyle/>
                  <a:p>
                    <a:r>
                      <a:t>3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672-44A6-AA64-57050C94A3F5}"/>
                </c:ext>
              </c:extLst>
            </c:dLbl>
            <c:dLbl>
              <c:idx val="2"/>
              <c:tx>
                <c:rich>
                  <a:bodyPr/>
                  <a:lstStyle/>
                  <a:p>
                    <a:r>
                      <a:t>4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672-44A6-AA64-57050C94A3F5}"/>
                </c:ext>
              </c:extLst>
            </c:dLbl>
            <c:dLbl>
              <c:idx val="3"/>
              <c:tx>
                <c:rich>
                  <a:bodyPr/>
                  <a:lstStyle/>
                  <a:p>
                    <a:r>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672-44A6-AA64-57050C94A3F5}"/>
                </c:ext>
              </c:extLst>
            </c:dLbl>
            <c:dLbl>
              <c:idx val="4"/>
              <c:tx>
                <c:rich>
                  <a:bodyPr/>
                  <a:lstStyle/>
                  <a:p>
                    <a:r>
                      <a:t>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672-44A6-AA64-57050C94A3F5}"/>
                </c:ext>
              </c:extLst>
            </c:dLbl>
            <c:dLbl>
              <c:idx val="5"/>
              <c:tx>
                <c:rich>
                  <a:bodyPr/>
                  <a:lstStyle/>
                  <a:p>
                    <a:r>
                      <a:t>4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672-44A6-AA64-57050C94A3F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1ERE CUVEE 1CT X 750ML</c:v>
                </c:pt>
                <c:pt idx="2">
                  <c:v>MG CHAMPAGNE E.NICOLAS BRUT 1CT X 1500ML</c:v>
                </c:pt>
                <c:pt idx="3">
                  <c:v>CHAMPAGNE NICOLAS BLC/BLC BS 1CT X 750ML</c:v>
                </c:pt>
                <c:pt idx="4">
                  <c:v>CHAMPAGNE E.NICOLAS ROSE 1CT X 750ML</c:v>
                </c:pt>
                <c:pt idx="5">
                  <c:v>CHAMPAGNE NICOLAS ROSE 1ERE CU 1CT X 750ML</c:v>
                </c:pt>
              </c:strCache>
            </c:strRef>
          </c:cat>
          <c:val>
            <c:numRef>
              <c:f>Sheet1!$B$2:$B$7</c:f>
              <c:numCache>
                <c:formatCode>General</c:formatCode>
                <c:ptCount val="6"/>
                <c:pt idx="0">
                  <c:v>21.94</c:v>
                </c:pt>
                <c:pt idx="1">
                  <c:v>36.22</c:v>
                </c:pt>
                <c:pt idx="2">
                  <c:v>44.21</c:v>
                </c:pt>
                <c:pt idx="3">
                  <c:v>39.590000000000003</c:v>
                </c:pt>
                <c:pt idx="4">
                  <c:v>25.1</c:v>
                </c:pt>
                <c:pt idx="5">
                  <c:v>41.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Taittinger</c:v>
                </c:pt>
                <c:pt idx="6">
                  <c:v>Roederer</c:v>
                </c:pt>
                <c:pt idx="7">
                  <c:v>Canard Duchêne</c:v>
                </c:pt>
                <c:pt idx="8">
                  <c:v>De Bligny</c:v>
                </c:pt>
              </c:strCache>
            </c:strRef>
          </c:cat>
          <c:val>
            <c:numRef>
              <c:f>Sheet1!$B$2:$B$10</c:f>
              <c:numCache>
                <c:formatCode>General</c:formatCode>
                <c:ptCount val="9"/>
                <c:pt idx="0">
                  <c:v>51.195900000000002</c:v>
                </c:pt>
                <c:pt idx="1">
                  <c:v>136.23320000000001</c:v>
                </c:pt>
                <c:pt idx="2">
                  <c:v>93.0792</c:v>
                </c:pt>
                <c:pt idx="3">
                  <c:v>90.453400000000002</c:v>
                </c:pt>
                <c:pt idx="5">
                  <c:v>91.429699999999997</c:v>
                </c:pt>
                <c:pt idx="6">
                  <c:v>130.2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Taittinger</c:v>
                </c:pt>
                <c:pt idx="6">
                  <c:v>Roederer</c:v>
                </c:pt>
                <c:pt idx="7">
                  <c:v>Canard Duchêne</c:v>
                </c:pt>
                <c:pt idx="8">
                  <c:v>De Bligny</c:v>
                </c:pt>
              </c:strCache>
            </c:strRef>
          </c:cat>
          <c:val>
            <c:numRef>
              <c:f>Sheet1!$C$2:$C$10</c:f>
              <c:numCache>
                <c:formatCode>General</c:formatCode>
                <c:ptCount val="9"/>
                <c:pt idx="0">
                  <c:v>22.485399999999998</c:v>
                </c:pt>
                <c:pt idx="1">
                  <c:v>37.4722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Taittinger</c:v>
                </c:pt>
                <c:pt idx="6">
                  <c:v>Roederer</c:v>
                </c:pt>
                <c:pt idx="7">
                  <c:v>Canard Duchêne</c:v>
                </c:pt>
                <c:pt idx="8">
                  <c:v>De Bligny</c:v>
                </c:pt>
              </c:strCache>
            </c:strRef>
          </c:cat>
          <c:val>
            <c:numRef>
              <c:f>Sheet1!$D$2:$D$10</c:f>
              <c:numCache>
                <c:formatCode>General</c:formatCode>
                <c:ptCount val="9"/>
                <c:pt idx="0">
                  <c:v>21.689399999999999</c:v>
                </c:pt>
                <c:pt idx="1">
                  <c:v>56.290100000000002</c:v>
                </c:pt>
                <c:pt idx="2">
                  <c:v>45.885100000000001</c:v>
                </c:pt>
                <c:pt idx="3">
                  <c:v>43.240200000000002</c:v>
                </c:pt>
                <c:pt idx="4">
                  <c:v>29.332599999999999</c:v>
                </c:pt>
                <c:pt idx="5">
                  <c:v>45.536499999999997</c:v>
                </c:pt>
                <c:pt idx="6">
                  <c:v>58</c:v>
                </c:pt>
                <c:pt idx="7">
                  <c:v>30.799800000000001</c:v>
                </c:pt>
                <c:pt idx="8">
                  <c:v>30.182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Heidsieck &amp; Co Monopole</c:v>
                </c:pt>
                <c:pt idx="4">
                  <c:v>Laurent Perrier</c:v>
                </c:pt>
                <c:pt idx="5">
                  <c:v>Taittinger</c:v>
                </c:pt>
                <c:pt idx="6">
                  <c:v>Canard Duchêne</c:v>
                </c:pt>
                <c:pt idx="7">
                  <c:v>Ayala</c:v>
                </c:pt>
                <c:pt idx="8">
                  <c:v>Bollinger</c:v>
                </c:pt>
              </c:strCache>
            </c:strRef>
          </c:cat>
          <c:val>
            <c:numRef>
              <c:f>Sheet1!$B$2:$B$10</c:f>
              <c:numCache>
                <c:formatCode>General</c:formatCode>
                <c:ptCount val="9"/>
                <c:pt idx="0">
                  <c:v>51.493899999999996</c:v>
                </c:pt>
                <c:pt idx="1">
                  <c:v>137.31370000000001</c:v>
                </c:pt>
                <c:pt idx="2">
                  <c:v>93.899500000000003</c:v>
                </c:pt>
                <c:pt idx="4">
                  <c:v>86.567499999999995</c:v>
                </c:pt>
                <c:pt idx="5">
                  <c:v>92.135099999999994</c:v>
                </c:pt>
                <c:pt idx="6">
                  <c:v>66.350200000000001</c:v>
                </c:pt>
                <c:pt idx="8">
                  <c:v>140.05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Heidsieck &amp; Co Monopole</c:v>
                </c:pt>
                <c:pt idx="4">
                  <c:v>Laurent Perrier</c:v>
                </c:pt>
                <c:pt idx="5">
                  <c:v>Taittinger</c:v>
                </c:pt>
                <c:pt idx="6">
                  <c:v>Canard Duchêne</c:v>
                </c:pt>
                <c:pt idx="7">
                  <c:v>Ayala</c:v>
                </c:pt>
                <c:pt idx="8">
                  <c:v>Bollinger</c:v>
                </c:pt>
              </c:strCache>
            </c:strRef>
          </c:cat>
          <c:val>
            <c:numRef>
              <c:f>Sheet1!$C$2:$C$10</c:f>
              <c:numCache>
                <c:formatCode>General</c:formatCode>
                <c:ptCount val="9"/>
                <c:pt idx="0">
                  <c:v>22.7471</c:v>
                </c:pt>
                <c:pt idx="1">
                  <c:v>37.869500000000002</c:v>
                </c:pt>
                <c:pt idx="2">
                  <c:v>26.358699999999999</c:v>
                </c:pt>
                <c:pt idx="6">
                  <c:v>19.1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Heidsieck &amp; Co Monopole</c:v>
                </c:pt>
                <c:pt idx="4">
                  <c:v>Laurent Perrier</c:v>
                </c:pt>
                <c:pt idx="5">
                  <c:v>Taittinger</c:v>
                </c:pt>
                <c:pt idx="6">
                  <c:v>Canard Duchêne</c:v>
                </c:pt>
                <c:pt idx="7">
                  <c:v>Ayala</c:v>
                </c:pt>
                <c:pt idx="8">
                  <c:v>Bollinger</c:v>
                </c:pt>
              </c:strCache>
            </c:strRef>
          </c:cat>
          <c:val>
            <c:numRef>
              <c:f>Sheet1!$D$2:$D$10</c:f>
              <c:numCache>
                <c:formatCode>General</c:formatCode>
                <c:ptCount val="9"/>
                <c:pt idx="0">
                  <c:v>22.198799999999999</c:v>
                </c:pt>
                <c:pt idx="1">
                  <c:v>55.463200000000001</c:v>
                </c:pt>
                <c:pt idx="2">
                  <c:v>46.055</c:v>
                </c:pt>
                <c:pt idx="3">
                  <c:v>29.235499999999998</c:v>
                </c:pt>
                <c:pt idx="4">
                  <c:v>42.886099999999999</c:v>
                </c:pt>
                <c:pt idx="5">
                  <c:v>45.773200000000003</c:v>
                </c:pt>
                <c:pt idx="6">
                  <c:v>30.851600000000001</c:v>
                </c:pt>
                <c:pt idx="7">
                  <c:v>37.607300000000002</c:v>
                </c:pt>
                <c:pt idx="8">
                  <c:v>57.77429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Heidsieck &amp; Co Monopole</c:v>
                </c:pt>
                <c:pt idx="4">
                  <c:v>Ayala</c:v>
                </c:pt>
                <c:pt idx="5">
                  <c:v>De Bligny</c:v>
                </c:pt>
                <c:pt idx="6">
                  <c:v>Canard Duchêne</c:v>
                </c:pt>
                <c:pt idx="7">
                  <c:v>Laurent Perrier</c:v>
                </c:pt>
                <c:pt idx="8">
                  <c:v>Roederer</c:v>
                </c:pt>
              </c:strCache>
            </c:strRef>
          </c:cat>
          <c:val>
            <c:numRef>
              <c:f>Sheet1!$B$2:$B$10</c:f>
              <c:numCache>
                <c:formatCode>General</c:formatCode>
                <c:ptCount val="9"/>
                <c:pt idx="0">
                  <c:v>55.071399999999997</c:v>
                </c:pt>
                <c:pt idx="1">
                  <c:v>138.2424</c:v>
                </c:pt>
                <c:pt idx="2">
                  <c:v>95.336500000000001</c:v>
                </c:pt>
                <c:pt idx="6">
                  <c:v>67.333299999999994</c:v>
                </c:pt>
                <c:pt idx="7">
                  <c:v>86.633700000000005</c:v>
                </c:pt>
                <c:pt idx="8">
                  <c:v>137.086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Heidsieck &amp; Co Monopole</c:v>
                </c:pt>
                <c:pt idx="4">
                  <c:v>Ayala</c:v>
                </c:pt>
                <c:pt idx="5">
                  <c:v>De Bligny</c:v>
                </c:pt>
                <c:pt idx="6">
                  <c:v>Canard Duchêne</c:v>
                </c:pt>
                <c:pt idx="7">
                  <c:v>Laurent Perrier</c:v>
                </c:pt>
                <c:pt idx="8">
                  <c:v>Roederer</c:v>
                </c:pt>
              </c:strCache>
            </c:strRef>
          </c:cat>
          <c:val>
            <c:numRef>
              <c:f>Sheet1!$C$2:$C$10</c:f>
              <c:numCache>
                <c:formatCode>General</c:formatCode>
                <c:ptCount val="9"/>
                <c:pt idx="0">
                  <c:v>23.318999999999999</c:v>
                </c:pt>
                <c:pt idx="1">
                  <c:v>38.1036</c:v>
                </c:pt>
                <c:pt idx="2">
                  <c:v>26.385400000000001</c:v>
                </c:pt>
                <c:pt idx="8">
                  <c:v>35.0904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Heidsieck &amp; Co Monopole</c:v>
                </c:pt>
                <c:pt idx="4">
                  <c:v>Ayala</c:v>
                </c:pt>
                <c:pt idx="5">
                  <c:v>De Bligny</c:v>
                </c:pt>
                <c:pt idx="6">
                  <c:v>Canard Duchêne</c:v>
                </c:pt>
                <c:pt idx="7">
                  <c:v>Laurent Perrier</c:v>
                </c:pt>
                <c:pt idx="8">
                  <c:v>Roederer</c:v>
                </c:pt>
              </c:strCache>
            </c:strRef>
          </c:cat>
          <c:val>
            <c:numRef>
              <c:f>Sheet1!$D$2:$D$10</c:f>
              <c:numCache>
                <c:formatCode>General</c:formatCode>
                <c:ptCount val="9"/>
                <c:pt idx="0">
                  <c:v>21.657</c:v>
                </c:pt>
                <c:pt idx="1">
                  <c:v>54.910400000000003</c:v>
                </c:pt>
                <c:pt idx="2">
                  <c:v>46.161900000000003</c:v>
                </c:pt>
                <c:pt idx="3">
                  <c:v>29.059000000000001</c:v>
                </c:pt>
                <c:pt idx="4">
                  <c:v>37.816699999999997</c:v>
                </c:pt>
                <c:pt idx="5">
                  <c:v>30.0596</c:v>
                </c:pt>
                <c:pt idx="6">
                  <c:v>29.932400000000001</c:v>
                </c:pt>
                <c:pt idx="7">
                  <c:v>44.336399999999998</c:v>
                </c:pt>
                <c:pt idx="8">
                  <c:v>58.7582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All Others</c:v>
                </c:pt>
                <c:pt idx="3">
                  <c:v>Deutz</c:v>
                </c:pt>
                <c:pt idx="4">
                  <c:v>Laurent Perrier</c:v>
                </c:pt>
                <c:pt idx="5">
                  <c:v>Canard Duchêne</c:v>
                </c:pt>
                <c:pt idx="6">
                  <c:v>Bollinger</c:v>
                </c:pt>
                <c:pt idx="7">
                  <c:v>Ayala</c:v>
                </c:pt>
                <c:pt idx="8">
                  <c:v>Taittinger</c:v>
                </c:pt>
              </c:strCache>
            </c:strRef>
          </c:cat>
          <c:val>
            <c:numRef>
              <c:f>Sheet1!$B$2:$B$10</c:f>
              <c:numCache>
                <c:formatCode>General</c:formatCode>
                <c:ptCount val="9"/>
                <c:pt idx="0">
                  <c:v>47.944400000000002</c:v>
                </c:pt>
                <c:pt idx="1">
                  <c:v>140.58269999999999</c:v>
                </c:pt>
                <c:pt idx="2">
                  <c:v>56.7027</c:v>
                </c:pt>
                <c:pt idx="3">
                  <c:v>92.336699999999993</c:v>
                </c:pt>
                <c:pt idx="4">
                  <c:v>85.640199999999993</c:v>
                </c:pt>
                <c:pt idx="5">
                  <c:v>65.822400000000002</c:v>
                </c:pt>
                <c:pt idx="6">
                  <c:v>135.1148</c:v>
                </c:pt>
                <c:pt idx="8">
                  <c:v>92.4762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Deutz</c:v>
                </c:pt>
                <c:pt idx="4">
                  <c:v>Laurent Perrier</c:v>
                </c:pt>
                <c:pt idx="5">
                  <c:v>Canard Duchêne</c:v>
                </c:pt>
                <c:pt idx="6">
                  <c:v>Bollinger</c:v>
                </c:pt>
                <c:pt idx="7">
                  <c:v>Ayala</c:v>
                </c:pt>
                <c:pt idx="8">
                  <c:v>Taittinger</c:v>
                </c:pt>
              </c:strCache>
            </c:strRef>
          </c:cat>
          <c:val>
            <c:numRef>
              <c:f>Sheet1!$C$2:$C$10</c:f>
              <c:numCache>
                <c:formatCode>General</c:formatCode>
                <c:ptCount val="9"/>
                <c:pt idx="0">
                  <c:v>22.924099999999999</c:v>
                </c:pt>
                <c:pt idx="1">
                  <c:v>37.101700000000001</c:v>
                </c:pt>
                <c:pt idx="3">
                  <c:v>26.6313</c:v>
                </c:pt>
                <c:pt idx="5">
                  <c:v>19.5465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All Others</c:v>
                </c:pt>
                <c:pt idx="3">
                  <c:v>Deutz</c:v>
                </c:pt>
                <c:pt idx="4">
                  <c:v>Laurent Perrier</c:v>
                </c:pt>
                <c:pt idx="5">
                  <c:v>Canard Duchêne</c:v>
                </c:pt>
                <c:pt idx="6">
                  <c:v>Bollinger</c:v>
                </c:pt>
                <c:pt idx="7">
                  <c:v>Ayala</c:v>
                </c:pt>
                <c:pt idx="8">
                  <c:v>Taittinger</c:v>
                </c:pt>
              </c:strCache>
            </c:strRef>
          </c:cat>
          <c:val>
            <c:numRef>
              <c:f>Sheet1!$D$2:$D$10</c:f>
              <c:numCache>
                <c:formatCode>General</c:formatCode>
                <c:ptCount val="9"/>
                <c:pt idx="0">
                  <c:v>21.3323</c:v>
                </c:pt>
                <c:pt idx="1">
                  <c:v>56.426400000000001</c:v>
                </c:pt>
                <c:pt idx="2">
                  <c:v>30.350100000000001</c:v>
                </c:pt>
                <c:pt idx="3">
                  <c:v>45.750399999999999</c:v>
                </c:pt>
                <c:pt idx="4">
                  <c:v>44.063800000000001</c:v>
                </c:pt>
                <c:pt idx="5">
                  <c:v>34.148000000000003</c:v>
                </c:pt>
                <c:pt idx="6">
                  <c:v>56.5627</c:v>
                </c:pt>
                <c:pt idx="7">
                  <c:v>37.339100000000002</c:v>
                </c:pt>
                <c:pt idx="8">
                  <c:v>44.6891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Taittinger</c:v>
                </c:pt>
                <c:pt idx="6">
                  <c:v>All Others</c:v>
                </c:pt>
                <c:pt idx="7">
                  <c:v>Ayala</c:v>
                </c:pt>
                <c:pt idx="8">
                  <c:v>Bollinger</c:v>
                </c:pt>
              </c:strCache>
            </c:strRef>
          </c:cat>
          <c:val>
            <c:numRef>
              <c:f>Sheet1!$B$2:$B$10</c:f>
              <c:numCache>
                <c:formatCode>General</c:formatCode>
                <c:ptCount val="9"/>
                <c:pt idx="0">
                  <c:v>50.76</c:v>
                </c:pt>
                <c:pt idx="1">
                  <c:v>137.428</c:v>
                </c:pt>
                <c:pt idx="2">
                  <c:v>93.130700000000004</c:v>
                </c:pt>
                <c:pt idx="3">
                  <c:v>86.174700000000001</c:v>
                </c:pt>
                <c:pt idx="5">
                  <c:v>90.906199999999998</c:v>
                </c:pt>
                <c:pt idx="8">
                  <c:v>135.0165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Taittinger</c:v>
                </c:pt>
                <c:pt idx="6">
                  <c:v>All Others</c:v>
                </c:pt>
                <c:pt idx="7">
                  <c:v>Ayala</c:v>
                </c:pt>
                <c:pt idx="8">
                  <c:v>Bollinger</c:v>
                </c:pt>
              </c:strCache>
            </c:strRef>
          </c:cat>
          <c:val>
            <c:numRef>
              <c:f>Sheet1!$C$2:$C$10</c:f>
              <c:numCache>
                <c:formatCode>General</c:formatCode>
                <c:ptCount val="9"/>
                <c:pt idx="0">
                  <c:v>22.282499999999999</c:v>
                </c:pt>
                <c:pt idx="1">
                  <c:v>36.9163</c:v>
                </c:pt>
                <c:pt idx="2">
                  <c:v>26.481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Taittinger</c:v>
                </c:pt>
                <c:pt idx="6">
                  <c:v>All Others</c:v>
                </c:pt>
                <c:pt idx="7">
                  <c:v>Ayala</c:v>
                </c:pt>
                <c:pt idx="8">
                  <c:v>Bollinger</c:v>
                </c:pt>
              </c:strCache>
            </c:strRef>
          </c:cat>
          <c:val>
            <c:numRef>
              <c:f>Sheet1!$D$2:$D$10</c:f>
              <c:numCache>
                <c:formatCode>General</c:formatCode>
                <c:ptCount val="9"/>
                <c:pt idx="0">
                  <c:v>21.7849</c:v>
                </c:pt>
                <c:pt idx="1">
                  <c:v>55.740099999999998</c:v>
                </c:pt>
                <c:pt idx="2">
                  <c:v>46.033700000000003</c:v>
                </c:pt>
                <c:pt idx="3">
                  <c:v>43.882800000000003</c:v>
                </c:pt>
                <c:pt idx="4">
                  <c:v>29.230499999999999</c:v>
                </c:pt>
                <c:pt idx="5">
                  <c:v>45.386699999999998</c:v>
                </c:pt>
                <c:pt idx="6">
                  <c:v>37.775100000000002</c:v>
                </c:pt>
                <c:pt idx="7">
                  <c:v>36.934699999999999</c:v>
                </c:pt>
                <c:pt idx="8">
                  <c:v>57.4288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All Others</c:v>
                </c:pt>
                <c:pt idx="8">
                  <c:v>Taittinger</c:v>
                </c:pt>
              </c:strCache>
            </c:strRef>
          </c:cat>
          <c:val>
            <c:numRef>
              <c:f>Sheet1!$B$2:$B$10</c:f>
              <c:numCache>
                <c:formatCode>General</c:formatCode>
                <c:ptCount val="9"/>
                <c:pt idx="0">
                  <c:v>54.033200000000001</c:v>
                </c:pt>
                <c:pt idx="1">
                  <c:v>137.11879999999999</c:v>
                </c:pt>
                <c:pt idx="2">
                  <c:v>93.368300000000005</c:v>
                </c:pt>
                <c:pt idx="3">
                  <c:v>86.590699999999998</c:v>
                </c:pt>
                <c:pt idx="8">
                  <c:v>92.4555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All Others</c:v>
                </c:pt>
                <c:pt idx="8">
                  <c:v>Taittinger</c:v>
                </c:pt>
              </c:strCache>
            </c:strRef>
          </c:cat>
          <c:val>
            <c:numRef>
              <c:f>Sheet1!$C$2:$C$10</c:f>
              <c:numCache>
                <c:formatCode>General</c:formatCode>
                <c:ptCount val="9"/>
                <c:pt idx="0">
                  <c:v>22.342400000000001</c:v>
                </c:pt>
                <c:pt idx="1">
                  <c:v>37.121600000000001</c:v>
                </c:pt>
                <c:pt idx="2">
                  <c:v>26.3634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All Others</c:v>
                </c:pt>
                <c:pt idx="8">
                  <c:v>Taittinger</c:v>
                </c:pt>
              </c:strCache>
            </c:strRef>
          </c:cat>
          <c:val>
            <c:numRef>
              <c:f>Sheet1!$D$2:$D$10</c:f>
              <c:numCache>
                <c:formatCode>General</c:formatCode>
                <c:ptCount val="9"/>
                <c:pt idx="0">
                  <c:v>21.731000000000002</c:v>
                </c:pt>
                <c:pt idx="1">
                  <c:v>55.513100000000001</c:v>
                </c:pt>
                <c:pt idx="2">
                  <c:v>45.660200000000003</c:v>
                </c:pt>
                <c:pt idx="3">
                  <c:v>42.587699999999998</c:v>
                </c:pt>
                <c:pt idx="4">
                  <c:v>29.2836</c:v>
                </c:pt>
                <c:pt idx="5">
                  <c:v>30.035399999999999</c:v>
                </c:pt>
                <c:pt idx="6">
                  <c:v>36.992400000000004</c:v>
                </c:pt>
                <c:pt idx="7">
                  <c:v>38.301200000000001</c:v>
                </c:pt>
                <c:pt idx="8">
                  <c:v>45.6163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De Bligny</c:v>
                </c:pt>
                <c:pt idx="8">
                  <c:v>All Others</c:v>
                </c:pt>
              </c:strCache>
            </c:strRef>
          </c:cat>
          <c:val>
            <c:numRef>
              <c:f>Sheet1!$B$2:$B$10</c:f>
              <c:numCache>
                <c:formatCode>General</c:formatCode>
                <c:ptCount val="9"/>
                <c:pt idx="0">
                  <c:v>51.976599999999998</c:v>
                </c:pt>
                <c:pt idx="1">
                  <c:v>136.3963</c:v>
                </c:pt>
                <c:pt idx="2">
                  <c:v>92.814400000000006</c:v>
                </c:pt>
                <c:pt idx="3">
                  <c:v>84.5776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De Bligny</c:v>
                </c:pt>
                <c:pt idx="8">
                  <c:v>All Others</c:v>
                </c:pt>
              </c:strCache>
            </c:strRef>
          </c:cat>
          <c:val>
            <c:numRef>
              <c:f>Sheet1!$C$2:$C$10</c:f>
              <c:numCache>
                <c:formatCode>General</c:formatCode>
                <c:ptCount val="9"/>
                <c:pt idx="0">
                  <c:v>22.316099999999999</c:v>
                </c:pt>
                <c:pt idx="1">
                  <c:v>37.0779</c:v>
                </c:pt>
                <c:pt idx="2">
                  <c:v>26.4560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Ayala</c:v>
                </c:pt>
                <c:pt idx="6">
                  <c:v>Canard Duchêne</c:v>
                </c:pt>
                <c:pt idx="7">
                  <c:v>De Bligny</c:v>
                </c:pt>
                <c:pt idx="8">
                  <c:v>All Others</c:v>
                </c:pt>
              </c:strCache>
            </c:strRef>
          </c:cat>
          <c:val>
            <c:numRef>
              <c:f>Sheet1!$D$2:$D$10</c:f>
              <c:numCache>
                <c:formatCode>General</c:formatCode>
                <c:ptCount val="9"/>
                <c:pt idx="0">
                  <c:v>21.8247</c:v>
                </c:pt>
                <c:pt idx="1">
                  <c:v>55.451900000000002</c:v>
                </c:pt>
                <c:pt idx="2">
                  <c:v>46.287599999999998</c:v>
                </c:pt>
                <c:pt idx="3">
                  <c:v>43.3917</c:v>
                </c:pt>
                <c:pt idx="4">
                  <c:v>29.253399999999999</c:v>
                </c:pt>
                <c:pt idx="5">
                  <c:v>37.168799999999997</c:v>
                </c:pt>
                <c:pt idx="6">
                  <c:v>30.092099999999999</c:v>
                </c:pt>
                <c:pt idx="7">
                  <c:v>30.159199999999998</c:v>
                </c:pt>
                <c:pt idx="8">
                  <c:v>36.8132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De Bligny</c:v>
                </c:pt>
                <c:pt idx="6">
                  <c:v>Canard Duchêne</c:v>
                </c:pt>
                <c:pt idx="7">
                  <c:v>All Others</c:v>
                </c:pt>
                <c:pt idx="8">
                  <c:v>Ayala</c:v>
                </c:pt>
              </c:strCache>
            </c:strRef>
          </c:cat>
          <c:val>
            <c:numRef>
              <c:f>Sheet1!$B$2:$B$10</c:f>
              <c:numCache>
                <c:formatCode>General</c:formatCode>
                <c:ptCount val="9"/>
                <c:pt idx="0">
                  <c:v>52.118499999999997</c:v>
                </c:pt>
                <c:pt idx="1">
                  <c:v>136.61070000000001</c:v>
                </c:pt>
                <c:pt idx="2">
                  <c:v>93.204499999999996</c:v>
                </c:pt>
                <c:pt idx="3">
                  <c:v>85.5998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De Bligny</c:v>
                </c:pt>
                <c:pt idx="6">
                  <c:v>Canard Duchêne</c:v>
                </c:pt>
                <c:pt idx="7">
                  <c:v>All Others</c:v>
                </c:pt>
                <c:pt idx="8">
                  <c:v>Ayala</c:v>
                </c:pt>
              </c:strCache>
            </c:strRef>
          </c:cat>
          <c:val>
            <c:numRef>
              <c:f>Sheet1!$C$2:$C$10</c:f>
              <c:numCache>
                <c:formatCode>General</c:formatCode>
                <c:ptCount val="9"/>
                <c:pt idx="0">
                  <c:v>22.3065</c:v>
                </c:pt>
                <c:pt idx="1">
                  <c:v>36.965200000000003</c:v>
                </c:pt>
                <c:pt idx="2">
                  <c:v>26.14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De Bligny</c:v>
                </c:pt>
                <c:pt idx="6">
                  <c:v>Canard Duchêne</c:v>
                </c:pt>
                <c:pt idx="7">
                  <c:v>All Others</c:v>
                </c:pt>
                <c:pt idx="8">
                  <c:v>Ayala</c:v>
                </c:pt>
              </c:strCache>
            </c:strRef>
          </c:cat>
          <c:val>
            <c:numRef>
              <c:f>Sheet1!$D$2:$D$10</c:f>
              <c:numCache>
                <c:formatCode>General</c:formatCode>
                <c:ptCount val="9"/>
                <c:pt idx="0">
                  <c:v>21.958600000000001</c:v>
                </c:pt>
                <c:pt idx="1">
                  <c:v>55.228000000000002</c:v>
                </c:pt>
                <c:pt idx="2">
                  <c:v>46.071199999999997</c:v>
                </c:pt>
                <c:pt idx="3">
                  <c:v>43.133299999999998</c:v>
                </c:pt>
                <c:pt idx="4">
                  <c:v>29.312200000000001</c:v>
                </c:pt>
                <c:pt idx="5">
                  <c:v>30.2136</c:v>
                </c:pt>
                <c:pt idx="6">
                  <c:v>30.767099999999999</c:v>
                </c:pt>
                <c:pt idx="7">
                  <c:v>37.779499999999999</c:v>
                </c:pt>
                <c:pt idx="8">
                  <c:v>37.33489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De Bligny</c:v>
                </c:pt>
                <c:pt idx="8">
                  <c:v>Taittinger</c:v>
                </c:pt>
              </c:strCache>
            </c:strRef>
          </c:cat>
          <c:val>
            <c:numRef>
              <c:f>Sheet1!$B$2:$B$10</c:f>
              <c:numCache>
                <c:formatCode>General</c:formatCode>
                <c:ptCount val="9"/>
                <c:pt idx="0">
                  <c:v>52.064900000000002</c:v>
                </c:pt>
                <c:pt idx="1">
                  <c:v>137.06360000000001</c:v>
                </c:pt>
                <c:pt idx="2">
                  <c:v>93.251199999999997</c:v>
                </c:pt>
                <c:pt idx="3">
                  <c:v>85.131500000000003</c:v>
                </c:pt>
                <c:pt idx="5">
                  <c:v>64.046599999999998</c:v>
                </c:pt>
                <c:pt idx="8">
                  <c:v>91.69700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De Bligny</c:v>
                </c:pt>
                <c:pt idx="8">
                  <c:v>Taittinger</c:v>
                </c:pt>
              </c:strCache>
            </c:strRef>
          </c:cat>
          <c:val>
            <c:numRef>
              <c:f>Sheet1!$C$2:$C$10</c:f>
              <c:numCache>
                <c:formatCode>General</c:formatCode>
                <c:ptCount val="9"/>
                <c:pt idx="0">
                  <c:v>22.4194</c:v>
                </c:pt>
                <c:pt idx="1">
                  <c:v>36.843200000000003</c:v>
                </c:pt>
                <c:pt idx="2">
                  <c:v>26.393699999999999</c:v>
                </c:pt>
                <c:pt idx="5">
                  <c:v>19.3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Heidsieck &amp; Co Monopole</c:v>
                </c:pt>
                <c:pt idx="5">
                  <c:v>Canard Duchêne</c:v>
                </c:pt>
                <c:pt idx="6">
                  <c:v>Ayala</c:v>
                </c:pt>
                <c:pt idx="7">
                  <c:v>De Bligny</c:v>
                </c:pt>
                <c:pt idx="8">
                  <c:v>Taittinger</c:v>
                </c:pt>
              </c:strCache>
            </c:strRef>
          </c:cat>
          <c:val>
            <c:numRef>
              <c:f>Sheet1!$D$2:$D$10</c:f>
              <c:numCache>
                <c:formatCode>General</c:formatCode>
                <c:ptCount val="9"/>
                <c:pt idx="0">
                  <c:v>21.851199999999999</c:v>
                </c:pt>
                <c:pt idx="1">
                  <c:v>55.0565</c:v>
                </c:pt>
                <c:pt idx="2">
                  <c:v>46.1113</c:v>
                </c:pt>
                <c:pt idx="3">
                  <c:v>43.48</c:v>
                </c:pt>
                <c:pt idx="4">
                  <c:v>29.232500000000002</c:v>
                </c:pt>
                <c:pt idx="5">
                  <c:v>31.1313</c:v>
                </c:pt>
                <c:pt idx="6">
                  <c:v>37.381700000000002</c:v>
                </c:pt>
                <c:pt idx="7">
                  <c:v>30.294499999999999</c:v>
                </c:pt>
                <c:pt idx="8">
                  <c:v>45.4592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8.6774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084000000000003</c:v>
                </c:pt>
                <c:pt idx="1">
                  <c:v>29.5609</c:v>
                </c:pt>
                <c:pt idx="2">
                  <c:v>30.4114</c:v>
                </c:pt>
                <c:pt idx="3">
                  <c:v>31.2566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082-45F6-94CC-0DD99B8F2A78}"/>
                </c:ext>
              </c:extLst>
            </c:dLbl>
            <c:dLbl>
              <c:idx val="1"/>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082-45F6-94CC-0DD99B8F2A78}"/>
                </c:ext>
              </c:extLst>
            </c:dLbl>
            <c:dLbl>
              <c:idx val="2"/>
              <c:tx>
                <c:rich>
                  <a:bodyPr/>
                  <a:lstStyle/>
                  <a:p>
                    <a:r>
                      <a:t>46.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082-45F6-94CC-0DD99B8F2A78}"/>
                </c:ext>
              </c:extLst>
            </c:dLbl>
            <c:dLbl>
              <c:idx val="3"/>
              <c:tx>
                <c:rich>
                  <a:bodyPr/>
                  <a:lstStyle/>
                  <a:p>
                    <a:r>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082-45F6-94CC-0DD99B8F2A78}"/>
                </c:ext>
              </c:extLst>
            </c:dLbl>
            <c:dLbl>
              <c:idx val="4"/>
              <c:tx>
                <c:rich>
                  <a:bodyPr/>
                  <a:lstStyle/>
                  <a:p>
                    <a:r>
                      <a:t>4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082-45F6-94CC-0DD99B8F2A78}"/>
                </c:ext>
              </c:extLst>
            </c:dLbl>
            <c:dLbl>
              <c:idx val="5"/>
              <c:tx>
                <c:rich>
                  <a:bodyPr/>
                  <a:lstStyle/>
                  <a:p>
                    <a:r>
                      <a:t>74.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082-45F6-94CC-0DD99B8F2A78}"/>
                </c:ext>
              </c:extLst>
            </c:dLbl>
            <c:dLbl>
              <c:idx val="6"/>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082-45F6-94CC-0DD99B8F2A78}"/>
                </c:ext>
              </c:extLst>
            </c:dLbl>
            <c:dLbl>
              <c:idx val="7"/>
              <c:tx>
                <c:rich>
                  <a:bodyPr/>
                  <a:lstStyle/>
                  <a:p>
                    <a:r>
                      <a:t>23.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082-45F6-94CC-0DD99B8F2A78}"/>
                </c:ext>
              </c:extLst>
            </c:dLbl>
            <c:dLbl>
              <c:idx val="8"/>
              <c:tx>
                <c:rich>
                  <a:bodyPr/>
                  <a:lstStyle/>
                  <a:p>
                    <a:r>
                      <a:t>88.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082-45F6-94CC-0DD99B8F2A78}"/>
                </c:ext>
              </c:extLst>
            </c:dLbl>
            <c:dLbl>
              <c:idx val="9"/>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082-45F6-94CC-0DD99B8F2A78}"/>
                </c:ext>
              </c:extLst>
            </c:dLbl>
            <c:dLbl>
              <c:idx val="10"/>
              <c:tx>
                <c:rich>
                  <a:bodyPr/>
                  <a:lstStyle/>
                  <a:p>
                    <a:r>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082-45F6-94CC-0DD99B8F2A78}"/>
                </c:ext>
              </c:extLst>
            </c:dLbl>
            <c:dLbl>
              <c:idx val="11"/>
              <c:tx>
                <c:rich>
                  <a:bodyPr/>
                  <a:lstStyle/>
                  <a:p>
                    <a:r>
                      <a:t>2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082-45F6-94CC-0DD99B8F2A78}"/>
                </c:ext>
              </c:extLst>
            </c:dLbl>
            <c:dLbl>
              <c:idx val="12"/>
              <c:tx>
                <c:rich>
                  <a:bodyPr/>
                  <a:lstStyle/>
                  <a:p>
                    <a:r>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082-45F6-94CC-0DD99B8F2A78}"/>
                </c:ext>
              </c:extLst>
            </c:dLbl>
            <c:dLbl>
              <c:idx val="13"/>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082-45F6-94CC-0DD99B8F2A78}"/>
                </c:ext>
              </c:extLst>
            </c:dLbl>
            <c:dLbl>
              <c:idx val="14"/>
              <c:tx>
                <c:rich>
                  <a:bodyPr/>
                  <a:lstStyle/>
                  <a:p>
                    <a:r>
                      <a:t>3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082-45F6-94CC-0DD99B8F2A7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92</c:v>
                </c:pt>
                <c:pt idx="1">
                  <c:v>36.99</c:v>
                </c:pt>
                <c:pt idx="2">
                  <c:v>46.02</c:v>
                </c:pt>
                <c:pt idx="3">
                  <c:v>22.24</c:v>
                </c:pt>
                <c:pt idx="4">
                  <c:v>46.62</c:v>
                </c:pt>
                <c:pt idx="5">
                  <c:v>74.069999999999993</c:v>
                </c:pt>
                <c:pt idx="6">
                  <c:v>39</c:v>
                </c:pt>
                <c:pt idx="7">
                  <c:v>23.89</c:v>
                </c:pt>
                <c:pt idx="8">
                  <c:v>88.11</c:v>
                </c:pt>
                <c:pt idx="9">
                  <c:v>25</c:v>
                </c:pt>
                <c:pt idx="10">
                  <c:v>41.37</c:v>
                </c:pt>
                <c:pt idx="11">
                  <c:v>23.95</c:v>
                </c:pt>
                <c:pt idx="12">
                  <c:v>41.36</c:v>
                </c:pt>
                <c:pt idx="13">
                  <c:v>37.090000000000003</c:v>
                </c:pt>
                <c:pt idx="14">
                  <c:v>36.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3.3406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211100000000002</c:v>
                </c:pt>
                <c:pt idx="1">
                  <c:v>29.6005</c:v>
                </c:pt>
                <c:pt idx="2">
                  <c:v>30.4802</c:v>
                </c:pt>
                <c:pt idx="3">
                  <c:v>31.513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0.3529000000000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3825</c:v>
                </c:pt>
                <c:pt idx="1">
                  <c:v>29.6553</c:v>
                </c:pt>
                <c:pt idx="2">
                  <c:v>30.398399999999999</c:v>
                </c:pt>
                <c:pt idx="3">
                  <c:v>31.3996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6.0455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1.857700000000001</c:v>
                </c:pt>
                <c:pt idx="1">
                  <c:v>29.4084</c:v>
                </c:pt>
                <c:pt idx="2">
                  <c:v>30.382000000000001</c:v>
                </c:pt>
                <c:pt idx="3">
                  <c:v>31.2542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4.914099999999998</c:v>
                </c:pt>
                <c:pt idx="1">
                  <c:v>29.729199999999999</c:v>
                </c:pt>
                <c:pt idx="2">
                  <c:v>30.648199999999999</c:v>
                </c:pt>
                <c:pt idx="3">
                  <c:v>31.51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4.25</c:v>
                </c:pt>
                <c:pt idx="1">
                  <c:v>29.914100000000001</c:v>
                </c:pt>
                <c:pt idx="2">
                  <c:v>30.693300000000001</c:v>
                </c:pt>
                <c:pt idx="3">
                  <c:v>31.771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6.833300000000001</c:v>
                </c:pt>
                <c:pt idx="1">
                  <c:v>29.4651</c:v>
                </c:pt>
                <c:pt idx="2">
                  <c:v>30.619399999999999</c:v>
                </c:pt>
                <c:pt idx="3">
                  <c:v>32.5379999999999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9.5806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383499999999998</c:v>
                </c:pt>
                <c:pt idx="1">
                  <c:v>29.6662</c:v>
                </c:pt>
                <c:pt idx="2">
                  <c:v>30.448499999999999</c:v>
                </c:pt>
                <c:pt idx="3">
                  <c:v>31.3524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colas</c:v>
                </c:pt>
                <c:pt idx="1">
                  <c:v>Malard</c:v>
                </c:pt>
                <c:pt idx="2">
                  <c:v>Vesselle</c:v>
                </c:pt>
                <c:pt idx="3">
                  <c:v>Louis Martin</c:v>
                </c:pt>
                <c:pt idx="4">
                  <c:v>All Others</c:v>
                </c:pt>
              </c:strCache>
            </c:strRef>
          </c:cat>
          <c:val>
            <c:numRef>
              <c:f>Sheet1!$B$2:$B$6</c:f>
              <c:numCache>
                <c:formatCode>General</c:formatCode>
                <c:ptCount val="5"/>
                <c:pt idx="0">
                  <c:v>1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colas</c:v>
                </c:pt>
                <c:pt idx="1">
                  <c:v>Malard</c:v>
                </c:pt>
                <c:pt idx="2">
                  <c:v>Vesselle</c:v>
                </c:pt>
                <c:pt idx="3">
                  <c:v>Louis Martin</c:v>
                </c:pt>
                <c:pt idx="4">
                  <c:v>All Others</c:v>
                </c:pt>
              </c:strCache>
            </c:strRef>
          </c:cat>
          <c:val>
            <c:numRef>
              <c:f>Sheet1!$C$2:$C$6</c:f>
              <c:numCache>
                <c:formatCode>General</c:formatCode>
                <c:ptCount val="5"/>
                <c:pt idx="0">
                  <c:v>34.108800000000002</c:v>
                </c:pt>
                <c:pt idx="1">
                  <c:v>29.3569</c:v>
                </c:pt>
                <c:pt idx="2">
                  <c:v>30.4191</c:v>
                </c:pt>
                <c:pt idx="3">
                  <c:v>31.601700000000001</c:v>
                </c:pt>
                <c:pt idx="4">
                  <c:v>55.7045000000000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5.613999999999997</c:v>
                </c:pt>
                <c:pt idx="1">
                  <c:v>29.557700000000001</c:v>
                </c:pt>
                <c:pt idx="2">
                  <c:v>30.572399999999998</c:v>
                </c:pt>
                <c:pt idx="3">
                  <c:v>32.2267999999999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Louis Martin</c:v>
                </c:pt>
                <c:pt idx="3">
                  <c:v>Vesselle</c:v>
                </c:pt>
              </c:strCache>
            </c:strRef>
          </c:cat>
          <c:val>
            <c:numRef>
              <c:f>Sheet1!$B$2:$B$5</c:f>
              <c:numCache>
                <c:formatCode>General</c:formatCode>
                <c:ptCount val="4"/>
                <c:pt idx="0">
                  <c:v>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Louis Martin</c:v>
                </c:pt>
                <c:pt idx="3">
                  <c:v>Vesselle</c:v>
                </c:pt>
              </c:strCache>
            </c:strRef>
          </c:cat>
          <c:val>
            <c:numRef>
              <c:f>Sheet1!$C$2:$C$5</c:f>
              <c:numCache>
                <c:formatCode>General</c:formatCode>
                <c:ptCount val="4"/>
                <c:pt idx="0">
                  <c:v>34.430799999999998</c:v>
                </c:pt>
                <c:pt idx="1">
                  <c:v>29.436900000000001</c:v>
                </c:pt>
                <c:pt idx="2">
                  <c:v>31.312200000000001</c:v>
                </c:pt>
                <c:pt idx="3">
                  <c:v>30.6588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4C2-4FDF-92E1-A9673E172764}"/>
                </c:ext>
              </c:extLst>
            </c:dLbl>
            <c:dLbl>
              <c:idx val="1"/>
              <c:tx>
                <c:rich>
                  <a:bodyPr/>
                  <a:lstStyle/>
                  <a:p>
                    <a:r>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4C2-4FDF-92E1-A9673E172764}"/>
                </c:ext>
              </c:extLst>
            </c:dLbl>
            <c:dLbl>
              <c:idx val="2"/>
              <c:tx>
                <c:rich>
                  <a:bodyPr/>
                  <a:lstStyle/>
                  <a:p>
                    <a:r>
                      <a:t>4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4C2-4FDF-92E1-A9673E172764}"/>
                </c:ext>
              </c:extLst>
            </c:dLbl>
            <c:dLbl>
              <c:idx val="3"/>
              <c:tx>
                <c:rich>
                  <a:bodyPr/>
                  <a:lstStyle/>
                  <a:p>
                    <a:r>
                      <a:t>2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4C2-4FDF-92E1-A9673E172764}"/>
                </c:ext>
              </c:extLst>
            </c:dLbl>
            <c:dLbl>
              <c:idx val="4"/>
              <c:tx>
                <c:rich>
                  <a:bodyPr/>
                  <a:lstStyle/>
                  <a:p>
                    <a:r>
                      <a:t>4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4C2-4FDF-92E1-A9673E172764}"/>
                </c:ext>
              </c:extLst>
            </c:dLbl>
            <c:dLbl>
              <c:idx val="5"/>
              <c:tx>
                <c:rich>
                  <a:bodyPr/>
                  <a:lstStyle/>
                  <a:p>
                    <a:r>
                      <a:t>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4C2-4FDF-92E1-A9673E172764}"/>
                </c:ext>
              </c:extLst>
            </c:dLbl>
            <c:dLbl>
              <c:idx val="6"/>
              <c:tx>
                <c:rich>
                  <a:bodyPr/>
                  <a:lstStyle/>
                  <a:p>
                    <a:r>
                      <a:t>77.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4C2-4FDF-92E1-A9673E172764}"/>
                </c:ext>
              </c:extLst>
            </c:dLbl>
            <c:dLbl>
              <c:idx val="7"/>
              <c:tx>
                <c:rich>
                  <a:bodyPr/>
                  <a:lstStyle/>
                  <a:p>
                    <a:r>
                      <a:t>2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4C2-4FDF-92E1-A9673E172764}"/>
                </c:ext>
              </c:extLst>
            </c:dLbl>
            <c:dLbl>
              <c:idx val="8"/>
              <c:tx>
                <c:rich>
                  <a:bodyPr/>
                  <a:lstStyle/>
                  <a:p>
                    <a:r>
                      <a:t>2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4C2-4FDF-92E1-A9673E172764}"/>
                </c:ext>
              </c:extLst>
            </c:dLbl>
            <c:dLbl>
              <c:idx val="9"/>
              <c:tx>
                <c:rich>
                  <a:bodyPr/>
                  <a:lstStyle/>
                  <a:p>
                    <a:r>
                      <a:t>4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4C2-4FDF-92E1-A9673E172764}"/>
                </c:ext>
              </c:extLst>
            </c:dLbl>
            <c:dLbl>
              <c:idx val="10"/>
              <c:tx>
                <c:rich>
                  <a:bodyPr/>
                  <a:lstStyle/>
                  <a:p>
                    <a:r>
                      <a:t>38.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4C2-4FDF-92E1-A9673E17276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CHAMPAGNE NICOLAS BLC/BLC BS 1CT X 750ML</c:v>
                </c:pt>
                <c:pt idx="6">
                  <c:v>MG CHAMPAGNE NICOLAS BLC/BL BS 1CT X 1500ML</c:v>
                </c:pt>
                <c:pt idx="7">
                  <c:v>1/2 CHAMP NICOLAS BLC/BLC BS 1CT X 375ML</c:v>
                </c:pt>
                <c:pt idx="8">
                  <c:v>CHAMPAGNE E.NICOLAS ROSE 1CT X 750ML</c:v>
                </c:pt>
                <c:pt idx="9">
                  <c:v>CHAMPAGNE NICOLAS ROSE 1ERE CU 1CT X 750ML</c:v>
                </c:pt>
                <c:pt idx="10">
                  <c:v>CHAMPAGNE NICOLAS BLC DE NOIRS 1CT X 750ML</c:v>
                </c:pt>
              </c:strCache>
            </c:strRef>
          </c:cat>
          <c:val>
            <c:numRef>
              <c:f>Sheet1!$B$2:$B$12</c:f>
              <c:numCache>
                <c:formatCode>General</c:formatCode>
                <c:ptCount val="11"/>
                <c:pt idx="0">
                  <c:v>21.92</c:v>
                </c:pt>
                <c:pt idx="1">
                  <c:v>37.29</c:v>
                </c:pt>
                <c:pt idx="2">
                  <c:v>44.86</c:v>
                </c:pt>
                <c:pt idx="3">
                  <c:v>22.42</c:v>
                </c:pt>
                <c:pt idx="4">
                  <c:v>48.33</c:v>
                </c:pt>
                <c:pt idx="5">
                  <c:v>39.200000000000003</c:v>
                </c:pt>
                <c:pt idx="6">
                  <c:v>77.790000000000006</c:v>
                </c:pt>
                <c:pt idx="7">
                  <c:v>24.38</c:v>
                </c:pt>
                <c:pt idx="8">
                  <c:v>25.16</c:v>
                </c:pt>
                <c:pt idx="9">
                  <c:v>40.729999999999997</c:v>
                </c:pt>
                <c:pt idx="10">
                  <c:v>38.8800000000000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8.093800000000002</c:v>
                </c:pt>
                <c:pt idx="1">
                  <c:v>29.215199999999999</c:v>
                </c:pt>
                <c:pt idx="2">
                  <c:v>30.151700000000002</c:v>
                </c:pt>
                <c:pt idx="3">
                  <c:v>31.9952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5.31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569299999999998</c:v>
                </c:pt>
                <c:pt idx="1">
                  <c:v>29.531199999999998</c:v>
                </c:pt>
                <c:pt idx="2">
                  <c:v>30.371099999999998</c:v>
                </c:pt>
                <c:pt idx="3">
                  <c:v>31.2144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9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351100000000002</c:v>
                </c:pt>
                <c:pt idx="1">
                  <c:v>29.617699999999999</c:v>
                </c:pt>
                <c:pt idx="2">
                  <c:v>30.427199999999999</c:v>
                </c:pt>
                <c:pt idx="3">
                  <c:v>31.3746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9.4544999999999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3.873699999999999</c:v>
                </c:pt>
                <c:pt idx="1">
                  <c:v>29.588699999999999</c:v>
                </c:pt>
                <c:pt idx="2">
                  <c:v>30.354199999999999</c:v>
                </c:pt>
                <c:pt idx="3">
                  <c:v>31.3440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3.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2.884599999999999</c:v>
                </c:pt>
                <c:pt idx="1">
                  <c:v>29.644600000000001</c:v>
                </c:pt>
                <c:pt idx="2">
                  <c:v>30.648399999999999</c:v>
                </c:pt>
                <c:pt idx="3">
                  <c:v>31.49919999999999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c:v>
                </c:pt>
                <c:pt idx="1">
                  <c:v>Malard</c:v>
                </c:pt>
                <c:pt idx="2">
                  <c:v>Vesselle</c:v>
                </c:pt>
                <c:pt idx="3">
                  <c:v>Louis Martin</c:v>
                </c:pt>
              </c:strCache>
            </c:strRef>
          </c:cat>
          <c:val>
            <c:numRef>
              <c:f>Sheet1!$B$2:$B$5</c:f>
              <c:numCache>
                <c:formatCode>General</c:formatCode>
                <c:ptCount val="4"/>
                <c:pt idx="0">
                  <c:v>82.9688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colas</c:v>
                </c:pt>
                <c:pt idx="1">
                  <c:v>Malard</c:v>
                </c:pt>
                <c:pt idx="2">
                  <c:v>Vesselle</c:v>
                </c:pt>
                <c:pt idx="3">
                  <c:v>Louis Martin</c:v>
                </c:pt>
              </c:strCache>
            </c:strRef>
          </c:cat>
          <c:val>
            <c:numRef>
              <c:f>Sheet1!$C$2:$C$5</c:f>
              <c:numCache>
                <c:formatCode>General</c:formatCode>
                <c:ptCount val="4"/>
                <c:pt idx="0">
                  <c:v>31.593699999999998</c:v>
                </c:pt>
                <c:pt idx="1">
                  <c:v>29.6189</c:v>
                </c:pt>
                <c:pt idx="2">
                  <c:v>30.450399999999998</c:v>
                </c:pt>
                <c:pt idx="3">
                  <c:v>31.9418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anard Duchêne</c:v>
                </c:pt>
                <c:pt idx="1">
                  <c:v>Nicolas Feuillatte</c:v>
                </c:pt>
                <c:pt idx="2">
                  <c:v>Moët &amp; Chandon</c:v>
                </c:pt>
              </c:strCache>
            </c:strRef>
          </c:cat>
          <c:val>
            <c:numRef>
              <c:f>Sheet1!$B$2:$B$4</c:f>
              <c:numCache>
                <c:formatCode>General</c:formatCode>
                <c:ptCount val="3"/>
                <c:pt idx="0">
                  <c:v>30.164100000000001</c:v>
                </c:pt>
                <c:pt idx="1">
                  <c:v>31.168800000000001</c:v>
                </c:pt>
                <c:pt idx="2">
                  <c:v>43.22979999999999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206</c:v>
                </c:pt>
                <c:pt idx="1">
                  <c:v>43.504300000000001</c:v>
                </c:pt>
                <c:pt idx="2">
                  <c:v>39.13089999999999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Canard Duchêne</c:v>
                </c:pt>
              </c:strCache>
            </c:strRef>
          </c:cat>
          <c:val>
            <c:numRef>
              <c:f>Sheet1!$B$2:$B$2</c:f>
              <c:numCache>
                <c:formatCode>General</c:formatCode>
                <c:ptCount val="1"/>
                <c:pt idx="0">
                  <c:v>30.079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183</c:v>
                </c:pt>
                <c:pt idx="1">
                  <c:v>43.559199999999997</c:v>
                </c:pt>
                <c:pt idx="2">
                  <c:v>38.4690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D2A-417E-B8CD-915CD2F4BCD2}"/>
                </c:ext>
              </c:extLst>
            </c:dLbl>
            <c:dLbl>
              <c:idx val="1"/>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D2A-417E-B8CD-915CD2F4BCD2}"/>
                </c:ext>
              </c:extLst>
            </c:dLbl>
            <c:dLbl>
              <c:idx val="2"/>
              <c:tx>
                <c:rich>
                  <a:bodyPr/>
                  <a:lstStyle/>
                  <a:p>
                    <a:r>
                      <a:t>4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D2A-417E-B8CD-915CD2F4BCD2}"/>
                </c:ext>
              </c:extLst>
            </c:dLbl>
            <c:dLbl>
              <c:idx val="3"/>
              <c:tx>
                <c:rich>
                  <a:bodyPr/>
                  <a:lstStyle/>
                  <a:p>
                    <a:r>
                      <a:t>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D2A-417E-B8CD-915CD2F4BCD2}"/>
                </c:ext>
              </c:extLst>
            </c:dLbl>
            <c:dLbl>
              <c:idx val="4"/>
              <c:tx>
                <c:rich>
                  <a:bodyPr/>
                  <a:lstStyle/>
                  <a:p>
                    <a:r>
                      <a:t>42.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D2A-417E-B8CD-915CD2F4BCD2}"/>
                </c:ext>
              </c:extLst>
            </c:dLbl>
            <c:dLbl>
              <c:idx val="5"/>
              <c:tx>
                <c:rich>
                  <a:bodyPr/>
                  <a:lstStyle/>
                  <a:p>
                    <a:r>
                      <a:t>3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D2A-417E-B8CD-915CD2F4BCD2}"/>
                </c:ext>
              </c:extLst>
            </c:dLbl>
            <c:dLbl>
              <c:idx val="6"/>
              <c:tx>
                <c:rich>
                  <a:bodyPr/>
                  <a:lstStyle/>
                  <a:p>
                    <a:r>
                      <a:t>3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D2A-417E-B8CD-915CD2F4BCD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MG CHAMPAGNE E.NICOLAS BRUT 1CT X 1500ML</c:v>
                </c:pt>
                <c:pt idx="3">
                  <c:v>CHAMPAGNE E.NICOLAS ROSE 1CT X 750ML</c:v>
                </c:pt>
                <c:pt idx="4">
                  <c:v>CHAMPAGNE NICOLAS ROSE 1ERE CU 1CT X 750ML</c:v>
                </c:pt>
                <c:pt idx="5">
                  <c:v>CHAMPAGNE NICOLAS BLC/BLC BS 1CT X 750ML</c:v>
                </c:pt>
                <c:pt idx="6">
                  <c:v>CHAMPAGNE NICOLAS BLC DE NOIRS 1CT X 750ML</c:v>
                </c:pt>
              </c:strCache>
            </c:strRef>
          </c:cat>
          <c:val>
            <c:numRef>
              <c:f>Sheet1!$B$2:$B$8</c:f>
              <c:numCache>
                <c:formatCode>General</c:formatCode>
                <c:ptCount val="7"/>
                <c:pt idx="0">
                  <c:v>21.94</c:v>
                </c:pt>
                <c:pt idx="1">
                  <c:v>37.090000000000003</c:v>
                </c:pt>
                <c:pt idx="2">
                  <c:v>43.96</c:v>
                </c:pt>
                <c:pt idx="3">
                  <c:v>25.28</c:v>
                </c:pt>
                <c:pt idx="4">
                  <c:v>42.73</c:v>
                </c:pt>
                <c:pt idx="5">
                  <c:v>39.229999999999997</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057600000000001</c:v>
                </c:pt>
                <c:pt idx="1">
                  <c:v>43.201500000000003</c:v>
                </c:pt>
                <c:pt idx="2">
                  <c:v>39.285699999999999</c:v>
                </c:pt>
                <c:pt idx="3">
                  <c:v>37.6154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551100000000002</c:v>
                </c:pt>
                <c:pt idx="1">
                  <c:v>43.418399999999998</c:v>
                </c:pt>
                <c:pt idx="2">
                  <c:v>39.845399999999998</c:v>
                </c:pt>
                <c:pt idx="3">
                  <c:v>45.2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242999999999999</c:v>
                </c:pt>
                <c:pt idx="1">
                  <c:v>42.777900000000002</c:v>
                </c:pt>
                <c:pt idx="2">
                  <c:v>39.964300000000001</c:v>
                </c:pt>
                <c:pt idx="3">
                  <c:v>42.44830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0.879000000000001</c:v>
                </c:pt>
                <c:pt idx="1">
                  <c:v>44.436199999999999</c:v>
                </c:pt>
                <c:pt idx="2">
                  <c:v>41.173900000000003</c:v>
                </c:pt>
                <c:pt idx="3">
                  <c:v>39.38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1982</c:v>
                </c:pt>
                <c:pt idx="1">
                  <c:v>43.2714</c:v>
                </c:pt>
                <c:pt idx="2">
                  <c:v>38.295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259499999999999</c:v>
                </c:pt>
                <c:pt idx="1">
                  <c:v>43.661499999999997</c:v>
                </c:pt>
                <c:pt idx="2">
                  <c:v>42.294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412800000000001</c:v>
                </c:pt>
                <c:pt idx="1">
                  <c:v>44.533299999999997</c:v>
                </c:pt>
                <c:pt idx="2">
                  <c:v>40.75</c:v>
                </c:pt>
                <c:pt idx="3">
                  <c:v>45.6666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644300000000001</c:v>
                </c:pt>
                <c:pt idx="1">
                  <c:v>45.026499999999999</c:v>
                </c:pt>
                <c:pt idx="2">
                  <c:v>41.7</c:v>
                </c:pt>
                <c:pt idx="3">
                  <c:v>41.42860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212</c:v>
                </c:pt>
                <c:pt idx="1">
                  <c:v>43.988500000000002</c:v>
                </c:pt>
                <c:pt idx="2">
                  <c:v>39.526299999999999</c:v>
                </c:pt>
                <c:pt idx="3">
                  <c:v>40.06669999999999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217700000000001</c:v>
                </c:pt>
                <c:pt idx="1">
                  <c:v>43.048900000000003</c:v>
                </c:pt>
                <c:pt idx="2">
                  <c:v>38.286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E70-4D34-8B85-0B62481C65CC}"/>
                </c:ext>
              </c:extLst>
            </c:dLbl>
            <c:dLbl>
              <c:idx val="1"/>
              <c:tx>
                <c:rich>
                  <a:bodyPr/>
                  <a:lstStyle/>
                  <a:p>
                    <a:r>
                      <a:t>3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E70-4D34-8B85-0B62481C65CC}"/>
                </c:ext>
              </c:extLst>
            </c:dLbl>
            <c:dLbl>
              <c:idx val="2"/>
              <c:tx>
                <c:rich>
                  <a:bodyPr/>
                  <a:lstStyle/>
                  <a:p>
                    <a:r>
                      <a:t>25.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E70-4D34-8B85-0B62481C65CC}"/>
                </c:ext>
              </c:extLst>
            </c:dLbl>
            <c:dLbl>
              <c:idx val="3"/>
              <c:tx>
                <c:rich>
                  <a:bodyPr/>
                  <a:lstStyle/>
                  <a:p>
                    <a:r>
                      <a:t>3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E70-4D34-8B85-0B62481C65CC}"/>
                </c:ext>
              </c:extLst>
            </c:dLbl>
            <c:dLbl>
              <c:idx val="4"/>
              <c:tx>
                <c:rich>
                  <a:bodyPr/>
                  <a:lstStyle/>
                  <a:p>
                    <a:r>
                      <a:t>38.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E70-4D34-8B85-0B62481C65C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NICOLAS 1ERE CUVEE 1CT X 750ML</c:v>
                </c:pt>
                <c:pt idx="2">
                  <c:v>CHAMPAGNE E.NICOLAS ROSE 1CT X 750ML</c:v>
                </c:pt>
                <c:pt idx="3">
                  <c:v>CHAMPAGNE NICOLAS ROSE 1ERE CU 1CT X 750ML</c:v>
                </c:pt>
                <c:pt idx="4">
                  <c:v>CHAMPAGNE NICOLAS BLC/BLC BS 1CT X 750ML</c:v>
                </c:pt>
              </c:strCache>
            </c:strRef>
          </c:cat>
          <c:val>
            <c:numRef>
              <c:f>Sheet1!$B$2:$B$6</c:f>
              <c:numCache>
                <c:formatCode>General</c:formatCode>
                <c:ptCount val="5"/>
                <c:pt idx="0">
                  <c:v>21.91</c:v>
                </c:pt>
                <c:pt idx="1">
                  <c:v>36.64</c:v>
                </c:pt>
                <c:pt idx="2">
                  <c:v>25.19</c:v>
                </c:pt>
                <c:pt idx="3">
                  <c:v>36</c:v>
                </c:pt>
                <c:pt idx="4">
                  <c:v>3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colas Feuillatte</c:v>
                </c:pt>
                <c:pt idx="1">
                  <c:v>Moët &amp; Chandon</c:v>
                </c:pt>
                <c:pt idx="2">
                  <c:v>Canard Duchêne</c:v>
                </c:pt>
              </c:strCache>
            </c:strRef>
          </c:cat>
          <c:val>
            <c:numRef>
              <c:f>Sheet1!$B$2:$B$4</c:f>
              <c:numCache>
                <c:formatCode>General</c:formatCode>
                <c:ptCount val="3"/>
                <c:pt idx="0">
                  <c:v>31.130199999999999</c:v>
                </c:pt>
                <c:pt idx="1">
                  <c:v>43.843800000000002</c:v>
                </c:pt>
                <c:pt idx="2">
                  <c:v>41.388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094999999999999</c:v>
                </c:pt>
                <c:pt idx="1">
                  <c:v>43.808300000000003</c:v>
                </c:pt>
                <c:pt idx="2">
                  <c:v>38.920200000000001</c:v>
                </c:pt>
                <c:pt idx="3">
                  <c:v>38.67649999999999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053699999999999</c:v>
                </c:pt>
                <c:pt idx="1">
                  <c:v>43.280700000000003</c:v>
                </c:pt>
                <c:pt idx="2">
                  <c:v>39.226999999999997</c:v>
                </c:pt>
                <c:pt idx="3">
                  <c:v>40.18460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colas Feuillatte</c:v>
                </c:pt>
                <c:pt idx="1">
                  <c:v>Moët &amp; Chandon</c:v>
                </c:pt>
                <c:pt idx="2">
                  <c:v>Canard Duchêne</c:v>
                </c:pt>
                <c:pt idx="3">
                  <c:v>Piper Heidsieck</c:v>
                </c:pt>
              </c:strCache>
            </c:strRef>
          </c:cat>
          <c:val>
            <c:numRef>
              <c:f>Sheet1!$B$2:$B$5</c:f>
              <c:numCache>
                <c:formatCode>General</c:formatCode>
                <c:ptCount val="4"/>
                <c:pt idx="0">
                  <c:v>31.4998</c:v>
                </c:pt>
                <c:pt idx="1">
                  <c:v>43.330100000000002</c:v>
                </c:pt>
                <c:pt idx="2">
                  <c:v>39.1479</c:v>
                </c:pt>
                <c:pt idx="3">
                  <c:v>40.11590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Bollinger</c:v>
                </c:pt>
                <c:pt idx="6">
                  <c:v>Moët &amp; Chandon</c:v>
                </c:pt>
                <c:pt idx="7">
                  <c:v>Piper Heidsieck</c:v>
                </c:pt>
                <c:pt idx="8">
                  <c:v>Veuve Clicquot</c:v>
                </c:pt>
              </c:strCache>
            </c:strRef>
          </c:cat>
          <c:val>
            <c:numRef>
              <c:f>Sheet1!$B$2:$B$10</c:f>
              <c:numCache>
                <c:formatCode>General</c:formatCode>
                <c:ptCount val="9"/>
                <c:pt idx="0">
                  <c:v>799.47370000000001</c:v>
                </c:pt>
                <c:pt idx="1">
                  <c:v>7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Laurent Perrier</c:v>
                </c:pt>
                <c:pt idx="5">
                  <c:v>Bollinger</c:v>
                </c:pt>
                <c:pt idx="6">
                  <c:v>Moët &amp; Chandon</c:v>
                </c:pt>
                <c:pt idx="7">
                  <c:v>Piper Heidsieck</c:v>
                </c:pt>
                <c:pt idx="8">
                  <c:v>Veuve Clicquot</c:v>
                </c:pt>
              </c:strCache>
            </c:strRef>
          </c:cat>
          <c:val>
            <c:numRef>
              <c:f>Sheet1!$C$2:$C$10</c:f>
              <c:numCache>
                <c:formatCode>General</c:formatCode>
                <c:ptCount val="9"/>
                <c:pt idx="0">
                  <c:v>257.62819999999999</c:v>
                </c:pt>
                <c:pt idx="1">
                  <c:v>161.8895</c:v>
                </c:pt>
                <c:pt idx="2">
                  <c:v>91.93</c:v>
                </c:pt>
                <c:pt idx="3">
                  <c:v>37.241900000000001</c:v>
                </c:pt>
                <c:pt idx="4">
                  <c:v>65.030100000000004</c:v>
                </c:pt>
                <c:pt idx="5">
                  <c:v>232.976</c:v>
                </c:pt>
                <c:pt idx="6">
                  <c:v>63.533799999999999</c:v>
                </c:pt>
                <c:pt idx="7">
                  <c:v>264.97140000000002</c:v>
                </c:pt>
                <c:pt idx="8">
                  <c:v>205.6494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errier Jouet</c:v>
                </c:pt>
                <c:pt idx="8">
                  <c:v>Veuve Clicquot</c:v>
                </c:pt>
              </c:strCache>
            </c:strRef>
          </c:cat>
          <c:val>
            <c:numRef>
              <c:f>Sheet1!$B$2:$B$10</c:f>
              <c:numCache>
                <c:formatCode>General</c:formatCode>
                <c:ptCount val="9"/>
                <c:pt idx="0">
                  <c:v>799.47370000000001</c:v>
                </c:pt>
                <c:pt idx="1">
                  <c:v>7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errier Jouet</c:v>
                </c:pt>
                <c:pt idx="8">
                  <c:v>Veuve Clicquot</c:v>
                </c:pt>
              </c:strCache>
            </c:strRef>
          </c:cat>
          <c:val>
            <c:numRef>
              <c:f>Sheet1!$C$2:$C$10</c:f>
              <c:numCache>
                <c:formatCode>General</c:formatCode>
                <c:ptCount val="9"/>
                <c:pt idx="0">
                  <c:v>262.53820000000002</c:v>
                </c:pt>
                <c:pt idx="1">
                  <c:v>167.27760000000001</c:v>
                </c:pt>
                <c:pt idx="2">
                  <c:v>94.635300000000001</c:v>
                </c:pt>
                <c:pt idx="3">
                  <c:v>37.6342</c:v>
                </c:pt>
                <c:pt idx="4">
                  <c:v>243.43379999999999</c:v>
                </c:pt>
                <c:pt idx="5">
                  <c:v>64.109499999999997</c:v>
                </c:pt>
                <c:pt idx="6">
                  <c:v>270.57780000000002</c:v>
                </c:pt>
                <c:pt idx="7">
                  <c:v>271.76560000000001</c:v>
                </c:pt>
                <c:pt idx="8">
                  <c:v>201.1047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Moët &amp; Chandon</c:v>
                </c:pt>
                <c:pt idx="1">
                  <c:v>Laurent Perrier</c:v>
                </c:pt>
                <c:pt idx="2">
                  <c:v>Deutz</c:v>
                </c:pt>
              </c:strCache>
            </c:strRef>
          </c:cat>
          <c:val>
            <c:numRef>
              <c:f>Sheet1!$B$2:$B$4</c:f>
              <c:numCache>
                <c:formatCode>General</c:formatCode>
                <c:ptCount val="3"/>
                <c:pt idx="0">
                  <c:v>63.172699999999999</c:v>
                </c:pt>
                <c:pt idx="1">
                  <c:v>72</c:v>
                </c:pt>
                <c:pt idx="2">
                  <c:v>173.1562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Malard</c:v>
                </c:pt>
                <c:pt idx="3">
                  <c:v>Ruinart</c:v>
                </c:pt>
                <c:pt idx="4">
                  <c:v>Laurent Perrier</c:v>
                </c:pt>
                <c:pt idx="5">
                  <c:v>Bollinger</c:v>
                </c:pt>
                <c:pt idx="6">
                  <c:v>Piper Heidsieck</c:v>
                </c:pt>
                <c:pt idx="7">
                  <c:v>Veuve Clicquot</c:v>
                </c:pt>
                <c:pt idx="8">
                  <c:v>Pommery</c:v>
                </c:pt>
              </c:strCache>
            </c:strRef>
          </c:cat>
          <c:val>
            <c:numRef>
              <c:f>Sheet1!$B$2:$B$10</c:f>
              <c:numCache>
                <c:formatCode>General</c:formatCode>
                <c:ptCount val="9"/>
                <c:pt idx="0">
                  <c:v>259.1438</c:v>
                </c:pt>
                <c:pt idx="1">
                  <c:v>154.845</c:v>
                </c:pt>
                <c:pt idx="2">
                  <c:v>37.252499999999998</c:v>
                </c:pt>
                <c:pt idx="3">
                  <c:v>93.597999999999999</c:v>
                </c:pt>
                <c:pt idx="4">
                  <c:v>62.747599999999998</c:v>
                </c:pt>
                <c:pt idx="5">
                  <c:v>254.06059999999999</c:v>
                </c:pt>
                <c:pt idx="6">
                  <c:v>268.13209999999998</c:v>
                </c:pt>
                <c:pt idx="7">
                  <c:v>204.03389999999999</c:v>
                </c:pt>
                <c:pt idx="8">
                  <c:v>226.2856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All Others</c:v>
                </c:pt>
                <c:pt idx="8">
                  <c:v>Perrier Jouet</c:v>
                </c:pt>
              </c:strCache>
            </c:strRef>
          </c:cat>
          <c:val>
            <c:numRef>
              <c:f>Sheet1!$B$2:$B$10</c:f>
              <c:numCache>
                <c:formatCode>General</c:formatCode>
                <c:ptCount val="9"/>
                <c:pt idx="0">
                  <c:v>261.3381</c:v>
                </c:pt>
                <c:pt idx="1">
                  <c:v>161.38929999999999</c:v>
                </c:pt>
                <c:pt idx="2">
                  <c:v>91.686599999999999</c:v>
                </c:pt>
                <c:pt idx="3">
                  <c:v>37.590299999999999</c:v>
                </c:pt>
                <c:pt idx="4">
                  <c:v>219.04169999999999</c:v>
                </c:pt>
                <c:pt idx="5">
                  <c:v>64.075400000000002</c:v>
                </c:pt>
                <c:pt idx="6">
                  <c:v>270.6207</c:v>
                </c:pt>
                <c:pt idx="7">
                  <c:v>116.9063</c:v>
                </c:pt>
                <c:pt idx="8">
                  <c:v>258.7273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Perrier Jouet</c:v>
                </c:pt>
                <c:pt idx="6">
                  <c:v>Laurent Perrier</c:v>
                </c:pt>
                <c:pt idx="7">
                  <c:v>Pommery</c:v>
                </c:pt>
                <c:pt idx="8">
                  <c:v>All Others</c:v>
                </c:pt>
              </c:strCache>
            </c:strRef>
          </c:cat>
          <c:val>
            <c:numRef>
              <c:f>Sheet1!$B$2:$B$10</c:f>
              <c:numCache>
                <c:formatCode>General</c:formatCode>
                <c:ptCount val="9"/>
                <c:pt idx="0">
                  <c:v>758.33330000000001</c:v>
                </c:pt>
                <c:pt idx="1">
                  <c:v>866.133299999999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Bollinger</c:v>
                </c:pt>
                <c:pt idx="5">
                  <c:v>Perrier Jouet</c:v>
                </c:pt>
                <c:pt idx="6">
                  <c:v>Laurent Perrier</c:v>
                </c:pt>
                <c:pt idx="7">
                  <c:v>Pommery</c:v>
                </c:pt>
                <c:pt idx="8">
                  <c:v>All Others</c:v>
                </c:pt>
              </c:strCache>
            </c:strRef>
          </c:cat>
          <c:val>
            <c:numRef>
              <c:f>Sheet1!$C$2:$C$10</c:f>
              <c:numCache>
                <c:formatCode>General</c:formatCode>
                <c:ptCount val="9"/>
                <c:pt idx="0">
                  <c:v>259.28859999999997</c:v>
                </c:pt>
                <c:pt idx="1">
                  <c:v>179.89429999999999</c:v>
                </c:pt>
                <c:pt idx="2">
                  <c:v>95.672200000000004</c:v>
                </c:pt>
                <c:pt idx="3">
                  <c:v>37.631700000000002</c:v>
                </c:pt>
                <c:pt idx="4">
                  <c:v>242.32650000000001</c:v>
                </c:pt>
                <c:pt idx="5">
                  <c:v>269.16219999999998</c:v>
                </c:pt>
                <c:pt idx="6">
                  <c:v>65.087000000000003</c:v>
                </c:pt>
                <c:pt idx="7">
                  <c:v>213.3125</c:v>
                </c:pt>
                <c:pt idx="8">
                  <c:v>187.85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90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Bollinger</c:v>
                </c:pt>
                <c:pt idx="5">
                  <c:v>Perrier Jouet</c:v>
                </c:pt>
                <c:pt idx="6">
                  <c:v>Laurent Perrier</c:v>
                </c:pt>
                <c:pt idx="7">
                  <c:v>Pommery</c:v>
                </c:pt>
                <c:pt idx="8">
                  <c:v>All Others</c:v>
                </c:pt>
              </c:strCache>
            </c:strRef>
          </c:cat>
          <c:val>
            <c:numRef>
              <c:f>Sheet1!$D$2:$D$10</c:f>
              <c:numCache>
                <c:formatCode>General</c:formatCode>
                <c:ptCount val="9"/>
                <c:pt idx="7">
                  <c:v>3790</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D4B-4C11-905B-E1D0DBAFFBF5}"/>
                </c:ext>
              </c:extLst>
            </c:dLbl>
            <c:dLbl>
              <c:idx val="1"/>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D4B-4C11-905B-E1D0DBAFFBF5}"/>
                </c:ext>
              </c:extLst>
            </c:dLbl>
            <c:dLbl>
              <c:idx val="2"/>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D4B-4C11-905B-E1D0DBAFFBF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Veuve Clicquot</c:v>
                </c:pt>
                <c:pt idx="4">
                  <c:v>Malard</c:v>
                </c:pt>
                <c:pt idx="5">
                  <c:v>Bollinger</c:v>
                </c:pt>
                <c:pt idx="6">
                  <c:v>Laurent Perrier</c:v>
                </c:pt>
                <c:pt idx="7">
                  <c:v>Perrier Jouet</c:v>
                </c:pt>
                <c:pt idx="8">
                  <c:v>Pommery</c:v>
                </c:pt>
              </c:strCache>
            </c:strRef>
          </c:cat>
          <c:val>
            <c:numRef>
              <c:f>Sheet1!$B$2:$B$10</c:f>
              <c:numCache>
                <c:formatCode>General</c:formatCode>
                <c:ptCount val="9"/>
                <c:pt idx="0">
                  <c:v>743.33330000000001</c:v>
                </c:pt>
                <c:pt idx="1">
                  <c:v>86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Veuve Clicquot</c:v>
                </c:pt>
                <c:pt idx="4">
                  <c:v>Malard</c:v>
                </c:pt>
                <c:pt idx="5">
                  <c:v>Bollinger</c:v>
                </c:pt>
                <c:pt idx="6">
                  <c:v>Laurent Perrier</c:v>
                </c:pt>
                <c:pt idx="7">
                  <c:v>Perrier Jouet</c:v>
                </c:pt>
                <c:pt idx="8">
                  <c:v>Pommery</c:v>
                </c:pt>
              </c:strCache>
            </c:strRef>
          </c:cat>
          <c:val>
            <c:numRef>
              <c:f>Sheet1!$C$2:$C$10</c:f>
              <c:numCache>
                <c:formatCode>General</c:formatCode>
                <c:ptCount val="9"/>
                <c:pt idx="0">
                  <c:v>265.43650000000002</c:v>
                </c:pt>
                <c:pt idx="1">
                  <c:v>185.21</c:v>
                </c:pt>
                <c:pt idx="2">
                  <c:v>97.008700000000005</c:v>
                </c:pt>
                <c:pt idx="3">
                  <c:v>196.3896</c:v>
                </c:pt>
                <c:pt idx="4">
                  <c:v>37.771700000000003</c:v>
                </c:pt>
                <c:pt idx="5">
                  <c:v>285.23329999999999</c:v>
                </c:pt>
                <c:pt idx="6">
                  <c:v>66.152000000000001</c:v>
                </c:pt>
                <c:pt idx="7">
                  <c:v>259.58330000000001</c:v>
                </c:pt>
                <c:pt idx="8">
                  <c:v>231.8462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iper Heidsieck</c:v>
                </c:pt>
                <c:pt idx="7">
                  <c:v>Pommery</c:v>
                </c:pt>
                <c:pt idx="8">
                  <c:v>Perrier Jouet</c:v>
                </c:pt>
              </c:strCache>
            </c:strRef>
          </c:cat>
          <c:val>
            <c:numRef>
              <c:f>Sheet1!$B$2:$B$10</c:f>
              <c:numCache>
                <c:formatCode>General</c:formatCode>
                <c:ptCount val="9"/>
                <c:pt idx="0">
                  <c:v>262.61360000000002</c:v>
                </c:pt>
                <c:pt idx="1">
                  <c:v>157.96469999999999</c:v>
                </c:pt>
                <c:pt idx="2">
                  <c:v>97.39</c:v>
                </c:pt>
                <c:pt idx="3">
                  <c:v>39.217599999999997</c:v>
                </c:pt>
                <c:pt idx="4">
                  <c:v>241.33330000000001</c:v>
                </c:pt>
                <c:pt idx="5">
                  <c:v>65.263900000000007</c:v>
                </c:pt>
                <c:pt idx="6">
                  <c:v>300.57139999999998</c:v>
                </c:pt>
                <c:pt idx="7">
                  <c:v>253.21430000000001</c:v>
                </c:pt>
                <c:pt idx="8">
                  <c:v>239.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Veuve Clicquot</c:v>
                </c:pt>
                <c:pt idx="7">
                  <c:v>Pommery</c:v>
                </c:pt>
                <c:pt idx="8">
                  <c:v>Piper Heidsieck</c:v>
                </c:pt>
              </c:strCache>
            </c:strRef>
          </c:cat>
          <c:val>
            <c:numRef>
              <c:f>Sheet1!$B$2:$B$10</c:f>
              <c:numCache>
                <c:formatCode>General</c:formatCode>
                <c:ptCount val="9"/>
                <c:pt idx="0">
                  <c:v>760</c:v>
                </c:pt>
                <c:pt idx="1">
                  <c:v>742.8570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Bollinger</c:v>
                </c:pt>
                <c:pt idx="5">
                  <c:v>Laurent Perrier</c:v>
                </c:pt>
                <c:pt idx="6">
                  <c:v>Veuve Clicquot</c:v>
                </c:pt>
                <c:pt idx="7">
                  <c:v>Pommery</c:v>
                </c:pt>
                <c:pt idx="8">
                  <c:v>Piper Heidsieck</c:v>
                </c:pt>
              </c:strCache>
            </c:strRef>
          </c:cat>
          <c:val>
            <c:numRef>
              <c:f>Sheet1!$C$2:$C$10</c:f>
              <c:numCache>
                <c:formatCode>General</c:formatCode>
                <c:ptCount val="9"/>
                <c:pt idx="0">
                  <c:v>257.39350000000002</c:v>
                </c:pt>
                <c:pt idx="1">
                  <c:v>161.45670000000001</c:v>
                </c:pt>
                <c:pt idx="2">
                  <c:v>92.243399999999994</c:v>
                </c:pt>
                <c:pt idx="3">
                  <c:v>37.205300000000001</c:v>
                </c:pt>
                <c:pt idx="4">
                  <c:v>236.89070000000001</c:v>
                </c:pt>
                <c:pt idx="5">
                  <c:v>62.492800000000003</c:v>
                </c:pt>
                <c:pt idx="6">
                  <c:v>199.75</c:v>
                </c:pt>
                <c:pt idx="7">
                  <c:v>220.92859999999999</c:v>
                </c:pt>
                <c:pt idx="8">
                  <c:v>267.708900000000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All Others</c:v>
                </c:pt>
              </c:strCache>
            </c:strRef>
          </c:cat>
          <c:val>
            <c:numRef>
              <c:f>Sheet1!$B$2:$B$10</c:f>
              <c:numCache>
                <c:formatCode>General</c:formatCode>
                <c:ptCount val="9"/>
                <c:pt idx="0">
                  <c:v>11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All Others</c:v>
                </c:pt>
              </c:strCache>
            </c:strRef>
          </c:cat>
          <c:val>
            <c:numRef>
              <c:f>Sheet1!$C$2:$C$10</c:f>
              <c:numCache>
                <c:formatCode>General</c:formatCode>
                <c:ptCount val="9"/>
                <c:pt idx="1">
                  <c:v>289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Perrier Jouet</c:v>
                </c:pt>
                <c:pt idx="5">
                  <c:v>Bollinger</c:v>
                </c:pt>
                <c:pt idx="6">
                  <c:v>Piper Heidsieck</c:v>
                </c:pt>
                <c:pt idx="7">
                  <c:v>Laurent Perrier</c:v>
                </c:pt>
                <c:pt idx="8">
                  <c:v>All Others</c:v>
                </c:pt>
              </c:strCache>
            </c:strRef>
          </c:cat>
          <c:val>
            <c:numRef>
              <c:f>Sheet1!$D$2:$D$10</c:f>
              <c:numCache>
                <c:formatCode>General</c:formatCode>
                <c:ptCount val="9"/>
                <c:pt idx="0">
                  <c:v>265.27199999999999</c:v>
                </c:pt>
                <c:pt idx="1">
                  <c:v>195.9144</c:v>
                </c:pt>
                <c:pt idx="2">
                  <c:v>96.085800000000006</c:v>
                </c:pt>
                <c:pt idx="3">
                  <c:v>37.682400000000001</c:v>
                </c:pt>
                <c:pt idx="4">
                  <c:v>264.74290000000002</c:v>
                </c:pt>
                <c:pt idx="5">
                  <c:v>245.7576</c:v>
                </c:pt>
                <c:pt idx="6">
                  <c:v>274.2593</c:v>
                </c:pt>
                <c:pt idx="7">
                  <c:v>65.481899999999996</c:v>
                </c:pt>
                <c:pt idx="8">
                  <c:v>251.4285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Bollinger</c:v>
                </c:pt>
                <c:pt idx="8">
                  <c:v>Perrier Jouet</c:v>
                </c:pt>
              </c:strCache>
            </c:strRef>
          </c:cat>
          <c:val>
            <c:numRef>
              <c:f>Sheet1!$B$2:$B$10</c:f>
              <c:numCache>
                <c:formatCode>General</c:formatCode>
                <c:ptCount val="9"/>
                <c:pt idx="0">
                  <c:v>80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Laurent Perrier</c:v>
                </c:pt>
                <c:pt idx="5">
                  <c:v>Pommery</c:v>
                </c:pt>
                <c:pt idx="6">
                  <c:v>Piper Heidsieck</c:v>
                </c:pt>
                <c:pt idx="7">
                  <c:v>Bollinger</c:v>
                </c:pt>
                <c:pt idx="8">
                  <c:v>Perrier Jouet</c:v>
                </c:pt>
              </c:strCache>
            </c:strRef>
          </c:cat>
          <c:val>
            <c:numRef>
              <c:f>Sheet1!$C$2:$C$10</c:f>
              <c:numCache>
                <c:formatCode>General</c:formatCode>
                <c:ptCount val="9"/>
                <c:pt idx="0">
                  <c:v>269.24090000000001</c:v>
                </c:pt>
                <c:pt idx="1">
                  <c:v>161.57050000000001</c:v>
                </c:pt>
                <c:pt idx="2">
                  <c:v>98.010900000000007</c:v>
                </c:pt>
                <c:pt idx="3">
                  <c:v>38.633200000000002</c:v>
                </c:pt>
                <c:pt idx="4">
                  <c:v>65.814800000000005</c:v>
                </c:pt>
                <c:pt idx="5">
                  <c:v>307.44439999999997</c:v>
                </c:pt>
                <c:pt idx="6">
                  <c:v>272.39999999999998</c:v>
                </c:pt>
                <c:pt idx="7">
                  <c:v>235.4545</c:v>
                </c:pt>
                <c:pt idx="8">
                  <c:v>387.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Bollinger</c:v>
                </c:pt>
                <c:pt idx="6">
                  <c:v>Pommery</c:v>
                </c:pt>
                <c:pt idx="7">
                  <c:v>Piper Heidsieck</c:v>
                </c:pt>
                <c:pt idx="8">
                  <c:v>Perrier Jouet</c:v>
                </c:pt>
              </c:strCache>
            </c:strRef>
          </c:cat>
          <c:val>
            <c:numRef>
              <c:f>Sheet1!$B$2:$B$10</c:f>
              <c:numCache>
                <c:formatCode>General</c:formatCode>
                <c:ptCount val="9"/>
                <c:pt idx="0">
                  <c:v>269.46550000000002</c:v>
                </c:pt>
                <c:pt idx="1">
                  <c:v>208.47620000000001</c:v>
                </c:pt>
                <c:pt idx="2">
                  <c:v>104.5789</c:v>
                </c:pt>
                <c:pt idx="3">
                  <c:v>39.538499999999999</c:v>
                </c:pt>
                <c:pt idx="4">
                  <c:v>68.75</c:v>
                </c:pt>
                <c:pt idx="5">
                  <c:v>236</c:v>
                </c:pt>
                <c:pt idx="6">
                  <c:v>198.57140000000001</c:v>
                </c:pt>
                <c:pt idx="7">
                  <c:v>246.25</c:v>
                </c:pt>
                <c:pt idx="8">
                  <c:v>24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All Others</c:v>
                </c:pt>
                <c:pt idx="6">
                  <c:v>Laurent Perrier</c:v>
                </c:pt>
                <c:pt idx="7">
                  <c:v>Perrier Jouet</c:v>
                </c:pt>
                <c:pt idx="8">
                  <c:v>Piper Heidsieck</c:v>
                </c:pt>
              </c:strCache>
            </c:strRef>
          </c:cat>
          <c:val>
            <c:numRef>
              <c:f>Sheet1!$B$2:$B$10</c:f>
              <c:numCache>
                <c:formatCode>General</c:formatCode>
                <c:ptCount val="9"/>
                <c:pt idx="0">
                  <c:v>284.45569999999998</c:v>
                </c:pt>
                <c:pt idx="1">
                  <c:v>146.87</c:v>
                </c:pt>
                <c:pt idx="2">
                  <c:v>98.268699999999995</c:v>
                </c:pt>
                <c:pt idx="3">
                  <c:v>38.807899999999997</c:v>
                </c:pt>
                <c:pt idx="4">
                  <c:v>255.3158</c:v>
                </c:pt>
                <c:pt idx="5">
                  <c:v>62.583300000000001</c:v>
                </c:pt>
                <c:pt idx="6">
                  <c:v>67.7</c:v>
                </c:pt>
                <c:pt idx="7">
                  <c:v>218.27269999999999</c:v>
                </c:pt>
                <c:pt idx="8">
                  <c:v>341.142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Veuve Clicquot</c:v>
                </c:pt>
                <c:pt idx="6">
                  <c:v>Bollinger</c:v>
                </c:pt>
                <c:pt idx="7">
                  <c:v>Perrier Jouet</c:v>
                </c:pt>
                <c:pt idx="8">
                  <c:v>Pommery</c:v>
                </c:pt>
              </c:strCache>
            </c:strRef>
          </c:cat>
          <c:val>
            <c:numRef>
              <c:f>Sheet1!$B$2:$B$10</c:f>
              <c:numCache>
                <c:formatCode>General</c:formatCode>
                <c:ptCount val="9"/>
                <c:pt idx="0">
                  <c:v>795.88239999999996</c:v>
                </c:pt>
                <c:pt idx="1">
                  <c:v>926.631600000000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Laurent Perrier</c:v>
                </c:pt>
                <c:pt idx="5">
                  <c:v>Veuve Clicquot</c:v>
                </c:pt>
                <c:pt idx="6">
                  <c:v>Bollinger</c:v>
                </c:pt>
                <c:pt idx="7">
                  <c:v>Perrier Jouet</c:v>
                </c:pt>
                <c:pt idx="8">
                  <c:v>Pommery</c:v>
                </c:pt>
              </c:strCache>
            </c:strRef>
          </c:cat>
          <c:val>
            <c:numRef>
              <c:f>Sheet1!$C$2:$C$10</c:f>
              <c:numCache>
                <c:formatCode>General</c:formatCode>
                <c:ptCount val="9"/>
                <c:pt idx="0">
                  <c:v>260.33109999999999</c:v>
                </c:pt>
                <c:pt idx="1">
                  <c:v>173.00139999999999</c:v>
                </c:pt>
                <c:pt idx="2">
                  <c:v>92.714600000000004</c:v>
                </c:pt>
                <c:pt idx="3">
                  <c:v>37.124699999999997</c:v>
                </c:pt>
                <c:pt idx="4">
                  <c:v>62.449199999999998</c:v>
                </c:pt>
                <c:pt idx="5">
                  <c:v>207.6866</c:v>
                </c:pt>
                <c:pt idx="6">
                  <c:v>240.72479999999999</c:v>
                </c:pt>
                <c:pt idx="7">
                  <c:v>254.5325</c:v>
                </c:pt>
                <c:pt idx="8">
                  <c:v>231.28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Laurent Perrier</c:v>
                </c:pt>
                <c:pt idx="5">
                  <c:v>Bollinger</c:v>
                </c:pt>
                <c:pt idx="6">
                  <c:v>Piper Heidsieck</c:v>
                </c:pt>
                <c:pt idx="7">
                  <c:v>Perrier Jouet</c:v>
                </c:pt>
                <c:pt idx="8">
                  <c:v>All Others</c:v>
                </c:pt>
              </c:strCache>
            </c:strRef>
          </c:cat>
          <c:val>
            <c:numRef>
              <c:f>Sheet1!$B$2:$B$10</c:f>
              <c:numCache>
                <c:formatCode>General</c:formatCode>
                <c:ptCount val="9"/>
                <c:pt idx="1">
                  <c:v>103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om Perignon</c:v>
                </c:pt>
                <c:pt idx="1">
                  <c:v>Roederer</c:v>
                </c:pt>
                <c:pt idx="2">
                  <c:v>Ruinart</c:v>
                </c:pt>
                <c:pt idx="3">
                  <c:v>Malard</c:v>
                </c:pt>
                <c:pt idx="4">
                  <c:v>Laurent Perrier</c:v>
                </c:pt>
                <c:pt idx="5">
                  <c:v>Bollinger</c:v>
                </c:pt>
                <c:pt idx="6">
                  <c:v>Piper Heidsieck</c:v>
                </c:pt>
                <c:pt idx="7">
                  <c:v>Perrier Jouet</c:v>
                </c:pt>
                <c:pt idx="8">
                  <c:v>All Others</c:v>
                </c:pt>
              </c:strCache>
            </c:strRef>
          </c:cat>
          <c:val>
            <c:numRef>
              <c:f>Sheet1!$C$2:$C$10</c:f>
              <c:numCache>
                <c:formatCode>General</c:formatCode>
                <c:ptCount val="9"/>
                <c:pt idx="0">
                  <c:v>261.13850000000002</c:v>
                </c:pt>
                <c:pt idx="1">
                  <c:v>152.6122</c:v>
                </c:pt>
                <c:pt idx="2">
                  <c:v>94.739800000000002</c:v>
                </c:pt>
                <c:pt idx="3">
                  <c:v>37.572499999999998</c:v>
                </c:pt>
                <c:pt idx="4">
                  <c:v>64.150199999999998</c:v>
                </c:pt>
                <c:pt idx="5">
                  <c:v>278.46809999999999</c:v>
                </c:pt>
                <c:pt idx="6">
                  <c:v>286.47370000000001</c:v>
                </c:pt>
                <c:pt idx="7">
                  <c:v>351.66669999999999</c:v>
                </c:pt>
                <c:pt idx="8">
                  <c:v>252.2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Piper Heidsieck</c:v>
                </c:pt>
                <c:pt idx="5">
                  <c:v>Bollinger</c:v>
                </c:pt>
                <c:pt idx="6">
                  <c:v>Laurent Perrier</c:v>
                </c:pt>
                <c:pt idx="7">
                  <c:v>Pommery</c:v>
                </c:pt>
                <c:pt idx="8">
                  <c:v>Perrier Jouet</c:v>
                </c:pt>
              </c:strCache>
            </c:strRef>
          </c:cat>
          <c:val>
            <c:numRef>
              <c:f>Sheet1!$B$2:$B$10</c:f>
              <c:numCache>
                <c:formatCode>General</c:formatCode>
                <c:ptCount val="9"/>
                <c:pt idx="0">
                  <c:v>259.84879999999998</c:v>
                </c:pt>
                <c:pt idx="1">
                  <c:v>165.85769999999999</c:v>
                </c:pt>
                <c:pt idx="2">
                  <c:v>94.170299999999997</c:v>
                </c:pt>
                <c:pt idx="3">
                  <c:v>37.135100000000001</c:v>
                </c:pt>
                <c:pt idx="4">
                  <c:v>271.21949999999998</c:v>
                </c:pt>
                <c:pt idx="5">
                  <c:v>227.80430000000001</c:v>
                </c:pt>
                <c:pt idx="6">
                  <c:v>64.681399999999996</c:v>
                </c:pt>
                <c:pt idx="7">
                  <c:v>232.8065</c:v>
                </c:pt>
                <c:pt idx="8">
                  <c:v>309.105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54E-4C9D-8A16-4347EC7026D7}"/>
                </c:ext>
              </c:extLst>
            </c:dLbl>
            <c:dLbl>
              <c:idx val="1"/>
              <c:tx>
                <c:rich>
                  <a:bodyPr/>
                  <a:lstStyle/>
                  <a:p>
                    <a:r>
                      <a:t>36.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54E-4C9D-8A16-4347EC7026D7}"/>
                </c:ext>
              </c:extLst>
            </c:dLbl>
            <c:dLbl>
              <c:idx val="2"/>
              <c:tx>
                <c:rich>
                  <a:bodyPr/>
                  <a:lstStyle/>
                  <a:p>
                    <a:r>
                      <a:t>4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54E-4C9D-8A16-4347EC7026D7}"/>
                </c:ext>
              </c:extLst>
            </c:dLbl>
            <c:dLbl>
              <c:idx val="3"/>
              <c:tx>
                <c:rich>
                  <a:bodyPr/>
                  <a:lstStyle/>
                  <a:p>
                    <a:r>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54E-4C9D-8A16-4347EC7026D7}"/>
                </c:ext>
              </c:extLst>
            </c:dLbl>
            <c:dLbl>
              <c:idx val="4"/>
              <c:tx>
                <c:rich>
                  <a:bodyPr/>
                  <a:lstStyle/>
                  <a:p>
                    <a:r>
                      <a:t>4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54E-4C9D-8A16-4347EC7026D7}"/>
                </c:ext>
              </c:extLst>
            </c:dLbl>
            <c:dLbl>
              <c:idx val="5"/>
              <c:tx>
                <c:rich>
                  <a:bodyPr/>
                  <a:lstStyle/>
                  <a:p>
                    <a:r>
                      <a:t>66.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54E-4C9D-8A16-4347EC7026D7}"/>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54E-4C9D-8A16-4347EC7026D7}"/>
                </c:ext>
              </c:extLst>
            </c:dLbl>
            <c:dLbl>
              <c:idx val="7"/>
              <c:tx>
                <c:rich>
                  <a:bodyPr/>
                  <a:lstStyle/>
                  <a:p>
                    <a:r>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54E-4C9D-8A16-4347EC7026D7}"/>
                </c:ext>
              </c:extLst>
            </c:dLbl>
            <c:dLbl>
              <c:idx val="8"/>
              <c:tx>
                <c:rich>
                  <a:bodyPr/>
                  <a:lstStyle/>
                  <a:p>
                    <a:r>
                      <a:t>87.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54E-4C9D-8A16-4347EC7026D7}"/>
                </c:ext>
              </c:extLst>
            </c:dLbl>
            <c:dLbl>
              <c:idx val="9"/>
              <c:tx>
                <c:rich>
                  <a:bodyPr/>
                  <a:lstStyle/>
                  <a:p>
                    <a:r>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54E-4C9D-8A16-4347EC7026D7}"/>
                </c:ext>
              </c:extLst>
            </c:dLbl>
            <c:dLbl>
              <c:idx val="10"/>
              <c:tx>
                <c:rich>
                  <a:bodyPr/>
                  <a:lstStyle/>
                  <a:p>
                    <a:r>
                      <a:t>40.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54E-4C9D-8A16-4347EC7026D7}"/>
                </c:ext>
              </c:extLst>
            </c:dLbl>
            <c:dLbl>
              <c:idx val="11"/>
              <c:tx>
                <c:rich>
                  <a:bodyPr/>
                  <a:lstStyle/>
                  <a:p>
                    <a:r>
                      <a:t>2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54E-4C9D-8A16-4347EC7026D7}"/>
                </c:ext>
              </c:extLst>
            </c:dLbl>
            <c:dLbl>
              <c:idx val="12"/>
              <c:tx>
                <c:rich>
                  <a:bodyPr/>
                  <a:lstStyle/>
                  <a:p>
                    <a:r>
                      <a:t>4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54E-4C9D-8A16-4347EC7026D7}"/>
                </c:ext>
              </c:extLst>
            </c:dLbl>
            <c:dLbl>
              <c:idx val="13"/>
              <c:tx>
                <c:rich>
                  <a:bodyPr/>
                  <a:lstStyle/>
                  <a:p>
                    <a:r>
                      <a:t>36.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54E-4C9D-8A16-4347EC7026D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strCache>
            </c:strRef>
          </c:cat>
          <c:val>
            <c:numRef>
              <c:f>Sheet1!$B$2:$B$15</c:f>
              <c:numCache>
                <c:formatCode>General</c:formatCode>
                <c:ptCount val="14"/>
                <c:pt idx="0">
                  <c:v>21.87</c:v>
                </c:pt>
                <c:pt idx="1">
                  <c:v>36.840000000000003</c:v>
                </c:pt>
                <c:pt idx="2">
                  <c:v>45.39</c:v>
                </c:pt>
                <c:pt idx="3">
                  <c:v>22.31</c:v>
                </c:pt>
                <c:pt idx="4">
                  <c:v>45.04</c:v>
                </c:pt>
                <c:pt idx="5">
                  <c:v>66.53</c:v>
                </c:pt>
                <c:pt idx="6">
                  <c:v>39.090000000000003</c:v>
                </c:pt>
                <c:pt idx="7">
                  <c:v>23.86</c:v>
                </c:pt>
                <c:pt idx="8">
                  <c:v>87.71</c:v>
                </c:pt>
                <c:pt idx="9">
                  <c:v>24.94</c:v>
                </c:pt>
                <c:pt idx="10">
                  <c:v>40.71</c:v>
                </c:pt>
                <c:pt idx="11">
                  <c:v>23.91</c:v>
                </c:pt>
                <c:pt idx="12">
                  <c:v>42.54</c:v>
                </c:pt>
                <c:pt idx="13">
                  <c:v>3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Ruinart</c:v>
                </c:pt>
                <c:pt idx="3">
                  <c:v>Malard</c:v>
                </c:pt>
                <c:pt idx="4">
                  <c:v>Bollinger</c:v>
                </c:pt>
                <c:pt idx="5">
                  <c:v>Laurent Perrier</c:v>
                </c:pt>
                <c:pt idx="6">
                  <c:v>Pommery</c:v>
                </c:pt>
                <c:pt idx="7">
                  <c:v>Piper Heidsieck</c:v>
                </c:pt>
                <c:pt idx="8">
                  <c:v>Perrier Jouet</c:v>
                </c:pt>
              </c:strCache>
            </c:strRef>
          </c:cat>
          <c:val>
            <c:numRef>
              <c:f>Sheet1!$B$2:$B$10</c:f>
              <c:numCache>
                <c:formatCode>General</c:formatCode>
                <c:ptCount val="9"/>
                <c:pt idx="0">
                  <c:v>261.89510000000001</c:v>
                </c:pt>
                <c:pt idx="1">
                  <c:v>167.03290000000001</c:v>
                </c:pt>
                <c:pt idx="2">
                  <c:v>93.754300000000001</c:v>
                </c:pt>
                <c:pt idx="3">
                  <c:v>37.530099999999997</c:v>
                </c:pt>
                <c:pt idx="4">
                  <c:v>229.54740000000001</c:v>
                </c:pt>
                <c:pt idx="5">
                  <c:v>65.619699999999995</c:v>
                </c:pt>
                <c:pt idx="6">
                  <c:v>241.26089999999999</c:v>
                </c:pt>
                <c:pt idx="7">
                  <c:v>304</c:v>
                </c:pt>
                <c:pt idx="8">
                  <c:v>247.9473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om Perignon</c:v>
                </c:pt>
                <c:pt idx="1">
                  <c:v>Roederer</c:v>
                </c:pt>
                <c:pt idx="2">
                  <c:v>Malard</c:v>
                </c:pt>
                <c:pt idx="3">
                  <c:v>Ruinart</c:v>
                </c:pt>
                <c:pt idx="4">
                  <c:v>Laurent Perrier</c:v>
                </c:pt>
                <c:pt idx="5">
                  <c:v>Bollinger</c:v>
                </c:pt>
                <c:pt idx="6">
                  <c:v>All Others</c:v>
                </c:pt>
                <c:pt idx="7">
                  <c:v>Piper Heidsieck</c:v>
                </c:pt>
                <c:pt idx="8">
                  <c:v>Pommery</c:v>
                </c:pt>
              </c:strCache>
            </c:strRef>
          </c:cat>
          <c:val>
            <c:numRef>
              <c:f>Sheet1!$B$2:$B$10</c:f>
              <c:numCache>
                <c:formatCode>General</c:formatCode>
                <c:ptCount val="9"/>
                <c:pt idx="0">
                  <c:v>262.78809999999999</c:v>
                </c:pt>
                <c:pt idx="1">
                  <c:v>155.69210000000001</c:v>
                </c:pt>
                <c:pt idx="2">
                  <c:v>37.944800000000001</c:v>
                </c:pt>
                <c:pt idx="3">
                  <c:v>93.186499999999995</c:v>
                </c:pt>
                <c:pt idx="4">
                  <c:v>66.116100000000003</c:v>
                </c:pt>
                <c:pt idx="5">
                  <c:v>242.03229999999999</c:v>
                </c:pt>
                <c:pt idx="6">
                  <c:v>287.3125</c:v>
                </c:pt>
                <c:pt idx="7">
                  <c:v>241.36840000000001</c:v>
                </c:pt>
                <c:pt idx="8">
                  <c:v>255.8667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Nicolas Feuillatte</c:v>
                </c:pt>
                <c:pt idx="2">
                  <c:v>Demoiselle</c:v>
                </c:pt>
                <c:pt idx="3">
                  <c:v>Canard Duchêne</c:v>
                </c:pt>
                <c:pt idx="4">
                  <c:v>Tsarine</c:v>
                </c:pt>
                <c:pt idx="5">
                  <c:v>Mumm</c:v>
                </c:pt>
                <c:pt idx="6">
                  <c:v>Ruinart</c:v>
                </c:pt>
                <c:pt idx="7">
                  <c:v>All Others</c:v>
                </c:pt>
                <c:pt idx="8">
                  <c:v>Moët &amp; Chandon</c:v>
                </c:pt>
              </c:strCache>
            </c:strRef>
          </c:cat>
          <c:val>
            <c:numRef>
              <c:f>Sheet1!$B$2:$B$10</c:f>
              <c:numCache>
                <c:formatCode>General</c:formatCode>
                <c:ptCount val="9"/>
                <c:pt idx="0">
                  <c:v>22.7516</c:v>
                </c:pt>
                <c:pt idx="1">
                  <c:v>29.8296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Nicolas Feuillatte</c:v>
                </c:pt>
                <c:pt idx="2">
                  <c:v>Demoiselle</c:v>
                </c:pt>
                <c:pt idx="3">
                  <c:v>Canard Duchêne</c:v>
                </c:pt>
                <c:pt idx="4">
                  <c:v>Tsarine</c:v>
                </c:pt>
                <c:pt idx="5">
                  <c:v>Mumm</c:v>
                </c:pt>
                <c:pt idx="6">
                  <c:v>Ruinart</c:v>
                </c:pt>
                <c:pt idx="7">
                  <c:v>All Others</c:v>
                </c:pt>
                <c:pt idx="8">
                  <c:v>Moët &amp; Chandon</c:v>
                </c:pt>
              </c:strCache>
            </c:strRef>
          </c:cat>
          <c:val>
            <c:numRef>
              <c:f>Sheet1!$C$2:$C$10</c:f>
              <c:numCache>
                <c:formatCode>General</c:formatCode>
                <c:ptCount val="9"/>
                <c:pt idx="0">
                  <c:v>27.122900000000001</c:v>
                </c:pt>
                <c:pt idx="1">
                  <c:v>25.860399999999998</c:v>
                </c:pt>
                <c:pt idx="2">
                  <c:v>30.483499999999999</c:v>
                </c:pt>
                <c:pt idx="3">
                  <c:v>28.324400000000001</c:v>
                </c:pt>
                <c:pt idx="4">
                  <c:v>31.444900000000001</c:v>
                </c:pt>
                <c:pt idx="5">
                  <c:v>36.527700000000003</c:v>
                </c:pt>
                <c:pt idx="6">
                  <c:v>90.149799999999999</c:v>
                </c:pt>
                <c:pt idx="7">
                  <c:v>25.429200000000002</c:v>
                </c:pt>
                <c:pt idx="8">
                  <c:v>50.26420000000000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3.4518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423500000000001</c:v>
                </c:pt>
                <c:pt idx="1">
                  <c:v>56.519199999999998</c:v>
                </c:pt>
                <c:pt idx="2">
                  <c:v>33.53</c:v>
                </c:pt>
                <c:pt idx="6">
                  <c:v>27.3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360800000000001</c:v>
                </c:pt>
                <c:pt idx="1">
                  <c:v>90.602900000000005</c:v>
                </c:pt>
                <c:pt idx="2">
                  <c:v>58.559399999999997</c:v>
                </c:pt>
                <c:pt idx="3">
                  <c:v>37.597900000000003</c:v>
                </c:pt>
                <c:pt idx="4">
                  <c:v>81.161600000000007</c:v>
                </c:pt>
                <c:pt idx="5">
                  <c:v>37.790300000000002</c:v>
                </c:pt>
                <c:pt idx="6">
                  <c:v>47.569600000000001</c:v>
                </c:pt>
                <c:pt idx="7">
                  <c:v>36.3018</c:v>
                </c:pt>
                <c:pt idx="8">
                  <c:v>51.4097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 Feuillatte</c:v>
                </c:pt>
                <c:pt idx="1">
                  <c:v>Demoiselle</c:v>
                </c:pt>
                <c:pt idx="2">
                  <c:v>Canard Duchêne</c:v>
                </c:pt>
                <c:pt idx="3">
                  <c:v>Tsarine</c:v>
                </c:pt>
                <c:pt idx="4">
                  <c:v>Mumm</c:v>
                </c:pt>
                <c:pt idx="5">
                  <c:v>All Others</c:v>
                </c:pt>
                <c:pt idx="6">
                  <c:v>Moët &amp; Chandon</c:v>
                </c:pt>
                <c:pt idx="7">
                  <c:v>Alfred De Rothschild</c:v>
                </c:pt>
                <c:pt idx="8">
                  <c:v>De Castellane</c:v>
                </c:pt>
              </c:strCache>
            </c:strRef>
          </c:cat>
          <c:val>
            <c:numRef>
              <c:f>Sheet1!$B$2:$B$10</c:f>
              <c:numCache>
                <c:formatCode>General</c:formatCode>
                <c:ptCount val="9"/>
                <c:pt idx="0">
                  <c:v>29.8296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 Feuillatte</c:v>
                </c:pt>
                <c:pt idx="1">
                  <c:v>Demoiselle</c:v>
                </c:pt>
                <c:pt idx="2">
                  <c:v>Canard Duchêne</c:v>
                </c:pt>
                <c:pt idx="3">
                  <c:v>Tsarine</c:v>
                </c:pt>
                <c:pt idx="4">
                  <c:v>Mumm</c:v>
                </c:pt>
                <c:pt idx="5">
                  <c:v>All Others</c:v>
                </c:pt>
                <c:pt idx="6">
                  <c:v>Moët &amp; Chandon</c:v>
                </c:pt>
                <c:pt idx="7">
                  <c:v>Alfred De Rothschild</c:v>
                </c:pt>
                <c:pt idx="8">
                  <c:v>De Castellane</c:v>
                </c:pt>
              </c:strCache>
            </c:strRef>
          </c:cat>
          <c:val>
            <c:numRef>
              <c:f>Sheet1!$C$2:$C$10</c:f>
              <c:numCache>
                <c:formatCode>General</c:formatCode>
                <c:ptCount val="9"/>
                <c:pt idx="0">
                  <c:v>25.644400000000001</c:v>
                </c:pt>
                <c:pt idx="1">
                  <c:v>29.7944</c:v>
                </c:pt>
                <c:pt idx="2">
                  <c:v>28.324400000000001</c:v>
                </c:pt>
                <c:pt idx="3">
                  <c:v>31.444900000000001</c:v>
                </c:pt>
                <c:pt idx="4">
                  <c:v>36.527700000000003</c:v>
                </c:pt>
                <c:pt idx="5">
                  <c:v>25.3352</c:v>
                </c:pt>
                <c:pt idx="6">
                  <c:v>50.205800000000004</c:v>
                </c:pt>
                <c:pt idx="7">
                  <c:v>26.394300000000001</c:v>
                </c:pt>
                <c:pt idx="8">
                  <c:v>22.176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17.4619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0458</c:v>
                </c:pt>
                <c:pt idx="1">
                  <c:v>55.468499999999999</c:v>
                </c:pt>
                <c:pt idx="2">
                  <c:v>33.189799999999998</c:v>
                </c:pt>
                <c:pt idx="6">
                  <c:v>26.8412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323399999999999</c:v>
                </c:pt>
                <c:pt idx="1">
                  <c:v>89.878900000000002</c:v>
                </c:pt>
                <c:pt idx="2">
                  <c:v>57.713900000000002</c:v>
                </c:pt>
                <c:pt idx="3">
                  <c:v>37.562899999999999</c:v>
                </c:pt>
                <c:pt idx="4">
                  <c:v>80.3613</c:v>
                </c:pt>
                <c:pt idx="5">
                  <c:v>37.557499999999997</c:v>
                </c:pt>
                <c:pt idx="6">
                  <c:v>47.107300000000002</c:v>
                </c:pt>
                <c:pt idx="7">
                  <c:v>35.996699999999997</c:v>
                </c:pt>
                <c:pt idx="8">
                  <c:v>51.0996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1.99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289300000000001</c:v>
                </c:pt>
                <c:pt idx="1">
                  <c:v>56.048400000000001</c:v>
                </c:pt>
                <c:pt idx="2">
                  <c:v>33.061799999999998</c:v>
                </c:pt>
                <c:pt idx="6">
                  <c:v>27.2183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6.956199999999999</c:v>
                </c:pt>
                <c:pt idx="1">
                  <c:v>89.406800000000004</c:v>
                </c:pt>
                <c:pt idx="2">
                  <c:v>58.324599999999997</c:v>
                </c:pt>
                <c:pt idx="3">
                  <c:v>37.2455</c:v>
                </c:pt>
                <c:pt idx="4">
                  <c:v>80.948999999999998</c:v>
                </c:pt>
                <c:pt idx="5">
                  <c:v>37.565300000000001</c:v>
                </c:pt>
                <c:pt idx="6">
                  <c:v>47.160200000000003</c:v>
                </c:pt>
                <c:pt idx="7">
                  <c:v>36.067500000000003</c:v>
                </c:pt>
                <c:pt idx="8">
                  <c:v>50.9566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Nicolas Feuillatte</c:v>
                </c:pt>
                <c:pt idx="5">
                  <c:v>Demoiselle</c:v>
                </c:pt>
                <c:pt idx="6">
                  <c:v>Besserat De Bellefon</c:v>
                </c:pt>
                <c:pt idx="7">
                  <c:v>Pommery</c:v>
                </c:pt>
                <c:pt idx="8">
                  <c:v>Malard</c:v>
                </c:pt>
              </c:strCache>
            </c:strRef>
          </c:cat>
          <c:val>
            <c:numRef>
              <c:f>Sheet1!$B$2:$B$10</c:f>
              <c:numCache>
                <c:formatCode>General</c:formatCode>
                <c:ptCount val="9"/>
                <c:pt idx="1">
                  <c:v>220.2769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Nicolas Feuillatte</c:v>
                </c:pt>
                <c:pt idx="5">
                  <c:v>Demoiselle</c:v>
                </c:pt>
                <c:pt idx="6">
                  <c:v>Besserat De Bellefon</c:v>
                </c:pt>
                <c:pt idx="7">
                  <c:v>Pommery</c:v>
                </c:pt>
                <c:pt idx="8">
                  <c:v>Malard</c:v>
                </c:pt>
              </c:strCache>
            </c:strRef>
          </c:cat>
          <c:val>
            <c:numRef>
              <c:f>Sheet1!$C$2:$C$10</c:f>
              <c:numCache>
                <c:formatCode>General</c:formatCode>
                <c:ptCount val="9"/>
                <c:pt idx="0">
                  <c:v>23.426200000000001</c:v>
                </c:pt>
                <c:pt idx="1">
                  <c:v>56.633499999999998</c:v>
                </c:pt>
                <c:pt idx="2">
                  <c:v>33.527799999999999</c:v>
                </c:pt>
                <c:pt idx="6">
                  <c:v>27.29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Nicolas Feuillatte</c:v>
                </c:pt>
                <c:pt idx="5">
                  <c:v>Demoiselle</c:v>
                </c:pt>
                <c:pt idx="6">
                  <c:v>Besserat De Bellefon</c:v>
                </c:pt>
                <c:pt idx="7">
                  <c:v>Pommery</c:v>
                </c:pt>
                <c:pt idx="8">
                  <c:v>Malard</c:v>
                </c:pt>
              </c:strCache>
            </c:strRef>
          </c:cat>
          <c:val>
            <c:numRef>
              <c:f>Sheet1!$D$2:$D$10</c:f>
              <c:numCache>
                <c:formatCode>General</c:formatCode>
                <c:ptCount val="9"/>
                <c:pt idx="0">
                  <c:v>27.777000000000001</c:v>
                </c:pt>
                <c:pt idx="1">
                  <c:v>90.877099999999999</c:v>
                </c:pt>
                <c:pt idx="2">
                  <c:v>58.643799999999999</c:v>
                </c:pt>
                <c:pt idx="3">
                  <c:v>81.850300000000004</c:v>
                </c:pt>
                <c:pt idx="4">
                  <c:v>37.7181</c:v>
                </c:pt>
                <c:pt idx="5">
                  <c:v>37.875</c:v>
                </c:pt>
                <c:pt idx="6">
                  <c:v>47.951099999999997</c:v>
                </c:pt>
                <c:pt idx="7">
                  <c:v>51.2316</c:v>
                </c:pt>
                <c:pt idx="8">
                  <c:v>36.40209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Roederer</c:v>
                </c:pt>
                <c:pt idx="3">
                  <c:v>Deutz</c:v>
                </c:pt>
                <c:pt idx="4">
                  <c:v>Laurent Perrier</c:v>
                </c:pt>
                <c:pt idx="5">
                  <c:v>Demoiselle</c:v>
                </c:pt>
                <c:pt idx="6">
                  <c:v>Dom Perignon</c:v>
                </c:pt>
                <c:pt idx="7">
                  <c:v>Nicolas Feuillatte</c:v>
                </c:pt>
                <c:pt idx="8">
                  <c:v>Bollinger</c:v>
                </c:pt>
              </c:strCache>
            </c:strRef>
          </c:cat>
          <c:val>
            <c:numRef>
              <c:f>Sheet1!$B$2:$B$10</c:f>
              <c:numCache>
                <c:formatCode>General</c:formatCode>
                <c:ptCount val="9"/>
                <c:pt idx="1">
                  <c:v>233.57140000000001</c:v>
                </c:pt>
                <c:pt idx="2">
                  <c:v>11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Roederer</c:v>
                </c:pt>
                <c:pt idx="3">
                  <c:v>Deutz</c:v>
                </c:pt>
                <c:pt idx="4">
                  <c:v>Laurent Perrier</c:v>
                </c:pt>
                <c:pt idx="5">
                  <c:v>Demoiselle</c:v>
                </c:pt>
                <c:pt idx="6">
                  <c:v>Dom Perignon</c:v>
                </c:pt>
                <c:pt idx="7">
                  <c:v>Nicolas Feuillatte</c:v>
                </c:pt>
                <c:pt idx="8">
                  <c:v>Bollinger</c:v>
                </c:pt>
              </c:strCache>
            </c:strRef>
          </c:cat>
          <c:val>
            <c:numRef>
              <c:f>Sheet1!$C$2:$C$10</c:f>
              <c:numCache>
                <c:formatCode>General</c:formatCode>
                <c:ptCount val="9"/>
                <c:pt idx="0">
                  <c:v>23.904</c:v>
                </c:pt>
                <c:pt idx="1">
                  <c:v>56.661700000000003</c:v>
                </c:pt>
                <c:pt idx="3">
                  <c:v>34.5240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Roederer</c:v>
                </c:pt>
                <c:pt idx="3">
                  <c:v>Deutz</c:v>
                </c:pt>
                <c:pt idx="4">
                  <c:v>Laurent Perrier</c:v>
                </c:pt>
                <c:pt idx="5">
                  <c:v>Demoiselle</c:v>
                </c:pt>
                <c:pt idx="6">
                  <c:v>Dom Perignon</c:v>
                </c:pt>
                <c:pt idx="7">
                  <c:v>Nicolas Feuillatte</c:v>
                </c:pt>
                <c:pt idx="8">
                  <c:v>Bollinger</c:v>
                </c:pt>
              </c:strCache>
            </c:strRef>
          </c:cat>
          <c:val>
            <c:numRef>
              <c:f>Sheet1!$D$2:$D$10</c:f>
              <c:numCache>
                <c:formatCode>General</c:formatCode>
                <c:ptCount val="9"/>
                <c:pt idx="0">
                  <c:v>27.490200000000002</c:v>
                </c:pt>
                <c:pt idx="1">
                  <c:v>92.406400000000005</c:v>
                </c:pt>
                <c:pt idx="2">
                  <c:v>618.83780000000002</c:v>
                </c:pt>
                <c:pt idx="3">
                  <c:v>58.753500000000003</c:v>
                </c:pt>
                <c:pt idx="4">
                  <c:v>80.095799999999997</c:v>
                </c:pt>
                <c:pt idx="5">
                  <c:v>38.076900000000002</c:v>
                </c:pt>
                <c:pt idx="6">
                  <c:v>634.11429999999996</c:v>
                </c:pt>
                <c:pt idx="7">
                  <c:v>37.879600000000003</c:v>
                </c:pt>
                <c:pt idx="8">
                  <c:v>80.3207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4.1373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4.939800000000002</c:v>
                </c:pt>
                <c:pt idx="1">
                  <c:v>57.634099999999997</c:v>
                </c:pt>
                <c:pt idx="2">
                  <c:v>34.603299999999997</c:v>
                </c:pt>
                <c:pt idx="6">
                  <c:v>29.3558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685199999999998</c:v>
                </c:pt>
                <c:pt idx="1">
                  <c:v>91.860600000000005</c:v>
                </c:pt>
                <c:pt idx="2">
                  <c:v>61.313600000000001</c:v>
                </c:pt>
                <c:pt idx="3">
                  <c:v>37.4512</c:v>
                </c:pt>
                <c:pt idx="4">
                  <c:v>82.421099999999996</c:v>
                </c:pt>
                <c:pt idx="5">
                  <c:v>38.498600000000003</c:v>
                </c:pt>
                <c:pt idx="6">
                  <c:v>48.948099999999997</c:v>
                </c:pt>
                <c:pt idx="7">
                  <c:v>37.436</c:v>
                </c:pt>
                <c:pt idx="8">
                  <c:v>52.76509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EDC-4204-A41B-7A2BA39A789C}"/>
                </c:ext>
              </c:extLst>
            </c:dLbl>
            <c:dLbl>
              <c:idx val="1"/>
              <c:tx>
                <c:rich>
                  <a:bodyPr/>
                  <a:lstStyle/>
                  <a:p>
                    <a:r>
                      <a:t>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EDC-4204-A41B-7A2BA39A789C}"/>
                </c:ext>
              </c:extLst>
            </c:dLbl>
            <c:dLbl>
              <c:idx val="2"/>
              <c:tx>
                <c:rich>
                  <a:bodyPr/>
                  <a:lstStyle/>
                  <a:p>
                    <a:r>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EDC-4204-A41B-7A2BA39A789C}"/>
                </c:ext>
              </c:extLst>
            </c:dLbl>
            <c:dLbl>
              <c:idx val="3"/>
              <c:tx>
                <c:rich>
                  <a:bodyPr/>
                  <a:lstStyle/>
                  <a:p>
                    <a:r>
                      <a:t>4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EDC-4204-A41B-7A2BA39A789C}"/>
                </c:ext>
              </c:extLst>
            </c:dLbl>
            <c:dLbl>
              <c:idx val="4"/>
              <c:tx>
                <c:rich>
                  <a:bodyPr/>
                  <a:lstStyle/>
                  <a:p>
                    <a:r>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EDC-4204-A41B-7A2BA39A789C}"/>
                </c:ext>
              </c:extLst>
            </c:dLbl>
            <c:dLbl>
              <c:idx val="5"/>
              <c:tx>
                <c:rich>
                  <a:bodyPr/>
                  <a:lstStyle/>
                  <a:p>
                    <a:r>
                      <a:t>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EDC-4204-A41B-7A2BA39A789C}"/>
                </c:ext>
              </c:extLst>
            </c:dLbl>
            <c:dLbl>
              <c:idx val="6"/>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EDC-4204-A41B-7A2BA39A789C}"/>
                </c:ext>
              </c:extLst>
            </c:dLbl>
            <c:dLbl>
              <c:idx val="7"/>
              <c:tx>
                <c:rich>
                  <a:bodyPr/>
                  <a:lstStyle/>
                  <a:p>
                    <a:r>
                      <a:t>2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EDC-4204-A41B-7A2BA39A789C}"/>
                </c:ext>
              </c:extLst>
            </c:dLbl>
            <c:dLbl>
              <c:idx val="8"/>
              <c:tx>
                <c:rich>
                  <a:bodyPr/>
                  <a:lstStyle/>
                  <a:p>
                    <a:r>
                      <a:t>103.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EDC-4204-A41B-7A2BA39A789C}"/>
                </c:ext>
              </c:extLst>
            </c:dLbl>
            <c:dLbl>
              <c:idx val="9"/>
              <c:tx>
                <c:rich>
                  <a:bodyPr/>
                  <a:lstStyle/>
                  <a:p>
                    <a:r>
                      <a:t>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EDC-4204-A41B-7A2BA39A789C}"/>
                </c:ext>
              </c:extLst>
            </c:dLbl>
            <c:dLbl>
              <c:idx val="10"/>
              <c:tx>
                <c:rich>
                  <a:bodyPr/>
                  <a:lstStyle/>
                  <a:p>
                    <a:r>
                      <a:t>41.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EDC-4204-A41B-7A2BA39A789C}"/>
                </c:ext>
              </c:extLst>
            </c:dLbl>
            <c:dLbl>
              <c:idx val="11"/>
              <c:tx>
                <c:rich>
                  <a:bodyPr/>
                  <a:lstStyle/>
                  <a:p>
                    <a:r>
                      <a:t>24.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EDC-4204-A41B-7A2BA39A789C}"/>
                </c:ext>
              </c:extLst>
            </c:dLbl>
            <c:dLbl>
              <c:idx val="12"/>
              <c:tx>
                <c:rich>
                  <a:bodyPr/>
                  <a:lstStyle/>
                  <a:p>
                    <a:r>
                      <a:t>3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EDC-4204-A41B-7A2BA39A789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strCache>
            </c:strRef>
          </c:cat>
          <c:val>
            <c:numRef>
              <c:f>Sheet1!$B$2:$B$14</c:f>
              <c:numCache>
                <c:formatCode>General</c:formatCode>
                <c:ptCount val="13"/>
                <c:pt idx="0">
                  <c:v>21.91</c:v>
                </c:pt>
                <c:pt idx="1">
                  <c:v>37.6</c:v>
                </c:pt>
                <c:pt idx="2">
                  <c:v>22.41</c:v>
                </c:pt>
                <c:pt idx="3">
                  <c:v>48.77</c:v>
                </c:pt>
                <c:pt idx="4">
                  <c:v>46.69</c:v>
                </c:pt>
                <c:pt idx="5">
                  <c:v>64.75</c:v>
                </c:pt>
                <c:pt idx="6">
                  <c:v>39.03</c:v>
                </c:pt>
                <c:pt idx="7">
                  <c:v>24.26</c:v>
                </c:pt>
                <c:pt idx="8">
                  <c:v>103.82</c:v>
                </c:pt>
                <c:pt idx="9">
                  <c:v>24.9</c:v>
                </c:pt>
                <c:pt idx="10">
                  <c:v>41.16</c:v>
                </c:pt>
                <c:pt idx="11">
                  <c:v>24.73</c:v>
                </c:pt>
                <c:pt idx="12">
                  <c:v>35.79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13.48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008199999999999</c:v>
                </c:pt>
                <c:pt idx="1">
                  <c:v>55.334200000000003</c:v>
                </c:pt>
                <c:pt idx="2">
                  <c:v>33.223799999999997</c:v>
                </c:pt>
                <c:pt idx="6">
                  <c:v>26.7434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314399999999999</c:v>
                </c:pt>
                <c:pt idx="1">
                  <c:v>89.988299999999995</c:v>
                </c:pt>
                <c:pt idx="2">
                  <c:v>57.975000000000001</c:v>
                </c:pt>
                <c:pt idx="3">
                  <c:v>37.465699999999998</c:v>
                </c:pt>
                <c:pt idx="4">
                  <c:v>80.376800000000003</c:v>
                </c:pt>
                <c:pt idx="5">
                  <c:v>37.464500000000001</c:v>
                </c:pt>
                <c:pt idx="6">
                  <c:v>46.963500000000003</c:v>
                </c:pt>
                <c:pt idx="7">
                  <c:v>36.009099999999997</c:v>
                </c:pt>
                <c:pt idx="8">
                  <c:v>50.9936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B$2:$B$10</c:f>
              <c:numCache>
                <c:formatCode>General</c:formatCode>
                <c:ptCount val="9"/>
                <c:pt idx="1">
                  <c:v>222.6315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C$2:$C$10</c:f>
              <c:numCache>
                <c:formatCode>General</c:formatCode>
                <c:ptCount val="9"/>
                <c:pt idx="0">
                  <c:v>23.922699999999999</c:v>
                </c:pt>
                <c:pt idx="1">
                  <c:v>56.7151</c:v>
                </c:pt>
                <c:pt idx="3">
                  <c:v>33.491599999999998</c:v>
                </c:pt>
                <c:pt idx="7">
                  <c:v>28.1488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Laurent Perrier</c:v>
                </c:pt>
                <c:pt idx="3">
                  <c:v>Deutz</c:v>
                </c:pt>
                <c:pt idx="4">
                  <c:v>Demoiselle</c:v>
                </c:pt>
                <c:pt idx="5">
                  <c:v>Nicolas Feuillatte</c:v>
                </c:pt>
                <c:pt idx="6">
                  <c:v>Pommery</c:v>
                </c:pt>
                <c:pt idx="7">
                  <c:v>Besserat De Bellefon</c:v>
                </c:pt>
                <c:pt idx="8">
                  <c:v>Malard</c:v>
                </c:pt>
              </c:strCache>
            </c:strRef>
          </c:cat>
          <c:val>
            <c:numRef>
              <c:f>Sheet1!$D$2:$D$10</c:f>
              <c:numCache>
                <c:formatCode>General</c:formatCode>
                <c:ptCount val="9"/>
                <c:pt idx="0">
                  <c:v>27.5838</c:v>
                </c:pt>
                <c:pt idx="1">
                  <c:v>91.0749</c:v>
                </c:pt>
                <c:pt idx="2">
                  <c:v>81.262900000000002</c:v>
                </c:pt>
                <c:pt idx="3">
                  <c:v>58.747700000000002</c:v>
                </c:pt>
                <c:pt idx="4">
                  <c:v>37.2483</c:v>
                </c:pt>
                <c:pt idx="5">
                  <c:v>37.9467</c:v>
                </c:pt>
                <c:pt idx="6">
                  <c:v>50.933100000000003</c:v>
                </c:pt>
                <c:pt idx="7">
                  <c:v>48.056199999999997</c:v>
                </c:pt>
                <c:pt idx="8">
                  <c:v>36.975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Demoiselle</c:v>
                </c:pt>
                <c:pt idx="5">
                  <c:v>Nicolas Feuillatte</c:v>
                </c:pt>
                <c:pt idx="6">
                  <c:v>Besserat De Bellefon</c:v>
                </c:pt>
                <c:pt idx="7">
                  <c:v>Pommery</c:v>
                </c:pt>
                <c:pt idx="8">
                  <c:v>Malard</c:v>
                </c:pt>
              </c:strCache>
            </c:strRef>
          </c:cat>
          <c:val>
            <c:numRef>
              <c:f>Sheet1!$B$2:$B$10</c:f>
              <c:numCache>
                <c:formatCode>General</c:formatCode>
                <c:ptCount val="9"/>
                <c:pt idx="1">
                  <c:v>2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Demoiselle</c:v>
                </c:pt>
                <c:pt idx="5">
                  <c:v>Nicolas Feuillatte</c:v>
                </c:pt>
                <c:pt idx="6">
                  <c:v>Besserat De Bellefon</c:v>
                </c:pt>
                <c:pt idx="7">
                  <c:v>Pommery</c:v>
                </c:pt>
                <c:pt idx="8">
                  <c:v>Malard</c:v>
                </c:pt>
              </c:strCache>
            </c:strRef>
          </c:cat>
          <c:val>
            <c:numRef>
              <c:f>Sheet1!$C$2:$C$10</c:f>
              <c:numCache>
                <c:formatCode>General</c:formatCode>
                <c:ptCount val="9"/>
                <c:pt idx="0">
                  <c:v>24.440899999999999</c:v>
                </c:pt>
                <c:pt idx="1">
                  <c:v>57.482500000000002</c:v>
                </c:pt>
                <c:pt idx="2">
                  <c:v>33.092100000000002</c:v>
                </c:pt>
                <c:pt idx="6">
                  <c:v>28.2823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Demoiselle</c:v>
                </c:pt>
                <c:pt idx="5">
                  <c:v>Nicolas Feuillatte</c:v>
                </c:pt>
                <c:pt idx="6">
                  <c:v>Besserat De Bellefon</c:v>
                </c:pt>
                <c:pt idx="7">
                  <c:v>Pommery</c:v>
                </c:pt>
                <c:pt idx="8">
                  <c:v>Malard</c:v>
                </c:pt>
              </c:strCache>
            </c:strRef>
          </c:cat>
          <c:val>
            <c:numRef>
              <c:f>Sheet1!$D$2:$D$10</c:f>
              <c:numCache>
                <c:formatCode>General</c:formatCode>
                <c:ptCount val="9"/>
                <c:pt idx="0">
                  <c:v>27.630500000000001</c:v>
                </c:pt>
                <c:pt idx="1">
                  <c:v>91.364800000000002</c:v>
                </c:pt>
                <c:pt idx="2">
                  <c:v>61.192</c:v>
                </c:pt>
                <c:pt idx="3">
                  <c:v>81.9251</c:v>
                </c:pt>
                <c:pt idx="4">
                  <c:v>37.704999999999998</c:v>
                </c:pt>
                <c:pt idx="5">
                  <c:v>38.341000000000001</c:v>
                </c:pt>
                <c:pt idx="6">
                  <c:v>49.044699999999999</c:v>
                </c:pt>
                <c:pt idx="7">
                  <c:v>51.7834</c:v>
                </c:pt>
                <c:pt idx="8">
                  <c:v>37.1636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Besserat De Bellefon</c:v>
                </c:pt>
                <c:pt idx="6">
                  <c:v>Malard</c:v>
                </c:pt>
                <c:pt idx="7">
                  <c:v>Pommery</c:v>
                </c:pt>
                <c:pt idx="8">
                  <c:v>Nicolas Feuillatte</c:v>
                </c:pt>
              </c:strCache>
            </c:strRef>
          </c:cat>
          <c:val>
            <c:numRef>
              <c:f>Sheet1!$B$2:$B$10</c:f>
              <c:numCache>
                <c:formatCode>General</c:formatCode>
                <c:ptCount val="9"/>
                <c:pt idx="1">
                  <c:v>278.1111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Besserat De Bellefon</c:v>
                </c:pt>
                <c:pt idx="6">
                  <c:v>Malard</c:v>
                </c:pt>
                <c:pt idx="7">
                  <c:v>Pommery</c:v>
                </c:pt>
                <c:pt idx="8">
                  <c:v>Nicolas Feuillatte</c:v>
                </c:pt>
              </c:strCache>
            </c:strRef>
          </c:cat>
          <c:val>
            <c:numRef>
              <c:f>Sheet1!$C$2:$C$10</c:f>
              <c:numCache>
                <c:formatCode>General</c:formatCode>
                <c:ptCount val="9"/>
                <c:pt idx="0">
                  <c:v>25.456499999999998</c:v>
                </c:pt>
                <c:pt idx="1">
                  <c:v>58.8889</c:v>
                </c:pt>
                <c:pt idx="2">
                  <c:v>35.281700000000001</c:v>
                </c:pt>
                <c:pt idx="5">
                  <c:v>31.4137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Besserat De Bellefon</c:v>
                </c:pt>
                <c:pt idx="6">
                  <c:v>Malard</c:v>
                </c:pt>
                <c:pt idx="7">
                  <c:v>Pommery</c:v>
                </c:pt>
                <c:pt idx="8">
                  <c:v>Nicolas Feuillatte</c:v>
                </c:pt>
              </c:strCache>
            </c:strRef>
          </c:cat>
          <c:val>
            <c:numRef>
              <c:f>Sheet1!$D$2:$D$10</c:f>
              <c:numCache>
                <c:formatCode>General</c:formatCode>
                <c:ptCount val="9"/>
                <c:pt idx="0">
                  <c:v>27.102699999999999</c:v>
                </c:pt>
                <c:pt idx="1">
                  <c:v>90.862799999999993</c:v>
                </c:pt>
                <c:pt idx="2">
                  <c:v>57.645699999999998</c:v>
                </c:pt>
                <c:pt idx="3">
                  <c:v>38.4514</c:v>
                </c:pt>
                <c:pt idx="4">
                  <c:v>83.289900000000003</c:v>
                </c:pt>
                <c:pt idx="5">
                  <c:v>49.676099999999998</c:v>
                </c:pt>
                <c:pt idx="6">
                  <c:v>37.1111</c:v>
                </c:pt>
                <c:pt idx="7">
                  <c:v>52.4298</c:v>
                </c:pt>
                <c:pt idx="8">
                  <c:v>38.621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Malard</c:v>
                </c:pt>
                <c:pt idx="6">
                  <c:v>Nicolas Feuillatte</c:v>
                </c:pt>
                <c:pt idx="7">
                  <c:v>Pommery</c:v>
                </c:pt>
                <c:pt idx="8">
                  <c:v>Besserat De Bellefon</c:v>
                </c:pt>
              </c:strCache>
            </c:strRef>
          </c:cat>
          <c:val>
            <c:numRef>
              <c:f>Sheet1!$B$2:$B$10</c:f>
              <c:numCache>
                <c:formatCode>General</c:formatCode>
                <c:ptCount val="9"/>
                <c:pt idx="1">
                  <c:v>253.3333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Malard</c:v>
                </c:pt>
                <c:pt idx="6">
                  <c:v>Nicolas Feuillatte</c:v>
                </c:pt>
                <c:pt idx="7">
                  <c:v>Pommery</c:v>
                </c:pt>
                <c:pt idx="8">
                  <c:v>Besserat De Bellefon</c:v>
                </c:pt>
              </c:strCache>
            </c:strRef>
          </c:cat>
          <c:val>
            <c:numRef>
              <c:f>Sheet1!$C$2:$C$10</c:f>
              <c:numCache>
                <c:formatCode>General</c:formatCode>
                <c:ptCount val="9"/>
                <c:pt idx="0">
                  <c:v>23.777799999999999</c:v>
                </c:pt>
                <c:pt idx="1">
                  <c:v>59.434800000000003</c:v>
                </c:pt>
                <c:pt idx="2">
                  <c:v>34.581099999999999</c:v>
                </c:pt>
                <c:pt idx="8">
                  <c:v>28.4716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Malard</c:v>
                </c:pt>
                <c:pt idx="6">
                  <c:v>Nicolas Feuillatte</c:v>
                </c:pt>
                <c:pt idx="7">
                  <c:v>Pommery</c:v>
                </c:pt>
                <c:pt idx="8">
                  <c:v>Besserat De Bellefon</c:v>
                </c:pt>
              </c:strCache>
            </c:strRef>
          </c:cat>
          <c:val>
            <c:numRef>
              <c:f>Sheet1!$D$2:$D$10</c:f>
              <c:numCache>
                <c:formatCode>General</c:formatCode>
                <c:ptCount val="9"/>
                <c:pt idx="0">
                  <c:v>25.777100000000001</c:v>
                </c:pt>
                <c:pt idx="1">
                  <c:v>93.316999999999993</c:v>
                </c:pt>
                <c:pt idx="2">
                  <c:v>65.284599999999998</c:v>
                </c:pt>
                <c:pt idx="3">
                  <c:v>37.690100000000001</c:v>
                </c:pt>
                <c:pt idx="4">
                  <c:v>84.796300000000002</c:v>
                </c:pt>
                <c:pt idx="5">
                  <c:v>35.964500000000001</c:v>
                </c:pt>
                <c:pt idx="6">
                  <c:v>37.8874</c:v>
                </c:pt>
                <c:pt idx="7">
                  <c:v>52.653799999999997</c:v>
                </c:pt>
                <c:pt idx="8">
                  <c:v>48.10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Laurent Perrier</c:v>
                </c:pt>
                <c:pt idx="4">
                  <c:v>Demoiselle</c:v>
                </c:pt>
                <c:pt idx="5">
                  <c:v>Dom Perignon</c:v>
                </c:pt>
                <c:pt idx="6">
                  <c:v>Roederer</c:v>
                </c:pt>
                <c:pt idx="7">
                  <c:v>Nicolas Feuillatte</c:v>
                </c:pt>
                <c:pt idx="8">
                  <c:v>Besserat De Bellefon</c:v>
                </c:pt>
              </c:strCache>
            </c:strRef>
          </c:cat>
          <c:val>
            <c:numRef>
              <c:f>Sheet1!$B$2:$B$10</c:f>
              <c:numCache>
                <c:formatCode>General</c:formatCode>
                <c:ptCount val="9"/>
                <c:pt idx="1">
                  <c:v>216.884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Demoiselle</c:v>
                </c:pt>
                <c:pt idx="5">
                  <c:v>Dom Perignon</c:v>
                </c:pt>
                <c:pt idx="6">
                  <c:v>Roederer</c:v>
                </c:pt>
                <c:pt idx="7">
                  <c:v>Nicolas Feuillatte</c:v>
                </c:pt>
                <c:pt idx="8">
                  <c:v>Besserat De Bellefon</c:v>
                </c:pt>
              </c:strCache>
            </c:strRef>
          </c:cat>
          <c:val>
            <c:numRef>
              <c:f>Sheet1!$C$2:$C$10</c:f>
              <c:numCache>
                <c:formatCode>General</c:formatCode>
                <c:ptCount val="9"/>
                <c:pt idx="0">
                  <c:v>23.130299999999998</c:v>
                </c:pt>
                <c:pt idx="1">
                  <c:v>55.5124</c:v>
                </c:pt>
                <c:pt idx="2">
                  <c:v>33.098100000000002</c:v>
                </c:pt>
                <c:pt idx="8">
                  <c:v>26.8442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Laurent Perrier</c:v>
                </c:pt>
                <c:pt idx="4">
                  <c:v>Demoiselle</c:v>
                </c:pt>
                <c:pt idx="5">
                  <c:v>Dom Perignon</c:v>
                </c:pt>
                <c:pt idx="6">
                  <c:v>Roederer</c:v>
                </c:pt>
                <c:pt idx="7">
                  <c:v>Nicolas Feuillatte</c:v>
                </c:pt>
                <c:pt idx="8">
                  <c:v>Besserat De Bellefon</c:v>
                </c:pt>
              </c:strCache>
            </c:strRef>
          </c:cat>
          <c:val>
            <c:numRef>
              <c:f>Sheet1!$D$2:$D$10</c:f>
              <c:numCache>
                <c:formatCode>General</c:formatCode>
                <c:ptCount val="9"/>
                <c:pt idx="0">
                  <c:v>27.011399999999998</c:v>
                </c:pt>
                <c:pt idx="1">
                  <c:v>90.922799999999995</c:v>
                </c:pt>
                <c:pt idx="2">
                  <c:v>59.1327</c:v>
                </c:pt>
                <c:pt idx="3">
                  <c:v>80.259200000000007</c:v>
                </c:pt>
                <c:pt idx="4">
                  <c:v>37.256500000000003</c:v>
                </c:pt>
                <c:pt idx="5">
                  <c:v>557.5847</c:v>
                </c:pt>
                <c:pt idx="6">
                  <c:v>615.10559999999998</c:v>
                </c:pt>
                <c:pt idx="7">
                  <c:v>37.585900000000002</c:v>
                </c:pt>
                <c:pt idx="8">
                  <c:v>47.1533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9.69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484300000000001</c:v>
                </c:pt>
                <c:pt idx="1">
                  <c:v>56.724600000000002</c:v>
                </c:pt>
                <c:pt idx="2">
                  <c:v>33.364899999999999</c:v>
                </c:pt>
                <c:pt idx="6">
                  <c:v>27.2151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4849</c:v>
                </c:pt>
                <c:pt idx="1">
                  <c:v>90.281599999999997</c:v>
                </c:pt>
                <c:pt idx="2">
                  <c:v>58.844099999999997</c:v>
                </c:pt>
                <c:pt idx="3">
                  <c:v>37.6539</c:v>
                </c:pt>
                <c:pt idx="4">
                  <c:v>80.916899999999998</c:v>
                </c:pt>
                <c:pt idx="5">
                  <c:v>37.5413</c:v>
                </c:pt>
                <c:pt idx="6">
                  <c:v>47.404299999999999</c:v>
                </c:pt>
                <c:pt idx="7">
                  <c:v>36.271999999999998</c:v>
                </c:pt>
                <c:pt idx="8">
                  <c:v>51.532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20.8583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106400000000001</c:v>
                </c:pt>
                <c:pt idx="1">
                  <c:v>55.661700000000003</c:v>
                </c:pt>
                <c:pt idx="2">
                  <c:v>33.452399999999997</c:v>
                </c:pt>
                <c:pt idx="6">
                  <c:v>26.99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7197</c:v>
                </c:pt>
                <c:pt idx="1">
                  <c:v>89.853999999999999</c:v>
                </c:pt>
                <c:pt idx="2">
                  <c:v>57.711500000000001</c:v>
                </c:pt>
                <c:pt idx="3">
                  <c:v>37.506500000000003</c:v>
                </c:pt>
                <c:pt idx="4">
                  <c:v>81.214799999999997</c:v>
                </c:pt>
                <c:pt idx="5">
                  <c:v>37.611499999999999</c:v>
                </c:pt>
                <c:pt idx="6">
                  <c:v>47.224499999999999</c:v>
                </c:pt>
                <c:pt idx="7">
                  <c:v>36.133699999999997</c:v>
                </c:pt>
                <c:pt idx="8">
                  <c:v>51.1034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B$2:$B$10</c:f>
              <c:numCache>
                <c:formatCode>General</c:formatCode>
                <c:ptCount val="9"/>
                <c:pt idx="1">
                  <c:v>235.46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C$2:$C$10</c:f>
              <c:numCache>
                <c:formatCode>General</c:formatCode>
                <c:ptCount val="9"/>
                <c:pt idx="0">
                  <c:v>23.378299999999999</c:v>
                </c:pt>
                <c:pt idx="1">
                  <c:v>56.041800000000002</c:v>
                </c:pt>
                <c:pt idx="2">
                  <c:v>33.541899999999998</c:v>
                </c:pt>
                <c:pt idx="6">
                  <c:v>27.4106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Besserat De Bellefon</c:v>
                </c:pt>
                <c:pt idx="7">
                  <c:v>Malard</c:v>
                </c:pt>
                <c:pt idx="8">
                  <c:v>Pommery</c:v>
                </c:pt>
              </c:strCache>
            </c:strRef>
          </c:cat>
          <c:val>
            <c:numRef>
              <c:f>Sheet1!$D$2:$D$10</c:f>
              <c:numCache>
                <c:formatCode>General</c:formatCode>
                <c:ptCount val="9"/>
                <c:pt idx="0">
                  <c:v>27.509599999999999</c:v>
                </c:pt>
                <c:pt idx="1">
                  <c:v>89.912599999999998</c:v>
                </c:pt>
                <c:pt idx="2">
                  <c:v>57.778199999999998</c:v>
                </c:pt>
                <c:pt idx="3">
                  <c:v>37.654800000000002</c:v>
                </c:pt>
                <c:pt idx="4">
                  <c:v>81.073999999999998</c:v>
                </c:pt>
                <c:pt idx="5">
                  <c:v>37.692500000000003</c:v>
                </c:pt>
                <c:pt idx="6">
                  <c:v>47.162599999999998</c:v>
                </c:pt>
                <c:pt idx="7">
                  <c:v>36.332299999999996</c:v>
                </c:pt>
                <c:pt idx="8">
                  <c:v>51.013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B$2:$B$10</c:f>
              <c:numCache>
                <c:formatCode>General</c:formatCode>
                <c:ptCount val="9"/>
                <c:pt idx="1">
                  <c:v>220.7240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C$2:$C$10</c:f>
              <c:numCache>
                <c:formatCode>General</c:formatCode>
                <c:ptCount val="9"/>
                <c:pt idx="0">
                  <c:v>23.467199999999998</c:v>
                </c:pt>
                <c:pt idx="1">
                  <c:v>56.044400000000003</c:v>
                </c:pt>
                <c:pt idx="2">
                  <c:v>33.7943</c:v>
                </c:pt>
                <c:pt idx="7">
                  <c:v>27.4017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colas</c:v>
                </c:pt>
                <c:pt idx="1">
                  <c:v>Ruinart</c:v>
                </c:pt>
                <c:pt idx="2">
                  <c:v>Deutz</c:v>
                </c:pt>
                <c:pt idx="3">
                  <c:v>Demoiselle</c:v>
                </c:pt>
                <c:pt idx="4">
                  <c:v>Laurent Perrier</c:v>
                </c:pt>
                <c:pt idx="5">
                  <c:v>Nicolas Feuillatte</c:v>
                </c:pt>
                <c:pt idx="6">
                  <c:v>Malard</c:v>
                </c:pt>
                <c:pt idx="7">
                  <c:v>Besserat De Bellefon</c:v>
                </c:pt>
                <c:pt idx="8">
                  <c:v>Pommery</c:v>
                </c:pt>
              </c:strCache>
            </c:strRef>
          </c:cat>
          <c:val>
            <c:numRef>
              <c:f>Sheet1!$D$2:$D$10</c:f>
              <c:numCache>
                <c:formatCode>General</c:formatCode>
                <c:ptCount val="9"/>
                <c:pt idx="0">
                  <c:v>26.79</c:v>
                </c:pt>
                <c:pt idx="1">
                  <c:v>90.025400000000005</c:v>
                </c:pt>
                <c:pt idx="2">
                  <c:v>58.256</c:v>
                </c:pt>
                <c:pt idx="3">
                  <c:v>37.6845</c:v>
                </c:pt>
                <c:pt idx="4">
                  <c:v>81.508399999999995</c:v>
                </c:pt>
                <c:pt idx="5">
                  <c:v>37.932200000000002</c:v>
                </c:pt>
                <c:pt idx="6">
                  <c:v>36.190100000000001</c:v>
                </c:pt>
                <c:pt idx="7">
                  <c:v>47.558300000000003</c:v>
                </c:pt>
                <c:pt idx="8">
                  <c:v>51.2944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88B-411B-AECC-791F69D99A16}"/>
                </c:ext>
              </c:extLst>
            </c:dLbl>
            <c:dLbl>
              <c:idx val="1"/>
              <c:tx>
                <c:rich>
                  <a:bodyPr/>
                  <a:lstStyle/>
                  <a:p>
                    <a:r>
                      <a:t>3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88B-411B-AECC-791F69D99A16}"/>
                </c:ext>
              </c:extLst>
            </c:dLbl>
            <c:dLbl>
              <c:idx val="2"/>
              <c:tx>
                <c:rich>
                  <a:bodyPr/>
                  <a:lstStyle/>
                  <a:p>
                    <a:r>
                      <a:t>4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88B-411B-AECC-791F69D99A16}"/>
                </c:ext>
              </c:extLst>
            </c:dLbl>
            <c:dLbl>
              <c:idx val="3"/>
              <c:tx>
                <c:rich>
                  <a:bodyPr/>
                  <a:lstStyle/>
                  <a:p>
                    <a:r>
                      <a:t>2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88B-411B-AECC-791F69D99A16}"/>
                </c:ext>
              </c:extLst>
            </c:dLbl>
            <c:dLbl>
              <c:idx val="4"/>
              <c:tx>
                <c:rich>
                  <a:bodyPr/>
                  <a:lstStyle/>
                  <a:p>
                    <a:r>
                      <a:t>46.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88B-411B-AECC-791F69D99A16}"/>
                </c:ext>
              </c:extLst>
            </c:dLbl>
            <c:dLbl>
              <c:idx val="5"/>
              <c:tx>
                <c:rich>
                  <a:bodyPr/>
                  <a:lstStyle/>
                  <a:p>
                    <a:r>
                      <a:t>77.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88B-411B-AECC-791F69D99A16}"/>
                </c:ext>
              </c:extLst>
            </c:dLbl>
            <c:dLbl>
              <c:idx val="6"/>
              <c:tx>
                <c:rich>
                  <a:bodyPr/>
                  <a:lstStyle/>
                  <a:p>
                    <a:r>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88B-411B-AECC-791F69D99A16}"/>
                </c:ext>
              </c:extLst>
            </c:dLbl>
            <c:dLbl>
              <c:idx val="7"/>
              <c:tx>
                <c:rich>
                  <a:bodyPr/>
                  <a:lstStyle/>
                  <a:p>
                    <a:r>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88B-411B-AECC-791F69D99A16}"/>
                </c:ext>
              </c:extLst>
            </c:dLbl>
            <c:dLbl>
              <c:idx val="8"/>
              <c:tx>
                <c:rich>
                  <a:bodyPr/>
                  <a:lstStyle/>
                  <a:p>
                    <a:r>
                      <a:t>8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88B-411B-AECC-791F69D99A16}"/>
                </c:ext>
              </c:extLst>
            </c:dLbl>
            <c:dLbl>
              <c:idx val="9"/>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88B-411B-AECC-791F69D99A16}"/>
                </c:ext>
              </c:extLst>
            </c:dLbl>
            <c:dLbl>
              <c:idx val="10"/>
              <c:tx>
                <c:rich>
                  <a:bodyPr/>
                  <a:lstStyle/>
                  <a:p>
                    <a:r>
                      <a:t>4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88B-411B-AECC-791F69D99A16}"/>
                </c:ext>
              </c:extLst>
            </c:dLbl>
            <c:dLbl>
              <c:idx val="11"/>
              <c:tx>
                <c:rich>
                  <a:bodyPr/>
                  <a:lstStyle/>
                  <a:p>
                    <a:r>
                      <a:t>2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88B-411B-AECC-791F69D99A16}"/>
                </c:ext>
              </c:extLst>
            </c:dLbl>
            <c:dLbl>
              <c:idx val="12"/>
              <c:tx>
                <c:rich>
                  <a:bodyPr/>
                  <a:lstStyle/>
                  <a:p>
                    <a:r>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88B-411B-AECC-791F69D99A16}"/>
                </c:ext>
              </c:extLst>
            </c:dLbl>
            <c:dLbl>
              <c:idx val="13"/>
              <c:tx>
                <c:rich>
                  <a:bodyPr/>
                  <a:lstStyle/>
                  <a:p>
                    <a:r>
                      <a:t>3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88B-411B-AECC-791F69D99A16}"/>
                </c:ext>
              </c:extLst>
            </c:dLbl>
            <c:dLbl>
              <c:idx val="14"/>
              <c:tx>
                <c:rich>
                  <a:bodyPr/>
                  <a:lstStyle/>
                  <a:p>
                    <a:r>
                      <a:t>3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88B-411B-AECC-791F69D99A1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pt idx="14">
                  <c:v>CHAMPAGNE NICOLAS 1ER CRU ETUI 1CT X 750ML</c:v>
                </c:pt>
              </c:strCache>
            </c:strRef>
          </c:cat>
          <c:val>
            <c:numRef>
              <c:f>Sheet1!$B$2:$B$16</c:f>
              <c:numCache>
                <c:formatCode>General</c:formatCode>
                <c:ptCount val="15"/>
                <c:pt idx="0">
                  <c:v>21.89</c:v>
                </c:pt>
                <c:pt idx="1">
                  <c:v>36.950000000000003</c:v>
                </c:pt>
                <c:pt idx="2">
                  <c:v>45</c:v>
                </c:pt>
                <c:pt idx="3">
                  <c:v>22.25</c:v>
                </c:pt>
                <c:pt idx="4">
                  <c:v>46.31</c:v>
                </c:pt>
                <c:pt idx="5">
                  <c:v>77.349999999999994</c:v>
                </c:pt>
                <c:pt idx="6">
                  <c:v>38.979999999999997</c:v>
                </c:pt>
                <c:pt idx="7">
                  <c:v>23.9</c:v>
                </c:pt>
                <c:pt idx="8">
                  <c:v>88.12</c:v>
                </c:pt>
                <c:pt idx="9">
                  <c:v>25.01</c:v>
                </c:pt>
                <c:pt idx="10">
                  <c:v>41.25</c:v>
                </c:pt>
                <c:pt idx="11">
                  <c:v>24.55</c:v>
                </c:pt>
                <c:pt idx="12">
                  <c:v>37.18</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Veuve Ambal</c:v>
                </c:pt>
                <c:pt idx="1">
                  <c:v>Mdd</c:v>
                </c:pt>
                <c:pt idx="2">
                  <c:v>Couvent Des Visitandines</c:v>
                </c:pt>
                <c:pt idx="3">
                  <c:v>Moillard</c:v>
                </c:pt>
                <c:pt idx="4">
                  <c:v>All Others</c:v>
                </c:pt>
                <c:pt idx="5">
                  <c:v>Louis Bouillot</c:v>
                </c:pt>
                <c:pt idx="6">
                  <c:v>Valenger</c:v>
                </c:pt>
                <c:pt idx="7">
                  <c:v>Caves De Lugny</c:v>
                </c:pt>
                <c:pt idx="8">
                  <c:v>Patriarche</c:v>
                </c:pt>
              </c:strCache>
            </c:strRef>
          </c:cat>
          <c:val>
            <c:numRef>
              <c:f>Sheet1!$B$2:$B$10</c:f>
              <c:numCache>
                <c:formatCode>General</c:formatCode>
                <c:ptCount val="9"/>
                <c:pt idx="0">
                  <c:v>8.1562000000000001</c:v>
                </c:pt>
                <c:pt idx="1">
                  <c:v>7.0598000000000001</c:v>
                </c:pt>
                <c:pt idx="2">
                  <c:v>8.4002999999999997</c:v>
                </c:pt>
                <c:pt idx="3">
                  <c:v>7.6767000000000003</c:v>
                </c:pt>
                <c:pt idx="4">
                  <c:v>8.3322000000000003</c:v>
                </c:pt>
                <c:pt idx="5">
                  <c:v>9.6956000000000007</c:v>
                </c:pt>
                <c:pt idx="6">
                  <c:v>7.3342999999999998</c:v>
                </c:pt>
                <c:pt idx="7">
                  <c:v>7.7112999999999996</c:v>
                </c:pt>
                <c:pt idx="8">
                  <c:v>12.738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646</c:v>
                </c:pt>
                <c:pt idx="1">
                  <c:v>14.8937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Veuve Ambal</c:v>
                </c:pt>
                <c:pt idx="1">
                  <c:v>Mdd</c:v>
                </c:pt>
                <c:pt idx="2">
                  <c:v>Couvent Des Visitandines</c:v>
                </c:pt>
                <c:pt idx="3">
                  <c:v>Moillard</c:v>
                </c:pt>
                <c:pt idx="4">
                  <c:v>All Others</c:v>
                </c:pt>
                <c:pt idx="5">
                  <c:v>Louis Bouillot</c:v>
                </c:pt>
                <c:pt idx="6">
                  <c:v>Valenger</c:v>
                </c:pt>
                <c:pt idx="7">
                  <c:v>Caves De Lugny</c:v>
                </c:pt>
              </c:strCache>
            </c:strRef>
          </c:cat>
          <c:val>
            <c:numRef>
              <c:f>Sheet1!$B$2:$B$9</c:f>
              <c:numCache>
                <c:formatCode>General</c:formatCode>
                <c:ptCount val="8"/>
                <c:pt idx="0">
                  <c:v>8.1562000000000001</c:v>
                </c:pt>
                <c:pt idx="1">
                  <c:v>7.0598000000000001</c:v>
                </c:pt>
                <c:pt idx="2">
                  <c:v>8.4002999999999997</c:v>
                </c:pt>
                <c:pt idx="3">
                  <c:v>7.6767000000000003</c:v>
                </c:pt>
                <c:pt idx="4">
                  <c:v>8.2825000000000006</c:v>
                </c:pt>
                <c:pt idx="5">
                  <c:v>9.6956000000000007</c:v>
                </c:pt>
                <c:pt idx="6">
                  <c:v>7.3342999999999998</c:v>
                </c:pt>
                <c:pt idx="7">
                  <c:v>7.711299999999999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75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45100000000001</c:v>
                </c:pt>
                <c:pt idx="1">
                  <c:v>14.9905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3.0215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8572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4357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7769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82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390-49CA-95A2-EBBA4C096C11}"/>
                </c:ext>
              </c:extLst>
            </c:dLbl>
            <c:dLbl>
              <c:idx val="1"/>
              <c:tx>
                <c:rich>
                  <a:bodyPr/>
                  <a:lstStyle/>
                  <a:p>
                    <a:r>
                      <a:rPr lang="en-US"/>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390-49CA-95A2-EBBA4C096C11}"/>
                </c:ext>
              </c:extLst>
            </c:dLbl>
            <c:dLbl>
              <c:idx val="2"/>
              <c:tx>
                <c:rich>
                  <a:bodyPr/>
                  <a:lstStyle/>
                  <a:p>
                    <a:r>
                      <a:rPr lang="en-US"/>
                      <a:t>37.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390-49CA-95A2-EBBA4C096C11}"/>
                </c:ext>
              </c:extLst>
            </c:dLbl>
            <c:dLbl>
              <c:idx val="3"/>
              <c:tx>
                <c:rich>
                  <a:bodyPr/>
                  <a:lstStyle/>
                  <a:p>
                    <a:r>
                      <a:rPr lang="en-US"/>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390-49CA-95A2-EBBA4C096C11}"/>
                </c:ext>
              </c:extLst>
            </c:dLbl>
            <c:dLbl>
              <c:idx val="4"/>
              <c:tx>
                <c:rich>
                  <a:bodyPr/>
                  <a:lstStyle/>
                  <a:p>
                    <a:r>
                      <a:rPr lang="en-US"/>
                      <a:t>2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390-49CA-95A2-EBBA4C096C11}"/>
                </c:ext>
              </c:extLst>
            </c:dLbl>
            <c:dLbl>
              <c:idx val="5"/>
              <c:tx>
                <c:rich>
                  <a:bodyPr/>
                  <a:lstStyle/>
                  <a:p>
                    <a:r>
                      <a:rPr lang="en-US"/>
                      <a:t>39.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390-49CA-95A2-EBBA4C096C11}"/>
                </c:ext>
              </c:extLst>
            </c:dLbl>
            <c:dLbl>
              <c:idx val="6"/>
              <c:tx>
                <c:rich>
                  <a:bodyPr/>
                  <a:lstStyle/>
                  <a:p>
                    <a:r>
                      <a:rPr lang="en-US"/>
                      <a:t>4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390-49CA-95A2-EBBA4C096C11}"/>
                </c:ext>
              </c:extLst>
            </c:dLbl>
            <c:dLbl>
              <c:idx val="7"/>
              <c:tx>
                <c:rich>
                  <a:bodyPr/>
                  <a:lstStyle/>
                  <a:p>
                    <a:r>
                      <a:rPr lang="en-US"/>
                      <a:t>4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390-49CA-95A2-EBBA4C096C11}"/>
                </c:ext>
              </c:extLst>
            </c:dLbl>
            <c:dLbl>
              <c:idx val="8"/>
              <c:tx>
                <c:rich>
                  <a:bodyPr/>
                  <a:lstStyle/>
                  <a:p>
                    <a:r>
                      <a:rPr lang="en-US"/>
                      <a:t>2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390-49CA-95A2-EBBA4C096C11}"/>
                </c:ext>
              </c:extLst>
            </c:dLbl>
            <c:dLbl>
              <c:idx val="9"/>
              <c:tx>
                <c:rich>
                  <a:bodyPr/>
                  <a:lstStyle/>
                  <a:p>
                    <a:r>
                      <a:rPr lang="en-US"/>
                      <a:t>36.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390-49CA-95A2-EBBA4C096C11}"/>
                </c:ext>
              </c:extLst>
            </c:dLbl>
            <c:dLbl>
              <c:idx val="10"/>
              <c:tx>
                <c:rich>
                  <a:bodyPr/>
                  <a:lstStyle/>
                  <a:p>
                    <a:r>
                      <a:rPr lang="en-US"/>
                      <a:t>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390-49CA-95A2-EBBA4C096C1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CHAMPAGNE NICOLAS BIO NAT 2017 1CT X 750ML</c:v>
                </c:pt>
                <c:pt idx="8">
                  <c:v>1/2 CHAMP NICOLAS ROSE 1E C BS 1CT X 375ML</c:v>
                </c:pt>
                <c:pt idx="9">
                  <c:v>CHAMPAGNE NICOLAS BLC DE NOIRS 1CT X 750ML</c:v>
                </c:pt>
                <c:pt idx="10">
                  <c:v>1/2 CHAMP NICOLAS BLC/BLC BS 1CT X 375ML</c:v>
                </c:pt>
              </c:strCache>
            </c:strRef>
          </c:cat>
          <c:val>
            <c:numRef>
              <c:f>Sheet1!$B$2:$B$12</c:f>
              <c:numCache>
                <c:formatCode>General</c:formatCode>
                <c:ptCount val="11"/>
                <c:pt idx="0">
                  <c:v>21.92</c:v>
                </c:pt>
                <c:pt idx="1">
                  <c:v>38.979999999999997</c:v>
                </c:pt>
                <c:pt idx="2">
                  <c:v>37.26</c:v>
                </c:pt>
                <c:pt idx="3">
                  <c:v>25.01</c:v>
                </c:pt>
                <c:pt idx="4">
                  <c:v>22.3</c:v>
                </c:pt>
                <c:pt idx="5">
                  <c:v>39.56</c:v>
                </c:pt>
                <c:pt idx="6">
                  <c:v>46.52</c:v>
                </c:pt>
                <c:pt idx="7">
                  <c:v>45.45</c:v>
                </c:pt>
                <c:pt idx="8">
                  <c:v>23.74</c:v>
                </c:pt>
                <c:pt idx="9">
                  <c:v>36.67</c:v>
                </c:pt>
                <c:pt idx="10">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EF-48CB-93B3-31A111702F7F}"/>
                </c:ext>
              </c:extLst>
            </c:dLbl>
            <c:dLbl>
              <c:idx val="1"/>
              <c:tx>
                <c:rich>
                  <a:bodyPr/>
                  <a:lstStyle/>
                  <a:p>
                    <a:r>
                      <a:t>3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7EF-48CB-93B3-31A111702F7F}"/>
                </c:ext>
              </c:extLst>
            </c:dLbl>
            <c:dLbl>
              <c:idx val="2"/>
              <c:tx>
                <c:rich>
                  <a:bodyPr/>
                  <a:lstStyle/>
                  <a:p>
                    <a:r>
                      <a:t>4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7EF-48CB-93B3-31A111702F7F}"/>
                </c:ext>
              </c:extLst>
            </c:dLbl>
            <c:dLbl>
              <c:idx val="3"/>
              <c:tx>
                <c:rich>
                  <a:bodyPr/>
                  <a:lstStyle/>
                  <a:p>
                    <a:r>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7EF-48CB-93B3-31A111702F7F}"/>
                </c:ext>
              </c:extLst>
            </c:dLbl>
            <c:dLbl>
              <c:idx val="4"/>
              <c:tx>
                <c:rich>
                  <a:bodyPr/>
                  <a:lstStyle/>
                  <a:p>
                    <a:r>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7EF-48CB-93B3-31A111702F7F}"/>
                </c:ext>
              </c:extLst>
            </c:dLbl>
            <c:dLbl>
              <c:idx val="5"/>
              <c:tx>
                <c:rich>
                  <a:bodyPr/>
                  <a:lstStyle/>
                  <a:p>
                    <a:r>
                      <a:t>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7EF-48CB-93B3-31A111702F7F}"/>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7EF-48CB-93B3-31A111702F7F}"/>
                </c:ext>
              </c:extLst>
            </c:dLbl>
            <c:dLbl>
              <c:idx val="7"/>
              <c:tx>
                <c:rich>
                  <a:bodyPr/>
                  <a:lstStyle/>
                  <a:p>
                    <a:r>
                      <a:t>24.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7EF-48CB-93B3-31A111702F7F}"/>
                </c:ext>
              </c:extLst>
            </c:dLbl>
            <c:dLbl>
              <c:idx val="8"/>
              <c:tx>
                <c:rich>
                  <a:bodyPr/>
                  <a:lstStyle/>
                  <a:p>
                    <a:r>
                      <a:t>8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7EF-48CB-93B3-31A111702F7F}"/>
                </c:ext>
              </c:extLst>
            </c:dLbl>
            <c:dLbl>
              <c:idx val="9"/>
              <c:tx>
                <c:rich>
                  <a:bodyPr/>
                  <a:lstStyle/>
                  <a:p>
                    <a:r>
                      <a:t>2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7EF-48CB-93B3-31A111702F7F}"/>
                </c:ext>
              </c:extLst>
            </c:dLbl>
            <c:dLbl>
              <c:idx val="10"/>
              <c:tx>
                <c:rich>
                  <a:bodyPr/>
                  <a:lstStyle/>
                  <a:p>
                    <a:r>
                      <a:t>41.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7EF-48CB-93B3-31A111702F7F}"/>
                </c:ext>
              </c:extLst>
            </c:dLbl>
            <c:dLbl>
              <c:idx val="11"/>
              <c:tx>
                <c:rich>
                  <a:bodyPr/>
                  <a:lstStyle/>
                  <a:p>
                    <a:r>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7EF-48CB-93B3-31A111702F7F}"/>
                </c:ext>
              </c:extLst>
            </c:dLbl>
            <c:dLbl>
              <c:idx val="12"/>
              <c:tx>
                <c:rich>
                  <a:bodyPr/>
                  <a:lstStyle/>
                  <a:p>
                    <a:r>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7EF-48CB-93B3-31A111702F7F}"/>
                </c:ext>
              </c:extLst>
            </c:dLbl>
            <c:dLbl>
              <c:idx val="13"/>
              <c:tx>
                <c:rich>
                  <a:bodyPr/>
                  <a:lstStyle/>
                  <a:p>
                    <a:r>
                      <a:t>3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7EF-48CB-93B3-31A111702F7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BLC DE NOIRS 1CT X 750ML</c:v>
                </c:pt>
                <c:pt idx="13">
                  <c:v>CHAMPAGNE NICOLAS 1ER CRU BS 1CT X 750ML</c:v>
                </c:pt>
              </c:strCache>
            </c:strRef>
          </c:cat>
          <c:val>
            <c:numRef>
              <c:f>Sheet1!$B$2:$B$15</c:f>
              <c:numCache>
                <c:formatCode>General</c:formatCode>
                <c:ptCount val="14"/>
                <c:pt idx="0">
                  <c:v>21.92</c:v>
                </c:pt>
                <c:pt idx="1">
                  <c:v>36.92</c:v>
                </c:pt>
                <c:pt idx="2">
                  <c:v>45.55</c:v>
                </c:pt>
                <c:pt idx="3">
                  <c:v>22.34</c:v>
                </c:pt>
                <c:pt idx="4">
                  <c:v>46.56</c:v>
                </c:pt>
                <c:pt idx="5">
                  <c:v>75.099999999999994</c:v>
                </c:pt>
                <c:pt idx="6">
                  <c:v>39.090000000000003</c:v>
                </c:pt>
                <c:pt idx="7">
                  <c:v>24.37</c:v>
                </c:pt>
                <c:pt idx="8">
                  <c:v>89.67</c:v>
                </c:pt>
                <c:pt idx="9">
                  <c:v>25.12</c:v>
                </c:pt>
                <c:pt idx="10">
                  <c:v>41.31</c:v>
                </c:pt>
                <c:pt idx="11">
                  <c:v>23.86</c:v>
                </c:pt>
                <c:pt idx="12">
                  <c:v>36.46</c:v>
                </c:pt>
                <c:pt idx="13">
                  <c:v>37.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614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657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9738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767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782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Patriarche</c:v>
                </c:pt>
              </c:strCache>
            </c:strRef>
          </c:cat>
          <c:val>
            <c:numRef>
              <c:f>Sheet1!$B$2:$B$2</c:f>
              <c:numCache>
                <c:formatCode>General</c:formatCode>
                <c:ptCount val="1"/>
                <c:pt idx="0">
                  <c:v>12.6960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51099999999999</c:v>
                </c:pt>
                <c:pt idx="1">
                  <c:v>14.711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atriarche</c:v>
                </c:pt>
                <c:pt idx="1">
                  <c:v>All Others</c:v>
                </c:pt>
              </c:strCache>
            </c:strRef>
          </c:cat>
          <c:val>
            <c:numRef>
              <c:f>Sheet1!$B$2:$B$3</c:f>
              <c:numCache>
                <c:formatCode>General</c:formatCode>
                <c:ptCount val="2"/>
                <c:pt idx="0">
                  <c:v>12.7788</c:v>
                </c:pt>
                <c:pt idx="1">
                  <c:v>16.86670000000000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Riccadonna</c:v>
                </c:pt>
                <c:pt idx="1">
                  <c:v>Mdd</c:v>
                </c:pt>
                <c:pt idx="2">
                  <c:v>Vilaveroni</c:v>
                </c:pt>
                <c:pt idx="3">
                  <c:v>Perlino</c:v>
                </c:pt>
                <c:pt idx="4">
                  <c:v>All Others</c:v>
                </c:pt>
                <c:pt idx="5">
                  <c:v>Mionetto</c:v>
                </c:pt>
                <c:pt idx="6">
                  <c:v>Signore Giuseppe</c:v>
                </c:pt>
                <c:pt idx="7">
                  <c:v>Maschio</c:v>
                </c:pt>
                <c:pt idx="8">
                  <c:v>Nobrand</c:v>
                </c:pt>
              </c:strCache>
            </c:strRef>
          </c:cat>
          <c:val>
            <c:numRef>
              <c:f>Sheet1!$B$2:$B$10</c:f>
              <c:numCache>
                <c:formatCode>General</c:formatCode>
                <c:ptCount val="9"/>
                <c:pt idx="0">
                  <c:v>10.4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Riccadonna</c:v>
                </c:pt>
                <c:pt idx="1">
                  <c:v>Mdd</c:v>
                </c:pt>
                <c:pt idx="2">
                  <c:v>Vilaveroni</c:v>
                </c:pt>
                <c:pt idx="3">
                  <c:v>Perlino</c:v>
                </c:pt>
                <c:pt idx="4">
                  <c:v>All Others</c:v>
                </c:pt>
                <c:pt idx="5">
                  <c:v>Mionetto</c:v>
                </c:pt>
                <c:pt idx="6">
                  <c:v>Signore Giuseppe</c:v>
                </c:pt>
                <c:pt idx="7">
                  <c:v>Maschio</c:v>
                </c:pt>
                <c:pt idx="8">
                  <c:v>Nobrand</c:v>
                </c:pt>
              </c:strCache>
            </c:strRef>
          </c:cat>
          <c:val>
            <c:numRef>
              <c:f>Sheet1!$C$2:$C$10</c:f>
              <c:numCache>
                <c:formatCode>General</c:formatCode>
                <c:ptCount val="9"/>
                <c:pt idx="0">
                  <c:v>9.82210000000000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Riccadonna</c:v>
                </c:pt>
                <c:pt idx="1">
                  <c:v>Mdd</c:v>
                </c:pt>
                <c:pt idx="2">
                  <c:v>Vilaveroni</c:v>
                </c:pt>
                <c:pt idx="3">
                  <c:v>Perlino</c:v>
                </c:pt>
                <c:pt idx="4">
                  <c:v>All Others</c:v>
                </c:pt>
                <c:pt idx="5">
                  <c:v>Mionetto</c:v>
                </c:pt>
                <c:pt idx="6">
                  <c:v>Signore Giuseppe</c:v>
                </c:pt>
                <c:pt idx="7">
                  <c:v>Maschio</c:v>
                </c:pt>
                <c:pt idx="8">
                  <c:v>Nobrand</c:v>
                </c:pt>
              </c:strCache>
            </c:strRef>
          </c:cat>
          <c:val>
            <c:numRef>
              <c:f>Sheet1!$D$2:$D$10</c:f>
              <c:numCache>
                <c:formatCode>General</c:formatCode>
                <c:ptCount val="9"/>
                <c:pt idx="0">
                  <c:v>6.7092999999999998</c:v>
                </c:pt>
                <c:pt idx="1">
                  <c:v>5.3509000000000002</c:v>
                </c:pt>
                <c:pt idx="2">
                  <c:v>6.3136999999999999</c:v>
                </c:pt>
                <c:pt idx="3">
                  <c:v>6.6936</c:v>
                </c:pt>
                <c:pt idx="4">
                  <c:v>6.5628000000000002</c:v>
                </c:pt>
                <c:pt idx="5">
                  <c:v>7.1216999999999997</c:v>
                </c:pt>
                <c:pt idx="6">
                  <c:v>6.0354999999999999</c:v>
                </c:pt>
                <c:pt idx="7">
                  <c:v>7.5378999999999996</c:v>
                </c:pt>
                <c:pt idx="8">
                  <c:v>5.51140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5973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3982000000000001</c:v>
                </c:pt>
                <c:pt idx="1">
                  <c:v>11.451499999999999</c:v>
                </c:pt>
                <c:pt idx="2">
                  <c:v>9.1104000000000003</c:v>
                </c:pt>
                <c:pt idx="3">
                  <c:v>9.88359999999999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476-42E7-BB68-A5AFBADCA70A}"/>
                </c:ext>
              </c:extLst>
            </c:dLbl>
            <c:dLbl>
              <c:idx val="1"/>
              <c:tx>
                <c:rich>
                  <a:bodyPr/>
                  <a:lstStyle/>
                  <a:p>
                    <a:r>
                      <a:t>3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476-42E7-BB68-A5AFBADCA70A}"/>
                </c:ext>
              </c:extLst>
            </c:dLbl>
            <c:dLbl>
              <c:idx val="2"/>
              <c:tx>
                <c:rich>
                  <a:bodyPr/>
                  <a:lstStyle/>
                  <a:p>
                    <a:r>
                      <a:t>4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476-42E7-BB68-A5AFBADCA70A}"/>
                </c:ext>
              </c:extLst>
            </c:dLbl>
            <c:dLbl>
              <c:idx val="3"/>
              <c:tx>
                <c:rich>
                  <a:bodyPr/>
                  <a:lstStyle/>
                  <a:p>
                    <a:r>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476-42E7-BB68-A5AFBADCA70A}"/>
                </c:ext>
              </c:extLst>
            </c:dLbl>
            <c:dLbl>
              <c:idx val="4"/>
              <c:tx>
                <c:rich>
                  <a:bodyPr/>
                  <a:lstStyle/>
                  <a:p>
                    <a:r>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476-42E7-BB68-A5AFBADCA70A}"/>
                </c:ext>
              </c:extLst>
            </c:dLbl>
            <c:dLbl>
              <c:idx val="5"/>
              <c:tx>
                <c:rich>
                  <a:bodyPr/>
                  <a:lstStyle/>
                  <a:p>
                    <a:r>
                      <a:t>7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476-42E7-BB68-A5AFBADCA70A}"/>
                </c:ext>
              </c:extLst>
            </c:dLbl>
            <c:dLbl>
              <c:idx val="6"/>
              <c:tx>
                <c:rich>
                  <a:bodyPr/>
                  <a:lstStyle/>
                  <a:p>
                    <a:r>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476-42E7-BB68-A5AFBADCA70A}"/>
                </c:ext>
              </c:extLst>
            </c:dLbl>
            <c:dLbl>
              <c:idx val="7"/>
              <c:tx>
                <c:rich>
                  <a:bodyPr/>
                  <a:lstStyle/>
                  <a:p>
                    <a:r>
                      <a:t>8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476-42E7-BB68-A5AFBADCA70A}"/>
                </c:ext>
              </c:extLst>
            </c:dLbl>
            <c:dLbl>
              <c:idx val="8"/>
              <c:tx>
                <c:rich>
                  <a:bodyPr/>
                  <a:lstStyle/>
                  <a:p>
                    <a:r>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476-42E7-BB68-A5AFBADCA70A}"/>
                </c:ext>
              </c:extLst>
            </c:dLbl>
            <c:dLbl>
              <c:idx val="9"/>
              <c:tx>
                <c:rich>
                  <a:bodyPr/>
                  <a:lstStyle/>
                  <a:p>
                    <a:r>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476-42E7-BB68-A5AFBADCA70A}"/>
                </c:ext>
              </c:extLst>
            </c:dLbl>
            <c:dLbl>
              <c:idx val="10"/>
              <c:tx>
                <c:rich>
                  <a:bodyPr/>
                  <a:lstStyle/>
                  <a:p>
                    <a:r>
                      <a:t>42.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476-42E7-BB68-A5AFBADCA70A}"/>
                </c:ext>
              </c:extLst>
            </c:dLbl>
            <c:dLbl>
              <c:idx val="11"/>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476-42E7-BB68-A5AFBADCA70A}"/>
                </c:ext>
              </c:extLst>
            </c:dLbl>
            <c:dLbl>
              <c:idx val="12"/>
              <c:tx>
                <c:rich>
                  <a:bodyPr/>
                  <a:lstStyle/>
                  <a:p>
                    <a:r>
                      <a:t>4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476-42E7-BB68-A5AFBADCA70A}"/>
                </c:ext>
              </c:extLst>
            </c:dLbl>
            <c:dLbl>
              <c:idx val="13"/>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476-42E7-BB68-A5AFBADCA70A}"/>
                </c:ext>
              </c:extLst>
            </c:dLbl>
            <c:dLbl>
              <c:idx val="14"/>
              <c:tx>
                <c:rich>
                  <a:bodyPr/>
                  <a:lstStyle/>
                  <a:p>
                    <a:r>
                      <a:t>35.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476-42E7-BB68-A5AFBADCA70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 C BS 1CT X 750ML</c:v>
                </c:pt>
                <c:pt idx="13">
                  <c:v>CHAMPAGNE NICOLAS BLC DE NOIRS 1CT X 750ML</c:v>
                </c:pt>
                <c:pt idx="14">
                  <c:v>CHAMPAGNE NICOLAS 1ER CRU BS 1CT X 750ML</c:v>
                </c:pt>
              </c:strCache>
            </c:strRef>
          </c:cat>
          <c:val>
            <c:numRef>
              <c:f>Sheet1!$B$2:$B$16</c:f>
              <c:numCache>
                <c:formatCode>General</c:formatCode>
                <c:ptCount val="15"/>
                <c:pt idx="0">
                  <c:v>21.93</c:v>
                </c:pt>
                <c:pt idx="1">
                  <c:v>36.979999999999997</c:v>
                </c:pt>
                <c:pt idx="2">
                  <c:v>45.8</c:v>
                </c:pt>
                <c:pt idx="3">
                  <c:v>22.31</c:v>
                </c:pt>
                <c:pt idx="4">
                  <c:v>46.69</c:v>
                </c:pt>
                <c:pt idx="5">
                  <c:v>75.209999999999994</c:v>
                </c:pt>
                <c:pt idx="6">
                  <c:v>39.08</c:v>
                </c:pt>
                <c:pt idx="7">
                  <c:v>81.19</c:v>
                </c:pt>
                <c:pt idx="8">
                  <c:v>23.76</c:v>
                </c:pt>
                <c:pt idx="9">
                  <c:v>25.05</c:v>
                </c:pt>
                <c:pt idx="10">
                  <c:v>42.65</c:v>
                </c:pt>
                <c:pt idx="11">
                  <c:v>24.16</c:v>
                </c:pt>
                <c:pt idx="12">
                  <c:v>42.19</c:v>
                </c:pt>
                <c:pt idx="13">
                  <c:v>36.369999999999997</c:v>
                </c:pt>
                <c:pt idx="14">
                  <c:v>35.97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Riccadonna</c:v>
                </c:pt>
                <c:pt idx="1">
                  <c:v>Mdd</c:v>
                </c:pt>
                <c:pt idx="2">
                  <c:v>Vilaveroni</c:v>
                </c:pt>
                <c:pt idx="3">
                  <c:v>Perlino</c:v>
                </c:pt>
                <c:pt idx="4">
                  <c:v>Mionetto</c:v>
                </c:pt>
                <c:pt idx="5">
                  <c:v>All Others</c:v>
                </c:pt>
                <c:pt idx="6">
                  <c:v>Signore Giuseppe</c:v>
                </c:pt>
                <c:pt idx="7">
                  <c:v>Maschio</c:v>
                </c:pt>
                <c:pt idx="8">
                  <c:v>Nobrand</c:v>
                </c:pt>
              </c:strCache>
            </c:strRef>
          </c:cat>
          <c:val>
            <c:numRef>
              <c:f>Sheet1!$B$2:$B$10</c:f>
              <c:numCache>
                <c:formatCode>General</c:formatCode>
                <c:ptCount val="9"/>
                <c:pt idx="0">
                  <c:v>10.4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Riccadonna</c:v>
                </c:pt>
                <c:pt idx="1">
                  <c:v>Mdd</c:v>
                </c:pt>
                <c:pt idx="2">
                  <c:v>Vilaveroni</c:v>
                </c:pt>
                <c:pt idx="3">
                  <c:v>Perlino</c:v>
                </c:pt>
                <c:pt idx="4">
                  <c:v>Mionetto</c:v>
                </c:pt>
                <c:pt idx="5">
                  <c:v>All Others</c:v>
                </c:pt>
                <c:pt idx="6">
                  <c:v>Signore Giuseppe</c:v>
                </c:pt>
                <c:pt idx="7">
                  <c:v>Maschio</c:v>
                </c:pt>
                <c:pt idx="8">
                  <c:v>Nobrand</c:v>
                </c:pt>
              </c:strCache>
            </c:strRef>
          </c:cat>
          <c:val>
            <c:numRef>
              <c:f>Sheet1!$C$2:$C$10</c:f>
              <c:numCache>
                <c:formatCode>General</c:formatCode>
                <c:ptCount val="9"/>
                <c:pt idx="0">
                  <c:v>9.82210000000000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Riccadonna</c:v>
                </c:pt>
                <c:pt idx="1">
                  <c:v>Mdd</c:v>
                </c:pt>
                <c:pt idx="2">
                  <c:v>Vilaveroni</c:v>
                </c:pt>
                <c:pt idx="3">
                  <c:v>Perlino</c:v>
                </c:pt>
                <c:pt idx="4">
                  <c:v>Mionetto</c:v>
                </c:pt>
                <c:pt idx="5">
                  <c:v>All Others</c:v>
                </c:pt>
                <c:pt idx="6">
                  <c:v>Signore Giuseppe</c:v>
                </c:pt>
                <c:pt idx="7">
                  <c:v>Maschio</c:v>
                </c:pt>
                <c:pt idx="8">
                  <c:v>Nobrand</c:v>
                </c:pt>
              </c:strCache>
            </c:strRef>
          </c:cat>
          <c:val>
            <c:numRef>
              <c:f>Sheet1!$D$2:$D$10</c:f>
              <c:numCache>
                <c:formatCode>General</c:formatCode>
                <c:ptCount val="9"/>
                <c:pt idx="0">
                  <c:v>6.7092999999999998</c:v>
                </c:pt>
                <c:pt idx="1">
                  <c:v>5.3509000000000002</c:v>
                </c:pt>
                <c:pt idx="2">
                  <c:v>6.3136999999999999</c:v>
                </c:pt>
                <c:pt idx="3">
                  <c:v>6.6936</c:v>
                </c:pt>
                <c:pt idx="4">
                  <c:v>7.1216999999999997</c:v>
                </c:pt>
                <c:pt idx="5">
                  <c:v>6.5224000000000002</c:v>
                </c:pt>
                <c:pt idx="6">
                  <c:v>6.0354999999999999</c:v>
                </c:pt>
                <c:pt idx="7">
                  <c:v>7.5378999999999996</c:v>
                </c:pt>
                <c:pt idx="8">
                  <c:v>5.51140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31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409999999999998</c:v>
                </c:pt>
                <c:pt idx="1">
                  <c:v>11.4527</c:v>
                </c:pt>
                <c:pt idx="2">
                  <c:v>9.0898000000000003</c:v>
                </c:pt>
                <c:pt idx="3">
                  <c:v>9.854900000000000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4459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3243999999999998</c:v>
                </c:pt>
                <c:pt idx="1">
                  <c:v>11.3698</c:v>
                </c:pt>
                <c:pt idx="2">
                  <c:v>9.0983000000000001</c:v>
                </c:pt>
                <c:pt idx="3">
                  <c:v>9.90949999999999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ttega</c:v>
                </c:pt>
                <c:pt idx="1">
                  <c:v>All Others</c:v>
                </c:pt>
                <c:pt idx="2">
                  <c:v>Savian</c:v>
                </c:pt>
                <c:pt idx="3">
                  <c:v>Contarini</c:v>
                </c:pt>
              </c:strCache>
            </c:strRef>
          </c:cat>
          <c:val>
            <c:numRef>
              <c:f>Sheet1!$B$2:$B$5</c:f>
              <c:numCache>
                <c:formatCode>General</c:formatCode>
                <c:ptCount val="4"/>
                <c:pt idx="3">
                  <c:v>18.78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ottega</c:v>
                </c:pt>
                <c:pt idx="1">
                  <c:v>All Others</c:v>
                </c:pt>
                <c:pt idx="2">
                  <c:v>Savian</c:v>
                </c:pt>
                <c:pt idx="3">
                  <c:v>Contarini</c:v>
                </c:pt>
              </c:strCache>
            </c:strRef>
          </c:cat>
          <c:val>
            <c:numRef>
              <c:f>Sheet1!$C$2:$C$5</c:f>
              <c:numCache>
                <c:formatCode>General</c:formatCode>
                <c:ptCount val="4"/>
                <c:pt idx="0">
                  <c:v>11.425599999999999</c:v>
                </c:pt>
                <c:pt idx="1">
                  <c:v>7.4080000000000004</c:v>
                </c:pt>
                <c:pt idx="2">
                  <c:v>9.1058000000000003</c:v>
                </c:pt>
                <c:pt idx="3">
                  <c:v>9.892300000000000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9.238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5523999999999996</c:v>
                </c:pt>
                <c:pt idx="1">
                  <c:v>11.524699999999999</c:v>
                </c:pt>
                <c:pt idx="2">
                  <c:v>9.1434999999999995</c:v>
                </c:pt>
                <c:pt idx="3">
                  <c:v>9.93060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ll Others</c:v>
                </c:pt>
                <c:pt idx="1">
                  <c:v>Bottega</c:v>
                </c:pt>
                <c:pt idx="2">
                  <c:v>Savian</c:v>
                </c:pt>
                <c:pt idx="3">
                  <c:v>Contarini</c:v>
                </c:pt>
                <c:pt idx="4">
                  <c:v>Vilaveroni</c:v>
                </c:pt>
              </c:strCache>
            </c:strRef>
          </c:cat>
          <c:val>
            <c:numRef>
              <c:f>Sheet1!$B$2:$B$6</c:f>
              <c:numCache>
                <c:formatCode>General</c:formatCode>
                <c:ptCount val="5"/>
                <c:pt idx="3">
                  <c:v>1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ll Others</c:v>
                </c:pt>
                <c:pt idx="1">
                  <c:v>Bottega</c:v>
                </c:pt>
                <c:pt idx="2">
                  <c:v>Savian</c:v>
                </c:pt>
                <c:pt idx="3">
                  <c:v>Contarini</c:v>
                </c:pt>
                <c:pt idx="4">
                  <c:v>Vilaveroni</c:v>
                </c:pt>
              </c:strCache>
            </c:strRef>
          </c:cat>
          <c:val>
            <c:numRef>
              <c:f>Sheet1!$C$2:$C$6</c:f>
              <c:numCache>
                <c:formatCode>General</c:formatCode>
                <c:ptCount val="5"/>
                <c:pt idx="0">
                  <c:v>7.1877000000000004</c:v>
                </c:pt>
                <c:pt idx="1">
                  <c:v>11.4154</c:v>
                </c:pt>
                <c:pt idx="2">
                  <c:v>9.2040000000000006</c:v>
                </c:pt>
                <c:pt idx="3">
                  <c:v>9.8796999999999997</c:v>
                </c:pt>
                <c:pt idx="4">
                  <c:v>6.575499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31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691999999999998</c:v>
                </c:pt>
                <c:pt idx="1">
                  <c:v>11.437099999999999</c:v>
                </c:pt>
                <c:pt idx="2">
                  <c:v>9.0905000000000005</c:v>
                </c:pt>
                <c:pt idx="3">
                  <c:v>9.855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ttega</c:v>
                </c:pt>
                <c:pt idx="1">
                  <c:v>All Others</c:v>
                </c:pt>
                <c:pt idx="2">
                  <c:v>Savian</c:v>
                </c:pt>
                <c:pt idx="3">
                  <c:v>Contarini</c:v>
                </c:pt>
              </c:strCache>
            </c:strRef>
          </c:cat>
          <c:val>
            <c:numRef>
              <c:f>Sheet1!$B$2:$B$5</c:f>
              <c:numCache>
                <c:formatCode>General</c:formatCode>
                <c:ptCount val="4"/>
                <c:pt idx="3">
                  <c:v>18.7752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ottega</c:v>
                </c:pt>
                <c:pt idx="1">
                  <c:v>All Others</c:v>
                </c:pt>
                <c:pt idx="2">
                  <c:v>Savian</c:v>
                </c:pt>
                <c:pt idx="3">
                  <c:v>Contarini</c:v>
                </c:pt>
              </c:strCache>
            </c:strRef>
          </c:cat>
          <c:val>
            <c:numRef>
              <c:f>Sheet1!$C$2:$C$5</c:f>
              <c:numCache>
                <c:formatCode>General</c:formatCode>
                <c:ptCount val="4"/>
                <c:pt idx="0">
                  <c:v>11.4709</c:v>
                </c:pt>
                <c:pt idx="1">
                  <c:v>7.3208000000000002</c:v>
                </c:pt>
                <c:pt idx="2">
                  <c:v>9.1577000000000002</c:v>
                </c:pt>
                <c:pt idx="3">
                  <c:v>9.881399999999999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ll Others</c:v>
                </c:pt>
                <c:pt idx="1">
                  <c:v>Bottega</c:v>
                </c:pt>
                <c:pt idx="2">
                  <c:v>Savian</c:v>
                </c:pt>
                <c:pt idx="3">
                  <c:v>Contarini</c:v>
                </c:pt>
                <c:pt idx="4">
                  <c:v>Vilaveroni</c:v>
                </c:pt>
              </c:strCache>
            </c:strRef>
          </c:cat>
          <c:val>
            <c:numRef>
              <c:f>Sheet1!$B$2:$B$6</c:f>
              <c:numCache>
                <c:formatCode>General</c:formatCode>
                <c:ptCount val="5"/>
                <c:pt idx="3">
                  <c:v>18.78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ll Others</c:v>
                </c:pt>
                <c:pt idx="1">
                  <c:v>Bottega</c:v>
                </c:pt>
                <c:pt idx="2">
                  <c:v>Savian</c:v>
                </c:pt>
                <c:pt idx="3">
                  <c:v>Contarini</c:v>
                </c:pt>
                <c:pt idx="4">
                  <c:v>Vilaveroni</c:v>
                </c:pt>
              </c:strCache>
            </c:strRef>
          </c:cat>
          <c:val>
            <c:numRef>
              <c:f>Sheet1!$C$2:$C$6</c:f>
              <c:numCache>
                <c:formatCode>General</c:formatCode>
                <c:ptCount val="5"/>
                <c:pt idx="0">
                  <c:v>7.1779000000000002</c:v>
                </c:pt>
                <c:pt idx="1">
                  <c:v>11.4886</c:v>
                </c:pt>
                <c:pt idx="2">
                  <c:v>9.1776</c:v>
                </c:pt>
                <c:pt idx="3">
                  <c:v>9.8829999999999991</c:v>
                </c:pt>
                <c:pt idx="4">
                  <c:v>6.47609999999999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9.4615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2351000000000001</c:v>
                </c:pt>
                <c:pt idx="1">
                  <c:v>11.490399999999999</c:v>
                </c:pt>
                <c:pt idx="2">
                  <c:v>9.1667000000000005</c:v>
                </c:pt>
                <c:pt idx="3">
                  <c:v>9.85919999999999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73E-4FB8-9FFC-404B0C7C9741}"/>
                </c:ext>
              </c:extLst>
            </c:dLbl>
            <c:dLbl>
              <c:idx val="1"/>
              <c:tx>
                <c:rich>
                  <a:bodyPr/>
                  <a:lstStyle/>
                  <a:p>
                    <a:r>
                      <a:rPr lang="en-CH"/>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73E-4FB8-9FFC-404B0C7C9741}"/>
                </c:ext>
              </c:extLst>
            </c:dLbl>
            <c:dLbl>
              <c:idx val="2"/>
              <c:tx>
                <c:rich>
                  <a:bodyPr/>
                  <a:lstStyle/>
                  <a:p>
                    <a:r>
                      <a:rPr lang="en-CH"/>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73E-4FB8-9FFC-404B0C7C9741}"/>
                </c:ext>
              </c:extLst>
            </c:dLbl>
            <c:dLbl>
              <c:idx val="3"/>
              <c:tx>
                <c:rich>
                  <a:bodyPr/>
                  <a:lstStyle/>
                  <a:p>
                    <a:r>
                      <a:rPr lang="en-CH"/>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73E-4FB8-9FFC-404B0C7C9741}"/>
                </c:ext>
              </c:extLst>
            </c:dLbl>
            <c:dLbl>
              <c:idx val="4"/>
              <c:tx>
                <c:rich>
                  <a:bodyPr/>
                  <a:lstStyle/>
                  <a:p>
                    <a:r>
                      <a:rPr lang="en-CH"/>
                      <a:t>4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73E-4FB8-9FFC-404B0C7C9741}"/>
                </c:ext>
              </c:extLst>
            </c:dLbl>
            <c:dLbl>
              <c:idx val="5"/>
              <c:tx>
                <c:rich>
                  <a:bodyPr/>
                  <a:lstStyle/>
                  <a:p>
                    <a:r>
                      <a:rPr lang="en-CH"/>
                      <a:t>75.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73E-4FB8-9FFC-404B0C7C9741}"/>
                </c:ext>
              </c:extLst>
            </c:dLbl>
            <c:dLbl>
              <c:idx val="6"/>
              <c:tx>
                <c:rich>
                  <a:bodyPr/>
                  <a:lstStyle/>
                  <a:p>
                    <a:r>
                      <a:rPr lang="en-CH"/>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73E-4FB8-9FFC-404B0C7C9741}"/>
                </c:ext>
              </c:extLst>
            </c:dLbl>
            <c:dLbl>
              <c:idx val="7"/>
              <c:tx>
                <c:rich>
                  <a:bodyPr/>
                  <a:lstStyle/>
                  <a:p>
                    <a:r>
                      <a:rPr lang="en-CH"/>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73E-4FB8-9FFC-404B0C7C9741}"/>
                </c:ext>
              </c:extLst>
            </c:dLbl>
            <c:dLbl>
              <c:idx val="8"/>
              <c:tx>
                <c:rich>
                  <a:bodyPr/>
                  <a:lstStyle/>
                  <a:p>
                    <a:r>
                      <a:rPr lang="en-CH"/>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73E-4FB8-9FFC-404B0C7C9741}"/>
                </c:ext>
              </c:extLst>
            </c:dLbl>
            <c:dLbl>
              <c:idx val="9"/>
              <c:tx>
                <c:rich>
                  <a:bodyPr/>
                  <a:lstStyle/>
                  <a:p>
                    <a:r>
                      <a:rPr lang="en-CH"/>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73E-4FB8-9FFC-404B0C7C9741}"/>
                </c:ext>
              </c:extLst>
            </c:dLbl>
            <c:dLbl>
              <c:idx val="10"/>
              <c:tx>
                <c:rich>
                  <a:bodyPr/>
                  <a:lstStyle/>
                  <a:p>
                    <a:r>
                      <a:rPr lang="en-CH"/>
                      <a:t>41.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73E-4FB8-9FFC-404B0C7C9741}"/>
                </c:ext>
              </c:extLst>
            </c:dLbl>
            <c:dLbl>
              <c:idx val="11"/>
              <c:tx>
                <c:rich>
                  <a:bodyPr/>
                  <a:lstStyle/>
                  <a:p>
                    <a:r>
                      <a:rPr lang="en-CH"/>
                      <a:t>2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73E-4FB8-9FFC-404B0C7C9741}"/>
                </c:ext>
              </c:extLst>
            </c:dLbl>
            <c:dLbl>
              <c:idx val="12"/>
              <c:tx>
                <c:rich>
                  <a:bodyPr/>
                  <a:lstStyle/>
                  <a:p>
                    <a:r>
                      <a:rPr lang="en-CH"/>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73E-4FB8-9FFC-404B0C7C9741}"/>
                </c:ext>
              </c:extLst>
            </c:dLbl>
            <c:dLbl>
              <c:idx val="13"/>
              <c:tx>
                <c:rich>
                  <a:bodyPr/>
                  <a:lstStyle/>
                  <a:p>
                    <a:r>
                      <a:rPr lang="en-CH"/>
                      <a:t>38.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73E-4FB8-9FFC-404B0C7C9741}"/>
                </c:ext>
              </c:extLst>
            </c:dLbl>
            <c:dLbl>
              <c:idx val="14"/>
              <c:tx>
                <c:rich>
                  <a:bodyPr/>
                  <a:lstStyle/>
                  <a:p>
                    <a:r>
                      <a:rPr lang="en-CH"/>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73E-4FB8-9FFC-404B0C7C974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5</c:v>
                </c:pt>
                <c:pt idx="1">
                  <c:v>37.869999999999997</c:v>
                </c:pt>
                <c:pt idx="2">
                  <c:v>22.49</c:v>
                </c:pt>
                <c:pt idx="3">
                  <c:v>45.15</c:v>
                </c:pt>
                <c:pt idx="4">
                  <c:v>46.51</c:v>
                </c:pt>
                <c:pt idx="5">
                  <c:v>75.36</c:v>
                </c:pt>
                <c:pt idx="6">
                  <c:v>38.99</c:v>
                </c:pt>
                <c:pt idx="7">
                  <c:v>23.99</c:v>
                </c:pt>
                <c:pt idx="8">
                  <c:v>85.63</c:v>
                </c:pt>
                <c:pt idx="9">
                  <c:v>24.99</c:v>
                </c:pt>
                <c:pt idx="10">
                  <c:v>41.43</c:v>
                </c:pt>
                <c:pt idx="11">
                  <c:v>23.53</c:v>
                </c:pt>
                <c:pt idx="12">
                  <c:v>37.119999999999997</c:v>
                </c:pt>
                <c:pt idx="13">
                  <c:v>38.75</c:v>
                </c:pt>
                <c:pt idx="14">
                  <c:v>3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Savian</c:v>
                </c:pt>
                <c:pt idx="2">
                  <c:v>Bottega</c:v>
                </c:pt>
                <c:pt idx="3">
                  <c:v>Contarini</c:v>
                </c:pt>
              </c:strCache>
            </c:strRef>
          </c:cat>
          <c:val>
            <c:numRef>
              <c:f>Sheet1!$B$2:$B$5</c:f>
              <c:numCache>
                <c:formatCode>General</c:formatCode>
                <c:ptCount val="4"/>
                <c:pt idx="3">
                  <c:v>19.6817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Savian</c:v>
                </c:pt>
                <c:pt idx="2">
                  <c:v>Bottega</c:v>
                </c:pt>
                <c:pt idx="3">
                  <c:v>Contarini</c:v>
                </c:pt>
              </c:strCache>
            </c:strRef>
          </c:cat>
          <c:val>
            <c:numRef>
              <c:f>Sheet1!$C$2:$C$5</c:f>
              <c:numCache>
                <c:formatCode>General</c:formatCode>
                <c:ptCount val="4"/>
                <c:pt idx="0">
                  <c:v>7.2667999999999999</c:v>
                </c:pt>
                <c:pt idx="1">
                  <c:v>9.0344999999999995</c:v>
                </c:pt>
                <c:pt idx="2">
                  <c:v>11.645300000000001</c:v>
                </c:pt>
                <c:pt idx="3">
                  <c:v>10.0149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Bottega</c:v>
                </c:pt>
                <c:pt idx="1">
                  <c:v>All Others</c:v>
                </c:pt>
                <c:pt idx="2">
                  <c:v>Savian</c:v>
                </c:pt>
                <c:pt idx="3">
                  <c:v>Contarini</c:v>
                </c:pt>
                <c:pt idx="4">
                  <c:v>Vilaveroni</c:v>
                </c:pt>
              </c:strCache>
            </c:strRef>
          </c:cat>
          <c:val>
            <c:numRef>
              <c:f>Sheet1!$B$2:$B$6</c:f>
              <c:numCache>
                <c:formatCode>General</c:formatCode>
                <c:ptCount val="5"/>
                <c:pt idx="3">
                  <c:v>18.3974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Bottega</c:v>
                </c:pt>
                <c:pt idx="1">
                  <c:v>All Others</c:v>
                </c:pt>
                <c:pt idx="2">
                  <c:v>Savian</c:v>
                </c:pt>
                <c:pt idx="3">
                  <c:v>Contarini</c:v>
                </c:pt>
                <c:pt idx="4">
                  <c:v>Vilaveroni</c:v>
                </c:pt>
              </c:strCache>
            </c:strRef>
          </c:cat>
          <c:val>
            <c:numRef>
              <c:f>Sheet1!$C$2:$C$6</c:f>
              <c:numCache>
                <c:formatCode>General</c:formatCode>
                <c:ptCount val="5"/>
                <c:pt idx="0">
                  <c:v>11.4457</c:v>
                </c:pt>
                <c:pt idx="1">
                  <c:v>7.3361000000000001</c:v>
                </c:pt>
                <c:pt idx="2">
                  <c:v>9.1258999999999997</c:v>
                </c:pt>
                <c:pt idx="3">
                  <c:v>9.8234999999999992</c:v>
                </c:pt>
                <c:pt idx="4">
                  <c:v>6.469699999999999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6317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564000000000004</c:v>
                </c:pt>
                <c:pt idx="1">
                  <c:v>11.4999</c:v>
                </c:pt>
                <c:pt idx="2">
                  <c:v>9.0538000000000007</c:v>
                </c:pt>
                <c:pt idx="3">
                  <c:v>9.839499999999999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607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028</c:v>
                </c:pt>
                <c:pt idx="1">
                  <c:v>11.404999999999999</c:v>
                </c:pt>
                <c:pt idx="2">
                  <c:v>9.0840999999999994</c:v>
                </c:pt>
                <c:pt idx="3">
                  <c:v>9.867200000000000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380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260000000000002</c:v>
                </c:pt>
                <c:pt idx="1">
                  <c:v>11.3996</c:v>
                </c:pt>
                <c:pt idx="2">
                  <c:v>9.1219000000000001</c:v>
                </c:pt>
                <c:pt idx="3">
                  <c:v>9.893100000000000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ttega</c:v>
                </c:pt>
                <c:pt idx="2">
                  <c:v>Savian</c:v>
                </c:pt>
                <c:pt idx="3">
                  <c:v>Contarini</c:v>
                </c:pt>
              </c:strCache>
            </c:strRef>
          </c:cat>
          <c:val>
            <c:numRef>
              <c:f>Sheet1!$B$2:$B$5</c:f>
              <c:numCache>
                <c:formatCode>General</c:formatCode>
                <c:ptCount val="4"/>
                <c:pt idx="3">
                  <c:v>18.535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ttega</c:v>
                </c:pt>
                <c:pt idx="2">
                  <c:v>Savian</c:v>
                </c:pt>
                <c:pt idx="3">
                  <c:v>Contarini</c:v>
                </c:pt>
              </c:strCache>
            </c:strRef>
          </c:cat>
          <c:val>
            <c:numRef>
              <c:f>Sheet1!$C$2:$C$5</c:f>
              <c:numCache>
                <c:formatCode>General</c:formatCode>
                <c:ptCount val="4"/>
                <c:pt idx="0">
                  <c:v>7.4020000000000001</c:v>
                </c:pt>
                <c:pt idx="1">
                  <c:v>11.5068</c:v>
                </c:pt>
                <c:pt idx="2">
                  <c:v>9.1301000000000005</c:v>
                </c:pt>
                <c:pt idx="3">
                  <c:v>9.888199999999999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ckerman</c:v>
                </c:pt>
                <c:pt idx="2">
                  <c:v>All Others</c:v>
                </c:pt>
                <c:pt idx="3">
                  <c:v>Melle Ladubay</c:v>
                </c:pt>
                <c:pt idx="4">
                  <c:v>Gratien Et Meyer</c:v>
                </c:pt>
                <c:pt idx="5">
                  <c:v>Chateau Moncontour</c:v>
                </c:pt>
                <c:pt idx="6">
                  <c:v>Lacheteau</c:v>
                </c:pt>
                <c:pt idx="7">
                  <c:v>Jean Marc Toussaint</c:v>
                </c:pt>
                <c:pt idx="8">
                  <c:v>Sca Gd Vins</c:v>
                </c:pt>
              </c:strCache>
            </c:strRef>
          </c:cat>
          <c:val>
            <c:numRef>
              <c:f>Sheet1!$B$2:$B$10</c:f>
              <c:numCache>
                <c:formatCode>General</c:formatCode>
                <c:ptCount val="9"/>
                <c:pt idx="0">
                  <c:v>5.3677000000000001</c:v>
                </c:pt>
                <c:pt idx="1">
                  <c:v>6.4608999999999996</c:v>
                </c:pt>
                <c:pt idx="2">
                  <c:v>7.2595999999999998</c:v>
                </c:pt>
                <c:pt idx="3">
                  <c:v>6.7057000000000002</c:v>
                </c:pt>
                <c:pt idx="4">
                  <c:v>6.0342000000000002</c:v>
                </c:pt>
                <c:pt idx="5">
                  <c:v>7.4089999999999998</c:v>
                </c:pt>
                <c:pt idx="6">
                  <c:v>6.5433000000000003</c:v>
                </c:pt>
                <c:pt idx="7">
                  <c:v>6.5370999999999997</c:v>
                </c:pt>
                <c:pt idx="8">
                  <c:v>6.78169999999999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5.1607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4513</c:v>
                </c:pt>
                <c:pt idx="1">
                  <c:v>11.1891</c:v>
                </c:pt>
                <c:pt idx="2">
                  <c:v>11.4072</c:v>
                </c:pt>
                <c:pt idx="3">
                  <c:v>13.466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Ackerman</c:v>
                </c:pt>
                <c:pt idx="2">
                  <c:v>All Others</c:v>
                </c:pt>
                <c:pt idx="3">
                  <c:v>Melle Ladubay</c:v>
                </c:pt>
                <c:pt idx="4">
                  <c:v>Gratien Et Meyer</c:v>
                </c:pt>
                <c:pt idx="5">
                  <c:v>Chateau Moncontour</c:v>
                </c:pt>
                <c:pt idx="6">
                  <c:v>Lacheteau</c:v>
                </c:pt>
                <c:pt idx="7">
                  <c:v>Jean Marc Toussaint</c:v>
                </c:pt>
                <c:pt idx="8">
                  <c:v>Sca Gd Vins</c:v>
                </c:pt>
              </c:strCache>
            </c:strRef>
          </c:cat>
          <c:val>
            <c:numRef>
              <c:f>Sheet1!$B$2:$B$10</c:f>
              <c:numCache>
                <c:formatCode>General</c:formatCode>
                <c:ptCount val="9"/>
                <c:pt idx="0">
                  <c:v>5.3677000000000001</c:v>
                </c:pt>
                <c:pt idx="1">
                  <c:v>6.4608999999999996</c:v>
                </c:pt>
                <c:pt idx="2">
                  <c:v>7.1341999999999999</c:v>
                </c:pt>
                <c:pt idx="3">
                  <c:v>6.7057000000000002</c:v>
                </c:pt>
                <c:pt idx="4">
                  <c:v>6.0342000000000002</c:v>
                </c:pt>
                <c:pt idx="5">
                  <c:v>7.1609999999999996</c:v>
                </c:pt>
                <c:pt idx="6">
                  <c:v>6.5433000000000003</c:v>
                </c:pt>
                <c:pt idx="7">
                  <c:v>6.5370999999999997</c:v>
                </c:pt>
                <c:pt idx="8">
                  <c:v>6.78169999999999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Chateau Moncontour</c:v>
                </c:pt>
                <c:pt idx="2">
                  <c:v>Bouvet-Ladubay</c:v>
                </c:pt>
                <c:pt idx="3">
                  <c:v>De Chanceny</c:v>
                </c:pt>
              </c:strCache>
            </c:strRef>
          </c:cat>
          <c:val>
            <c:numRef>
              <c:f>Sheet1!$B$2:$B$5</c:f>
              <c:numCache>
                <c:formatCode>General</c:formatCode>
                <c:ptCount val="4"/>
                <c:pt idx="2">
                  <c:v>24.5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Chateau Moncontour</c:v>
                </c:pt>
                <c:pt idx="2">
                  <c:v>Bouvet-Ladubay</c:v>
                </c:pt>
                <c:pt idx="3">
                  <c:v>De Chanceny</c:v>
                </c:pt>
              </c:strCache>
            </c:strRef>
          </c:cat>
          <c:val>
            <c:numRef>
              <c:f>Sheet1!$C$2:$C$5</c:f>
              <c:numCache>
                <c:formatCode>General</c:formatCode>
                <c:ptCount val="4"/>
                <c:pt idx="0">
                  <c:v>11.463900000000001</c:v>
                </c:pt>
                <c:pt idx="1">
                  <c:v>11.398199999999999</c:v>
                </c:pt>
                <c:pt idx="2">
                  <c:v>11.1995</c:v>
                </c:pt>
                <c:pt idx="3">
                  <c:v>13.53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136-4183-B200-BA8625F5822D}"/>
                </c:ext>
              </c:extLst>
            </c:dLbl>
            <c:dLbl>
              <c:idx val="1"/>
              <c:tx>
                <c:rich>
                  <a:bodyPr/>
                  <a:lstStyle/>
                  <a:p>
                    <a:r>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136-4183-B200-BA8625F5822D}"/>
                </c:ext>
              </c:extLst>
            </c:dLbl>
            <c:dLbl>
              <c:idx val="2"/>
              <c:tx>
                <c:rich>
                  <a:bodyPr/>
                  <a:lstStyle/>
                  <a:p>
                    <a:r>
                      <a:t>2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136-4183-B200-BA8625F5822D}"/>
                </c:ext>
              </c:extLst>
            </c:dLbl>
            <c:dLbl>
              <c:idx val="3"/>
              <c:tx>
                <c:rich>
                  <a:bodyPr/>
                  <a:lstStyle/>
                  <a:p>
                    <a:r>
                      <a:t>4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136-4183-B200-BA8625F5822D}"/>
                </c:ext>
              </c:extLst>
            </c:dLbl>
            <c:dLbl>
              <c:idx val="4"/>
              <c:tx>
                <c:rich>
                  <a:bodyPr/>
                  <a:lstStyle/>
                  <a:p>
                    <a:r>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136-4183-B200-BA8625F5822D}"/>
                </c:ext>
              </c:extLst>
            </c:dLbl>
            <c:dLbl>
              <c:idx val="5"/>
              <c:tx>
                <c:rich>
                  <a:bodyPr/>
                  <a:lstStyle/>
                  <a:p>
                    <a:r>
                      <a:t>75.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136-4183-B200-BA8625F5822D}"/>
                </c:ext>
              </c:extLst>
            </c:dLbl>
            <c:dLbl>
              <c:idx val="6"/>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136-4183-B200-BA8625F5822D}"/>
                </c:ext>
              </c:extLst>
            </c:dLbl>
            <c:dLbl>
              <c:idx val="7"/>
              <c:tx>
                <c:rich>
                  <a:bodyPr/>
                  <a:lstStyle/>
                  <a:p>
                    <a:r>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136-4183-B200-BA8625F5822D}"/>
                </c:ext>
              </c:extLst>
            </c:dLbl>
            <c:dLbl>
              <c:idx val="8"/>
              <c:tx>
                <c:rich>
                  <a:bodyPr/>
                  <a:lstStyle/>
                  <a:p>
                    <a:r>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136-4183-B200-BA8625F5822D}"/>
                </c:ext>
              </c:extLst>
            </c:dLbl>
            <c:dLbl>
              <c:idx val="9"/>
              <c:tx>
                <c:rich>
                  <a:bodyPr/>
                  <a:lstStyle/>
                  <a:p>
                    <a:r>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136-4183-B200-BA8625F5822D}"/>
                </c:ext>
              </c:extLst>
            </c:dLbl>
            <c:dLbl>
              <c:idx val="10"/>
              <c:tx>
                <c:rich>
                  <a:bodyPr/>
                  <a:lstStyle/>
                  <a:p>
                    <a:r>
                      <a:t>4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136-4183-B200-BA8625F5822D}"/>
                </c:ext>
              </c:extLst>
            </c:dLbl>
            <c:dLbl>
              <c:idx val="11"/>
              <c:tx>
                <c:rich>
                  <a:bodyPr/>
                  <a:lstStyle/>
                  <a:p>
                    <a:r>
                      <a:t>2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136-4183-B200-BA8625F5822D}"/>
                </c:ext>
              </c:extLst>
            </c:dLbl>
            <c:dLbl>
              <c:idx val="12"/>
              <c:tx>
                <c:rich>
                  <a:bodyPr/>
                  <a:lstStyle/>
                  <a:p>
                    <a:r>
                      <a:t>37.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136-4183-B200-BA8625F5822D}"/>
                </c:ext>
              </c:extLst>
            </c:dLbl>
            <c:dLbl>
              <c:idx val="13"/>
              <c:tx>
                <c:rich>
                  <a:bodyPr/>
                  <a:lstStyle/>
                  <a:p>
                    <a:r>
                      <a:t>3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136-4183-B200-BA8625F5822D}"/>
                </c:ext>
              </c:extLst>
            </c:dLbl>
            <c:dLbl>
              <c:idx val="14"/>
              <c:tx>
                <c:rich>
                  <a:bodyPr/>
                  <a:lstStyle/>
                  <a:p>
                    <a:r>
                      <a:t>36.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136-4183-B200-BA8625F5822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8</c:v>
                </c:pt>
                <c:pt idx="1">
                  <c:v>37.18</c:v>
                </c:pt>
                <c:pt idx="2">
                  <c:v>22.36</c:v>
                </c:pt>
                <c:pt idx="3">
                  <c:v>45.06</c:v>
                </c:pt>
                <c:pt idx="4">
                  <c:v>46.38</c:v>
                </c:pt>
                <c:pt idx="5">
                  <c:v>75.78</c:v>
                </c:pt>
                <c:pt idx="6">
                  <c:v>39.03</c:v>
                </c:pt>
                <c:pt idx="7">
                  <c:v>23.87</c:v>
                </c:pt>
                <c:pt idx="8">
                  <c:v>85.35</c:v>
                </c:pt>
                <c:pt idx="9">
                  <c:v>24.98</c:v>
                </c:pt>
                <c:pt idx="10">
                  <c:v>41.53</c:v>
                </c:pt>
                <c:pt idx="11">
                  <c:v>24.05</c:v>
                </c:pt>
                <c:pt idx="12">
                  <c:v>37.549999999999997</c:v>
                </c:pt>
                <c:pt idx="13">
                  <c:v>36.630000000000003</c:v>
                </c:pt>
                <c:pt idx="14">
                  <c:v>3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4.7222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197900000000001</c:v>
                </c:pt>
                <c:pt idx="1">
                  <c:v>11.152900000000001</c:v>
                </c:pt>
                <c:pt idx="2">
                  <c:v>11.374499999999999</c:v>
                </c:pt>
                <c:pt idx="3">
                  <c:v>13.2452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All Others</c:v>
                </c:pt>
                <c:pt idx="3">
                  <c:v>De Chanceny</c:v>
                </c:pt>
              </c:strCache>
            </c:strRef>
          </c:cat>
          <c:val>
            <c:numRef>
              <c:f>Sheet1!$B$2:$B$5</c:f>
              <c:numCache>
                <c:formatCode>General</c:formatCode>
                <c:ptCount val="4"/>
                <c:pt idx="1">
                  <c:v>27.17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Chateau Moncontour</c:v>
                </c:pt>
                <c:pt idx="1">
                  <c:v>Bouvet-Ladubay</c:v>
                </c:pt>
                <c:pt idx="2">
                  <c:v>All Others</c:v>
                </c:pt>
                <c:pt idx="3">
                  <c:v>De Chanceny</c:v>
                </c:pt>
              </c:strCache>
            </c:strRef>
          </c:cat>
          <c:val>
            <c:numRef>
              <c:f>Sheet1!$C$2:$C$5</c:f>
              <c:numCache>
                <c:formatCode>General</c:formatCode>
                <c:ptCount val="4"/>
                <c:pt idx="0">
                  <c:v>11.366099999999999</c:v>
                </c:pt>
                <c:pt idx="1">
                  <c:v>11.259499999999999</c:v>
                </c:pt>
                <c:pt idx="2">
                  <c:v>12.784599999999999</c:v>
                </c:pt>
                <c:pt idx="3">
                  <c:v>13.4197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Chateau Moncontour</c:v>
                </c:pt>
                <c:pt idx="2">
                  <c:v>All Others</c:v>
                </c:pt>
                <c:pt idx="3">
                  <c:v>De Chanceny</c:v>
                </c:pt>
              </c:strCache>
            </c:strRef>
          </c:cat>
          <c:val>
            <c:numRef>
              <c:f>Sheet1!$B$2:$B$5</c:f>
              <c:numCache>
                <c:formatCode>General</c:formatCode>
                <c:ptCount val="4"/>
                <c:pt idx="0">
                  <c:v>25.5833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ouvet-Ladubay</c:v>
                </c:pt>
                <c:pt idx="1">
                  <c:v>Chateau Moncontour</c:v>
                </c:pt>
                <c:pt idx="2">
                  <c:v>All Others</c:v>
                </c:pt>
                <c:pt idx="3">
                  <c:v>De Chanceny</c:v>
                </c:pt>
              </c:strCache>
            </c:strRef>
          </c:cat>
          <c:val>
            <c:numRef>
              <c:f>Sheet1!$C$2:$C$5</c:f>
              <c:numCache>
                <c:formatCode>General</c:formatCode>
                <c:ptCount val="4"/>
                <c:pt idx="0">
                  <c:v>11.3195</c:v>
                </c:pt>
                <c:pt idx="1">
                  <c:v>11.5405</c:v>
                </c:pt>
                <c:pt idx="2">
                  <c:v>12.692600000000001</c:v>
                </c:pt>
                <c:pt idx="3">
                  <c:v>13.391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All Others</c:v>
                </c:pt>
                <c:pt idx="2">
                  <c:v>Chateau Moncontour</c:v>
                </c:pt>
                <c:pt idx="3">
                  <c:v>De Chanceny</c:v>
                </c:pt>
              </c:strCache>
            </c:strRef>
          </c:cat>
          <c:val>
            <c:numRef>
              <c:f>Sheet1!$B$2:$B$5</c:f>
              <c:numCache>
                <c:formatCode>General</c:formatCode>
                <c:ptCount val="4"/>
                <c:pt idx="0">
                  <c:v>25.416699999999999</c:v>
                </c:pt>
                <c:pt idx="1">
                  <c:v>24.5455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ouvet-Ladubay</c:v>
                </c:pt>
                <c:pt idx="1">
                  <c:v>All Others</c:v>
                </c:pt>
                <c:pt idx="2">
                  <c:v>Chateau Moncontour</c:v>
                </c:pt>
                <c:pt idx="3">
                  <c:v>De Chanceny</c:v>
                </c:pt>
              </c:strCache>
            </c:strRef>
          </c:cat>
          <c:val>
            <c:numRef>
              <c:f>Sheet1!$C$2:$C$5</c:f>
              <c:numCache>
                <c:formatCode>General</c:formatCode>
                <c:ptCount val="4"/>
                <c:pt idx="0">
                  <c:v>11.1509</c:v>
                </c:pt>
                <c:pt idx="1">
                  <c:v>11.1593</c:v>
                </c:pt>
                <c:pt idx="2">
                  <c:v>11.5655</c:v>
                </c:pt>
                <c:pt idx="3">
                  <c:v>13.44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All Others</c:v>
                </c:pt>
                <c:pt idx="3">
                  <c:v>De Chanceny</c:v>
                </c:pt>
              </c:strCache>
            </c:strRef>
          </c:cat>
          <c:val>
            <c:numRef>
              <c:f>Sheet1!$B$2:$B$5</c:f>
              <c:numCache>
                <c:formatCode>General</c:formatCode>
                <c:ptCount val="4"/>
                <c:pt idx="1">
                  <c:v>24.415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Chateau Moncontour</c:v>
                </c:pt>
                <c:pt idx="1">
                  <c:v>Bouvet-Ladubay</c:v>
                </c:pt>
                <c:pt idx="2">
                  <c:v>All Others</c:v>
                </c:pt>
                <c:pt idx="3">
                  <c:v>De Chanceny</c:v>
                </c:pt>
              </c:strCache>
            </c:strRef>
          </c:cat>
          <c:val>
            <c:numRef>
              <c:f>Sheet1!$C$2:$C$5</c:f>
              <c:numCache>
                <c:formatCode>General</c:formatCode>
                <c:ptCount val="4"/>
                <c:pt idx="0">
                  <c:v>11.3957</c:v>
                </c:pt>
                <c:pt idx="1">
                  <c:v>11.2171</c:v>
                </c:pt>
                <c:pt idx="2">
                  <c:v>12.542999999999999</c:v>
                </c:pt>
                <c:pt idx="3">
                  <c:v>13.451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Chateau Moncontour</c:v>
                </c:pt>
                <c:pt idx="2">
                  <c:v>All Others</c:v>
                </c:pt>
                <c:pt idx="3">
                  <c:v>De Chanceny</c:v>
                </c:pt>
              </c:strCache>
            </c:strRef>
          </c:cat>
          <c:val>
            <c:numRef>
              <c:f>Sheet1!$B$2:$B$5</c:f>
              <c:numCache>
                <c:formatCode>General</c:formatCode>
                <c:ptCount val="4"/>
                <c:pt idx="0">
                  <c:v>25.835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ouvet-Ladubay</c:v>
                </c:pt>
                <c:pt idx="1">
                  <c:v>Chateau Moncontour</c:v>
                </c:pt>
                <c:pt idx="2">
                  <c:v>All Others</c:v>
                </c:pt>
                <c:pt idx="3">
                  <c:v>De Chanceny</c:v>
                </c:pt>
              </c:strCache>
            </c:strRef>
          </c:cat>
          <c:val>
            <c:numRef>
              <c:f>Sheet1!$C$2:$C$5</c:f>
              <c:numCache>
                <c:formatCode>General</c:formatCode>
                <c:ptCount val="4"/>
                <c:pt idx="0">
                  <c:v>11.204700000000001</c:v>
                </c:pt>
                <c:pt idx="1">
                  <c:v>11.4427</c:v>
                </c:pt>
                <c:pt idx="2">
                  <c:v>11.5512</c:v>
                </c:pt>
                <c:pt idx="3">
                  <c:v>13.54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De Chanceny</c:v>
                </c:pt>
                <c:pt idx="3">
                  <c:v>All Others</c:v>
                </c:pt>
              </c:strCache>
            </c:strRef>
          </c:cat>
          <c:val>
            <c:numRef>
              <c:f>Sheet1!$B$2:$B$5</c:f>
              <c:numCache>
                <c:formatCode>General</c:formatCode>
                <c:ptCount val="4"/>
                <c:pt idx="1">
                  <c:v>25.81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Chateau Moncontour</c:v>
                </c:pt>
                <c:pt idx="1">
                  <c:v>Bouvet-Ladubay</c:v>
                </c:pt>
                <c:pt idx="2">
                  <c:v>De Chanceny</c:v>
                </c:pt>
                <c:pt idx="3">
                  <c:v>All Others</c:v>
                </c:pt>
              </c:strCache>
            </c:strRef>
          </c:cat>
          <c:val>
            <c:numRef>
              <c:f>Sheet1!$C$2:$C$5</c:f>
              <c:numCache>
                <c:formatCode>General</c:formatCode>
                <c:ptCount val="4"/>
                <c:pt idx="0">
                  <c:v>11.366199999999999</c:v>
                </c:pt>
                <c:pt idx="1">
                  <c:v>10.9892</c:v>
                </c:pt>
                <c:pt idx="2">
                  <c:v>13.274900000000001</c:v>
                </c:pt>
                <c:pt idx="3">
                  <c:v>12.89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4.7083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0.9369</c:v>
                </c:pt>
                <c:pt idx="1">
                  <c:v>11.0585</c:v>
                </c:pt>
                <c:pt idx="2">
                  <c:v>11.525499999999999</c:v>
                </c:pt>
                <c:pt idx="3">
                  <c:v>13.98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All Others</c:v>
                </c:pt>
                <c:pt idx="2">
                  <c:v>Bouvet-Ladubay</c:v>
                </c:pt>
                <c:pt idx="3">
                  <c:v>De Chanceny</c:v>
                </c:pt>
              </c:strCache>
            </c:strRef>
          </c:cat>
          <c:val>
            <c:numRef>
              <c:f>Sheet1!$B$2:$B$5</c:f>
              <c:numCache>
                <c:formatCode>General</c:formatCode>
                <c:ptCount val="4"/>
                <c:pt idx="2">
                  <c:v>3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Chateau Moncontour</c:v>
                </c:pt>
                <c:pt idx="1">
                  <c:v>All Others</c:v>
                </c:pt>
                <c:pt idx="2">
                  <c:v>Bouvet-Ladubay</c:v>
                </c:pt>
                <c:pt idx="3">
                  <c:v>De Chanceny</c:v>
                </c:pt>
              </c:strCache>
            </c:strRef>
          </c:cat>
          <c:val>
            <c:numRef>
              <c:f>Sheet1!$C$2:$C$5</c:f>
              <c:numCache>
                <c:formatCode>General</c:formatCode>
                <c:ptCount val="4"/>
                <c:pt idx="0">
                  <c:v>11.7005</c:v>
                </c:pt>
                <c:pt idx="1">
                  <c:v>12.0723</c:v>
                </c:pt>
                <c:pt idx="2">
                  <c:v>11.590199999999999</c:v>
                </c:pt>
                <c:pt idx="3">
                  <c:v>13.950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Chateau Moncontour</c:v>
                </c:pt>
                <c:pt idx="1">
                  <c:v>Bouvet-Ladubay</c:v>
                </c:pt>
                <c:pt idx="2">
                  <c:v>All Others</c:v>
                </c:pt>
                <c:pt idx="3">
                  <c:v>De Chanceny</c:v>
                </c:pt>
              </c:strCache>
            </c:strRef>
          </c:cat>
          <c:val>
            <c:numRef>
              <c:f>Sheet1!$B$2:$B$5</c:f>
              <c:numCache>
                <c:formatCode>General</c:formatCode>
                <c:ptCount val="4"/>
                <c:pt idx="1">
                  <c:v>24.568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Chateau Moncontour</c:v>
                </c:pt>
                <c:pt idx="1">
                  <c:v>Bouvet-Ladubay</c:v>
                </c:pt>
                <c:pt idx="2">
                  <c:v>All Others</c:v>
                </c:pt>
                <c:pt idx="3">
                  <c:v>De Chanceny</c:v>
                </c:pt>
              </c:strCache>
            </c:strRef>
          </c:cat>
          <c:val>
            <c:numRef>
              <c:f>Sheet1!$C$2:$C$5</c:f>
              <c:numCache>
                <c:formatCode>General</c:formatCode>
                <c:ptCount val="4"/>
                <c:pt idx="0">
                  <c:v>11.3108</c:v>
                </c:pt>
                <c:pt idx="1">
                  <c:v>11.1692</c:v>
                </c:pt>
                <c:pt idx="2">
                  <c:v>12.745100000000001</c:v>
                </c:pt>
                <c:pt idx="3">
                  <c:v>13.2664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C8F-453F-85E6-8B746690CD7A}"/>
                </c:ext>
              </c:extLst>
            </c:dLbl>
            <c:dLbl>
              <c:idx val="1"/>
              <c:tx>
                <c:rich>
                  <a:bodyPr/>
                  <a:lstStyle/>
                  <a:p>
                    <a:r>
                      <a:t>3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C8F-453F-85E6-8B746690CD7A}"/>
                </c:ext>
              </c:extLst>
            </c:dLbl>
            <c:dLbl>
              <c:idx val="2"/>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C8F-453F-85E6-8B746690CD7A}"/>
                </c:ext>
              </c:extLst>
            </c:dLbl>
            <c:dLbl>
              <c:idx val="3"/>
              <c:tx>
                <c:rich>
                  <a:bodyPr/>
                  <a:lstStyle/>
                  <a:p>
                    <a:r>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C8F-453F-85E6-8B746690CD7A}"/>
                </c:ext>
              </c:extLst>
            </c:dLbl>
            <c:dLbl>
              <c:idx val="4"/>
              <c:tx>
                <c:rich>
                  <a:bodyPr/>
                  <a:lstStyle/>
                  <a:p>
                    <a:r>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C8F-453F-85E6-8B746690CD7A}"/>
                </c:ext>
              </c:extLst>
            </c:dLbl>
            <c:dLbl>
              <c:idx val="5"/>
              <c:tx>
                <c:rich>
                  <a:bodyPr/>
                  <a:lstStyle/>
                  <a:p>
                    <a:r>
                      <a:t>7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C8F-453F-85E6-8B746690CD7A}"/>
                </c:ext>
              </c:extLst>
            </c:dLbl>
            <c:dLbl>
              <c:idx val="6"/>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C8F-453F-85E6-8B746690CD7A}"/>
                </c:ext>
              </c:extLst>
            </c:dLbl>
            <c:dLbl>
              <c:idx val="7"/>
              <c:tx>
                <c:rich>
                  <a:bodyPr/>
                  <a:lstStyle/>
                  <a:p>
                    <a:r>
                      <a:t>8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C8F-453F-85E6-8B746690CD7A}"/>
                </c:ext>
              </c:extLst>
            </c:dLbl>
            <c:dLbl>
              <c:idx val="8"/>
              <c:tx>
                <c:rich>
                  <a:bodyPr/>
                  <a:lstStyle/>
                  <a:p>
                    <a:r>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C8F-453F-85E6-8B746690CD7A}"/>
                </c:ext>
              </c:extLst>
            </c:dLbl>
            <c:dLbl>
              <c:idx val="9"/>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C8F-453F-85E6-8B746690CD7A}"/>
                </c:ext>
              </c:extLst>
            </c:dLbl>
            <c:dLbl>
              <c:idx val="10"/>
              <c:tx>
                <c:rich>
                  <a:bodyPr/>
                  <a:lstStyle/>
                  <a:p>
                    <a:r>
                      <a:t>4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C8F-453F-85E6-8B746690CD7A}"/>
                </c:ext>
              </c:extLst>
            </c:dLbl>
            <c:dLbl>
              <c:idx val="11"/>
              <c:tx>
                <c:rich>
                  <a:bodyPr/>
                  <a:lstStyle/>
                  <a:p>
                    <a:r>
                      <a:t>24.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C8F-453F-85E6-8B746690CD7A}"/>
                </c:ext>
              </c:extLst>
            </c:dLbl>
            <c:dLbl>
              <c:idx val="12"/>
              <c:tx>
                <c:rich>
                  <a:bodyPr/>
                  <a:lstStyle/>
                  <a:p>
                    <a:r>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C8F-453F-85E6-8B746690CD7A}"/>
                </c:ext>
              </c:extLst>
            </c:dLbl>
            <c:dLbl>
              <c:idx val="13"/>
              <c:tx>
                <c:rich>
                  <a:bodyPr/>
                  <a:lstStyle/>
                  <a:p>
                    <a:r>
                      <a:t>3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C8F-453F-85E6-8B746690CD7A}"/>
                </c:ext>
              </c:extLst>
            </c:dLbl>
            <c:dLbl>
              <c:idx val="14"/>
              <c:tx>
                <c:rich>
                  <a:bodyPr/>
                  <a:lstStyle/>
                  <a:p>
                    <a:r>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C8F-453F-85E6-8B746690CD7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4</c:v>
                </c:pt>
                <c:pt idx="2">
                  <c:v>22.28</c:v>
                </c:pt>
                <c:pt idx="3">
                  <c:v>45.15</c:v>
                </c:pt>
                <c:pt idx="4">
                  <c:v>46.21</c:v>
                </c:pt>
                <c:pt idx="5">
                  <c:v>76.41</c:v>
                </c:pt>
                <c:pt idx="6">
                  <c:v>39.020000000000003</c:v>
                </c:pt>
                <c:pt idx="7">
                  <c:v>85.57</c:v>
                </c:pt>
                <c:pt idx="8">
                  <c:v>23.99</c:v>
                </c:pt>
                <c:pt idx="9">
                  <c:v>24.99</c:v>
                </c:pt>
                <c:pt idx="10">
                  <c:v>41.52</c:v>
                </c:pt>
                <c:pt idx="11">
                  <c:v>24.01</c:v>
                </c:pt>
                <c:pt idx="12">
                  <c:v>37.29</c:v>
                </c:pt>
                <c:pt idx="13">
                  <c:v>37</c:v>
                </c:pt>
                <c:pt idx="14">
                  <c:v>37.11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255100000000001</c:v>
                </c:pt>
                <c:pt idx="1">
                  <c:v>11.1729</c:v>
                </c:pt>
                <c:pt idx="2">
                  <c:v>11.379899999999999</c:v>
                </c:pt>
                <c:pt idx="3">
                  <c:v>13.5652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Bouvet-Ladubay</c:v>
                </c:pt>
                <c:pt idx="1">
                  <c:v>Chateau Moncontour</c:v>
                </c:pt>
                <c:pt idx="2">
                  <c:v>All Others</c:v>
                </c:pt>
                <c:pt idx="3">
                  <c:v>De Chanceny</c:v>
                </c:pt>
              </c:strCache>
            </c:strRef>
          </c:cat>
          <c:val>
            <c:numRef>
              <c:f>Sheet1!$B$2:$B$5</c:f>
              <c:numCache>
                <c:formatCode>General</c:formatCode>
                <c:ptCount val="4"/>
                <c:pt idx="0">
                  <c:v>25.3303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Bouvet-Ladubay</c:v>
                </c:pt>
                <c:pt idx="1">
                  <c:v>Chateau Moncontour</c:v>
                </c:pt>
                <c:pt idx="2">
                  <c:v>All Others</c:v>
                </c:pt>
                <c:pt idx="3">
                  <c:v>De Chanceny</c:v>
                </c:pt>
              </c:strCache>
            </c:strRef>
          </c:cat>
          <c:val>
            <c:numRef>
              <c:f>Sheet1!$C$2:$C$5</c:f>
              <c:numCache>
                <c:formatCode>General</c:formatCode>
                <c:ptCount val="4"/>
                <c:pt idx="0">
                  <c:v>11.2622</c:v>
                </c:pt>
                <c:pt idx="1">
                  <c:v>11.4129</c:v>
                </c:pt>
                <c:pt idx="2">
                  <c:v>11.514099999999999</c:v>
                </c:pt>
                <c:pt idx="3">
                  <c:v>13.506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1">
                  <c:v>25.4917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1.482100000000001</c:v>
                </c:pt>
                <c:pt idx="1">
                  <c:v>11.1836</c:v>
                </c:pt>
                <c:pt idx="2">
                  <c:v>11.428000000000001</c:v>
                </c:pt>
                <c:pt idx="3">
                  <c:v>13.464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All Others</c:v>
                </c:pt>
                <c:pt idx="1">
                  <c:v>Bouvet-Ladubay</c:v>
                </c:pt>
                <c:pt idx="2">
                  <c:v>Chateau Moncontour</c:v>
                </c:pt>
                <c:pt idx="3">
                  <c:v>De Chanceny</c:v>
                </c:pt>
              </c:strCache>
            </c:strRef>
          </c:cat>
          <c:val>
            <c:numRef>
              <c:f>Sheet1!$B$2:$B$5</c:f>
              <c:numCache>
                <c:formatCode>General</c:formatCode>
                <c:ptCount val="4"/>
                <c:pt idx="0">
                  <c:v>23.521699999999999</c:v>
                </c:pt>
                <c:pt idx="1">
                  <c:v>24.8113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All Others</c:v>
                </c:pt>
                <c:pt idx="1">
                  <c:v>Bouvet-Ladubay</c:v>
                </c:pt>
                <c:pt idx="2">
                  <c:v>Chateau Moncontour</c:v>
                </c:pt>
                <c:pt idx="3">
                  <c:v>De Chanceny</c:v>
                </c:pt>
              </c:strCache>
            </c:strRef>
          </c:cat>
          <c:val>
            <c:numRef>
              <c:f>Sheet1!$C$2:$C$5</c:f>
              <c:numCache>
                <c:formatCode>General</c:formatCode>
                <c:ptCount val="4"/>
                <c:pt idx="0">
                  <c:v>10.985300000000001</c:v>
                </c:pt>
                <c:pt idx="1">
                  <c:v>11.100300000000001</c:v>
                </c:pt>
                <c:pt idx="2">
                  <c:v>11.451599999999999</c:v>
                </c:pt>
                <c:pt idx="3">
                  <c:v>13.46380000000000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Wolfberger</c:v>
                </c:pt>
                <c:pt idx="1">
                  <c:v>Mdd</c:v>
                </c:pt>
                <c:pt idx="2">
                  <c:v>Arthur Metz</c:v>
                </c:pt>
                <c:pt idx="3">
                  <c:v>All Others</c:v>
                </c:pt>
                <c:pt idx="4">
                  <c:v>Bestheim</c:v>
                </c:pt>
                <c:pt idx="5">
                  <c:v>Cave Beblenheim</c:v>
                </c:pt>
                <c:pt idx="6">
                  <c:v>Les Quinze Arpents</c:v>
                </c:pt>
                <c:pt idx="7">
                  <c:v>Geiler Jean</c:v>
                </c:pt>
                <c:pt idx="8">
                  <c:v>Dopff</c:v>
                </c:pt>
              </c:strCache>
            </c:strRef>
          </c:cat>
          <c:val>
            <c:numRef>
              <c:f>Sheet1!$B$2:$B$10</c:f>
              <c:numCache>
                <c:formatCode>General</c:formatCode>
                <c:ptCount val="9"/>
                <c:pt idx="0">
                  <c:v>7.0829000000000004</c:v>
                </c:pt>
                <c:pt idx="1">
                  <c:v>6.3113999999999999</c:v>
                </c:pt>
                <c:pt idx="2">
                  <c:v>7.1363000000000003</c:v>
                </c:pt>
                <c:pt idx="3">
                  <c:v>6.7491000000000003</c:v>
                </c:pt>
                <c:pt idx="4">
                  <c:v>7.6440999999999999</c:v>
                </c:pt>
                <c:pt idx="5">
                  <c:v>7.1264000000000003</c:v>
                </c:pt>
                <c:pt idx="6">
                  <c:v>5.9306000000000001</c:v>
                </c:pt>
                <c:pt idx="7">
                  <c:v>6.8769999999999998</c:v>
                </c:pt>
                <c:pt idx="8">
                  <c:v>6.85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2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C$2:$C$3</c:f>
              <c:numCache>
                <c:formatCode>General</c:formatCode>
                <c:ptCount val="2"/>
                <c:pt idx="0">
                  <c:v>10.5325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cat>
            <c:strRef>
              <c:f>Sheet1!$A$2:$A$3</c:f>
              <c:strCache>
                <c:ptCount val="2"/>
                <c:pt idx="0">
                  <c:v>Mure</c:v>
                </c:pt>
                <c:pt idx="1">
                  <c:v>All Others</c:v>
                </c:pt>
              </c:strCache>
            </c:strRef>
          </c:cat>
          <c:val>
            <c:numRef>
              <c:f>Sheet1!$D$2:$D$3</c:f>
              <c:numCache>
                <c:formatCode>General</c:formatCode>
                <c:ptCount val="2"/>
                <c:pt idx="0">
                  <c:v>17.578900000000001</c:v>
                </c:pt>
                <c:pt idx="1">
                  <c:v>10.058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Wolfberger</c:v>
                </c:pt>
                <c:pt idx="1">
                  <c:v>Mdd</c:v>
                </c:pt>
                <c:pt idx="2">
                  <c:v>Arthur Metz</c:v>
                </c:pt>
                <c:pt idx="3">
                  <c:v>All Others</c:v>
                </c:pt>
                <c:pt idx="4">
                  <c:v>Bestheim</c:v>
                </c:pt>
                <c:pt idx="5">
                  <c:v>Cave Beblenheim</c:v>
                </c:pt>
                <c:pt idx="6">
                  <c:v>Les Quinze Arpents</c:v>
                </c:pt>
                <c:pt idx="7">
                  <c:v>Geiler Jean</c:v>
                </c:pt>
                <c:pt idx="8">
                  <c:v>Dopff</c:v>
                </c:pt>
              </c:strCache>
            </c:strRef>
          </c:cat>
          <c:val>
            <c:numRef>
              <c:f>Sheet1!$B$2:$B$10</c:f>
              <c:numCache>
                <c:formatCode>General</c:formatCode>
                <c:ptCount val="9"/>
                <c:pt idx="0">
                  <c:v>7.0829000000000004</c:v>
                </c:pt>
                <c:pt idx="1">
                  <c:v>6.3113999999999999</c:v>
                </c:pt>
                <c:pt idx="2">
                  <c:v>7.1363000000000003</c:v>
                </c:pt>
                <c:pt idx="3">
                  <c:v>6.7328000000000001</c:v>
                </c:pt>
                <c:pt idx="4">
                  <c:v>7.6440999999999999</c:v>
                </c:pt>
                <c:pt idx="5">
                  <c:v>7.1264000000000003</c:v>
                </c:pt>
                <c:pt idx="6">
                  <c:v>5.9306000000000001</c:v>
                </c:pt>
                <c:pt idx="7">
                  <c:v>6.8769999999999998</c:v>
                </c:pt>
                <c:pt idx="8">
                  <c:v>6.856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02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C$2:$C$3</c:f>
              <c:numCache>
                <c:formatCode>General</c:formatCode>
                <c:ptCount val="2"/>
                <c:pt idx="0">
                  <c:v>10.44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cat>
            <c:strRef>
              <c:f>Sheet1!$A$2:$A$3</c:f>
              <c:strCache>
                <c:ptCount val="2"/>
                <c:pt idx="0">
                  <c:v>Mure</c:v>
                </c:pt>
                <c:pt idx="1">
                  <c:v>All Others</c:v>
                </c:pt>
              </c:strCache>
            </c:strRef>
          </c:cat>
          <c:val>
            <c:numRef>
              <c:f>Sheet1!$D$2:$D$3</c:f>
              <c:numCache>
                <c:formatCode>General</c:formatCode>
                <c:ptCount val="2"/>
                <c:pt idx="0">
                  <c:v>17.479700000000001</c:v>
                </c:pt>
                <c:pt idx="1">
                  <c:v>9.919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0">
                  <c:v>17.418800000000001</c:v>
                </c:pt>
                <c:pt idx="1">
                  <c:v>11.1117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62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C$2:$C$3</c:f>
              <c:numCache>
                <c:formatCode>General</c:formatCode>
                <c:ptCount val="2"/>
                <c:pt idx="0">
                  <c:v>10.42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cat>
            <c:strRef>
              <c:f>Sheet1!$A$2:$A$3</c:f>
              <c:strCache>
                <c:ptCount val="2"/>
                <c:pt idx="0">
                  <c:v>Mure</c:v>
                </c:pt>
                <c:pt idx="1">
                  <c:v>All Others</c:v>
                </c:pt>
              </c:strCache>
            </c:strRef>
          </c:cat>
          <c:val>
            <c:numRef>
              <c:f>Sheet1!$D$2:$D$3</c:f>
              <c:numCache>
                <c:formatCode>General</c:formatCode>
                <c:ptCount val="2"/>
                <c:pt idx="0">
                  <c:v>17.978999999999999</c:v>
                </c:pt>
                <c:pt idx="1">
                  <c:v>10.5124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396-4493-8401-EC2F2234D526}"/>
                </c:ext>
              </c:extLst>
            </c:dLbl>
            <c:dLbl>
              <c:idx val="1"/>
              <c:tx>
                <c:rich>
                  <a:bodyPr/>
                  <a:lstStyle/>
                  <a:p>
                    <a:r>
                      <a:t>3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396-4493-8401-EC2F2234D526}"/>
                </c:ext>
              </c:extLst>
            </c:dLbl>
            <c:dLbl>
              <c:idx val="2"/>
              <c:tx>
                <c:rich>
                  <a:bodyPr/>
                  <a:lstStyle/>
                  <a:p>
                    <a:r>
                      <a:t>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396-4493-8401-EC2F2234D526}"/>
                </c:ext>
              </c:extLst>
            </c:dLbl>
            <c:dLbl>
              <c:idx val="3"/>
              <c:tx>
                <c:rich>
                  <a:bodyPr/>
                  <a:lstStyle/>
                  <a:p>
                    <a:r>
                      <a:t>2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396-4493-8401-EC2F2234D526}"/>
                </c:ext>
              </c:extLst>
            </c:dLbl>
            <c:dLbl>
              <c:idx val="4"/>
              <c:tx>
                <c:rich>
                  <a:bodyPr/>
                  <a:lstStyle/>
                  <a:p>
                    <a:r>
                      <a:t>46.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396-4493-8401-EC2F2234D526}"/>
                </c:ext>
              </c:extLst>
            </c:dLbl>
            <c:dLbl>
              <c:idx val="5"/>
              <c:tx>
                <c:rich>
                  <a:bodyPr/>
                  <a:lstStyle/>
                  <a:p>
                    <a:r>
                      <a:t>7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396-4493-8401-EC2F2234D526}"/>
                </c:ext>
              </c:extLst>
            </c:dLbl>
            <c:dLbl>
              <c:idx val="6"/>
              <c:tx>
                <c:rich>
                  <a:bodyPr/>
                  <a:lstStyle/>
                  <a:p>
                    <a:r>
                      <a:t>39.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396-4493-8401-EC2F2234D526}"/>
                </c:ext>
              </c:extLst>
            </c:dLbl>
            <c:dLbl>
              <c:idx val="7"/>
              <c:tx>
                <c:rich>
                  <a:bodyPr/>
                  <a:lstStyle/>
                  <a:p>
                    <a:r>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396-4493-8401-EC2F2234D526}"/>
                </c:ext>
              </c:extLst>
            </c:dLbl>
            <c:dLbl>
              <c:idx val="8"/>
              <c:tx>
                <c:rich>
                  <a:bodyPr/>
                  <a:lstStyle/>
                  <a:p>
                    <a:r>
                      <a:t>2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396-4493-8401-EC2F2234D526}"/>
                </c:ext>
              </c:extLst>
            </c:dLbl>
            <c:dLbl>
              <c:idx val="9"/>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396-4493-8401-EC2F2234D526}"/>
                </c:ext>
              </c:extLst>
            </c:dLbl>
            <c:dLbl>
              <c:idx val="10"/>
              <c:tx>
                <c:rich>
                  <a:bodyPr/>
                  <a:lstStyle/>
                  <a:p>
                    <a:r>
                      <a:t>4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396-4493-8401-EC2F2234D526}"/>
                </c:ext>
              </c:extLst>
            </c:dLbl>
            <c:dLbl>
              <c:idx val="11"/>
              <c:tx>
                <c:rich>
                  <a:bodyPr/>
                  <a:lstStyle/>
                  <a:p>
                    <a:r>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396-4493-8401-EC2F2234D526}"/>
                </c:ext>
              </c:extLst>
            </c:dLbl>
            <c:dLbl>
              <c:idx val="12"/>
              <c:tx>
                <c:rich>
                  <a:bodyPr/>
                  <a:lstStyle/>
                  <a:p>
                    <a:r>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396-4493-8401-EC2F2234D526}"/>
                </c:ext>
              </c:extLst>
            </c:dLbl>
            <c:dLbl>
              <c:idx val="13"/>
              <c:tx>
                <c:rich>
                  <a:bodyPr/>
                  <a:lstStyle/>
                  <a:p>
                    <a:r>
                      <a:t>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396-4493-8401-EC2F2234D526}"/>
                </c:ext>
              </c:extLst>
            </c:dLbl>
            <c:dLbl>
              <c:idx val="14"/>
              <c:tx>
                <c:rich>
                  <a:bodyPr/>
                  <a:lstStyle/>
                  <a:p>
                    <a:r>
                      <a:t>36.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396-4493-8401-EC2F2234D52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1ER CRU BS 1CT X 750ML</c:v>
                </c:pt>
                <c:pt idx="14">
                  <c:v>CHAMPAGNE NICOLAS BLC DE NOIRS 1CT X 750ML</c:v>
                </c:pt>
              </c:strCache>
            </c:strRef>
          </c:cat>
          <c:val>
            <c:numRef>
              <c:f>Sheet1!$B$2:$B$16</c:f>
              <c:numCache>
                <c:formatCode>General</c:formatCode>
                <c:ptCount val="15"/>
                <c:pt idx="0">
                  <c:v>21.81</c:v>
                </c:pt>
                <c:pt idx="1">
                  <c:v>38.47</c:v>
                </c:pt>
                <c:pt idx="2">
                  <c:v>45.3</c:v>
                </c:pt>
                <c:pt idx="3">
                  <c:v>22.32</c:v>
                </c:pt>
                <c:pt idx="4">
                  <c:v>46.58</c:v>
                </c:pt>
                <c:pt idx="5">
                  <c:v>76.33</c:v>
                </c:pt>
                <c:pt idx="6">
                  <c:v>39.01</c:v>
                </c:pt>
                <c:pt idx="7">
                  <c:v>85.63</c:v>
                </c:pt>
                <c:pt idx="8">
                  <c:v>24.21</c:v>
                </c:pt>
                <c:pt idx="9">
                  <c:v>24.97</c:v>
                </c:pt>
                <c:pt idx="10">
                  <c:v>42.14</c:v>
                </c:pt>
                <c:pt idx="11">
                  <c:v>23.92</c:v>
                </c:pt>
                <c:pt idx="12">
                  <c:v>40.98</c:v>
                </c:pt>
                <c:pt idx="13">
                  <c:v>37.4</c:v>
                </c:pt>
                <c:pt idx="14">
                  <c:v>36.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Mure</c:v>
                </c:pt>
              </c:strCache>
            </c:strRef>
          </c:cat>
          <c:val>
            <c:numRef>
              <c:f>Sheet1!$B$2:$B$2</c:f>
              <c:numCache>
                <c:formatCode>General</c:formatCode>
                <c:ptCount val="1"/>
                <c:pt idx="0">
                  <c:v>17.451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0.870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C$2:$C$3</c:f>
              <c:numCache>
                <c:formatCode>General</c:formatCode>
                <c:ptCount val="2"/>
                <c:pt idx="0">
                  <c:v>17.8979</c:v>
                </c:pt>
                <c:pt idx="1">
                  <c:v>9.613200000000000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Mure</c:v>
                </c:pt>
              </c:strCache>
            </c:strRef>
          </c:cat>
          <c:val>
            <c:numRef>
              <c:f>Sheet1!$B$2:$B$2</c:f>
              <c:numCache>
                <c:formatCode>General</c:formatCode>
                <c:ptCount val="1"/>
                <c:pt idx="0">
                  <c:v>17.3897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Mure</c:v>
                </c:pt>
              </c:strCache>
            </c:strRef>
          </c:cat>
          <c:val>
            <c:numRef>
              <c:f>Sheet1!$B$2:$B$2</c:f>
              <c:numCache>
                <c:formatCode>General</c:formatCode>
                <c:ptCount val="1"/>
                <c:pt idx="0">
                  <c:v>17.5189999999999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Mure</c:v>
                </c:pt>
              </c:strCache>
            </c:strRef>
          </c:cat>
          <c:val>
            <c:numRef>
              <c:f>Sheet1!$B$2:$B$2</c:f>
              <c:numCache>
                <c:formatCode>General</c:formatCode>
                <c:ptCount val="1"/>
                <c:pt idx="0">
                  <c:v>17.5621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Mure</c:v>
                </c:pt>
              </c:strCache>
            </c:strRef>
          </c:cat>
          <c:val>
            <c:numRef>
              <c:f>Sheet1!$B$2:$B$2</c:f>
              <c:numCache>
                <c:formatCode>General</c:formatCode>
                <c:ptCount val="1"/>
                <c:pt idx="0">
                  <c:v>17.481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l Others</c:v>
                </c:pt>
                <c:pt idx="1">
                  <c:v>Mure</c:v>
                </c:pt>
              </c:strCache>
            </c:strRef>
          </c:cat>
          <c:val>
            <c:numRef>
              <c:f>Sheet1!$B$2:$B$3</c:f>
              <c:numCache>
                <c:formatCode>General</c:formatCode>
                <c:ptCount val="2"/>
                <c:pt idx="0">
                  <c:v>20.663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ll Others</c:v>
                </c:pt>
                <c:pt idx="1">
                  <c:v>Mure</c:v>
                </c:pt>
              </c:strCache>
            </c:strRef>
          </c:cat>
          <c:val>
            <c:numRef>
              <c:f>Sheet1!$C$2:$C$3</c:f>
              <c:numCache>
                <c:formatCode>General</c:formatCode>
                <c:ptCount val="2"/>
                <c:pt idx="1">
                  <c:v>10.1559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cat>
            <c:strRef>
              <c:f>Sheet1!$A$2:$A$3</c:f>
              <c:strCache>
                <c:ptCount val="2"/>
                <c:pt idx="0">
                  <c:v>All Others</c:v>
                </c:pt>
                <c:pt idx="1">
                  <c:v>Mure</c:v>
                </c:pt>
              </c:strCache>
            </c:strRef>
          </c:cat>
          <c:val>
            <c:numRef>
              <c:f>Sheet1!$D$2:$D$3</c:f>
              <c:numCache>
                <c:formatCode>General</c:formatCode>
                <c:ptCount val="2"/>
                <c:pt idx="0">
                  <c:v>9.9572000000000003</c:v>
                </c:pt>
                <c:pt idx="1">
                  <c:v>18.3279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cat>
            <c:strRef>
              <c:f>Sheet1!$A$2:$A$2</c:f>
              <c:strCache>
                <c:ptCount val="1"/>
                <c:pt idx="0">
                  <c:v>Mure</c:v>
                </c:pt>
              </c:strCache>
            </c:strRef>
          </c:cat>
          <c:val>
            <c:numRef>
              <c:f>Sheet1!$B$2:$B$2</c:f>
              <c:numCache>
                <c:formatCode>General</c:formatCode>
                <c:ptCount val="1"/>
                <c:pt idx="0">
                  <c:v>17.3776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5161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C$2:$C$3</c:f>
              <c:numCache>
                <c:formatCode>General</c:formatCode>
                <c:ptCount val="2"/>
                <c:pt idx="0">
                  <c:v>10.7937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cat>
            <c:strRef>
              <c:f>Sheet1!$A$2:$A$3</c:f>
              <c:strCache>
                <c:ptCount val="2"/>
                <c:pt idx="0">
                  <c:v>Mure</c:v>
                </c:pt>
                <c:pt idx="1">
                  <c:v>All Others</c:v>
                </c:pt>
              </c:strCache>
            </c:strRef>
          </c:cat>
          <c:val>
            <c:numRef>
              <c:f>Sheet1!$D$2:$D$3</c:f>
              <c:numCache>
                <c:formatCode>General</c:formatCode>
                <c:ptCount val="2"/>
                <c:pt idx="0">
                  <c:v>17.526599999999998</c:v>
                </c:pt>
                <c:pt idx="1">
                  <c:v>9.851000000000000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0">
                  <c:v>17.412700000000001</c:v>
                </c:pt>
                <c:pt idx="1">
                  <c:v>10.484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F65-431E-B50B-2F7159C3249B}"/>
                </c:ext>
              </c:extLst>
            </c:dLbl>
            <c:dLbl>
              <c:idx val="1"/>
              <c:tx>
                <c:rich>
                  <a:bodyPr/>
                  <a:lstStyle/>
                  <a:p>
                    <a:r>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F65-431E-B50B-2F7159C3249B}"/>
                </c:ext>
              </c:extLst>
            </c:dLbl>
            <c:dLbl>
              <c:idx val="2"/>
              <c:tx>
                <c:rich>
                  <a:bodyPr/>
                  <a:lstStyle/>
                  <a:p>
                    <a:r>
                      <a:t>2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F65-431E-B50B-2F7159C3249B}"/>
                </c:ext>
              </c:extLst>
            </c:dLbl>
            <c:dLbl>
              <c:idx val="3"/>
              <c:tx>
                <c:rich>
                  <a:bodyPr/>
                  <a:lstStyle/>
                  <a:p>
                    <a:r>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F65-431E-B50B-2F7159C3249B}"/>
                </c:ext>
              </c:extLst>
            </c:dLbl>
            <c:dLbl>
              <c:idx val="4"/>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F65-431E-B50B-2F7159C3249B}"/>
                </c:ext>
              </c:extLst>
            </c:dLbl>
            <c:dLbl>
              <c:idx val="5"/>
              <c:tx>
                <c:rich>
                  <a:bodyPr/>
                  <a:lstStyle/>
                  <a:p>
                    <a:r>
                      <a:t>71.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F65-431E-B50B-2F7159C3249B}"/>
                </c:ext>
              </c:extLst>
            </c:dLbl>
            <c:dLbl>
              <c:idx val="6"/>
              <c:tx>
                <c:rich>
                  <a:bodyPr/>
                  <a:lstStyle/>
                  <a:p>
                    <a:r>
                      <a:t>38.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F65-431E-B50B-2F7159C3249B}"/>
                </c:ext>
              </c:extLst>
            </c:dLbl>
            <c:dLbl>
              <c:idx val="7"/>
              <c:tx>
                <c:rich>
                  <a:bodyPr/>
                  <a:lstStyle/>
                  <a:p>
                    <a:r>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F65-431E-B50B-2F7159C3249B}"/>
                </c:ext>
              </c:extLst>
            </c:dLbl>
            <c:dLbl>
              <c:idx val="8"/>
              <c:tx>
                <c:rich>
                  <a:bodyPr/>
                  <a:lstStyle/>
                  <a:p>
                    <a:r>
                      <a:t>8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F65-431E-B50B-2F7159C3249B}"/>
                </c:ext>
              </c:extLst>
            </c:dLbl>
            <c:dLbl>
              <c:idx val="9"/>
              <c:tx>
                <c:rich>
                  <a:bodyPr/>
                  <a:lstStyle/>
                  <a:p>
                    <a:r>
                      <a:t>2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F65-431E-B50B-2F7159C3249B}"/>
                </c:ext>
              </c:extLst>
            </c:dLbl>
            <c:dLbl>
              <c:idx val="10"/>
              <c:tx>
                <c:rich>
                  <a:bodyPr/>
                  <a:lstStyle/>
                  <a:p>
                    <a:r>
                      <a:t>4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F65-431E-B50B-2F7159C3249B}"/>
                </c:ext>
              </c:extLst>
            </c:dLbl>
            <c:dLbl>
              <c:idx val="11"/>
              <c:tx>
                <c:rich>
                  <a:bodyPr/>
                  <a:lstStyle/>
                  <a:p>
                    <a:r>
                      <a:t>2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F65-431E-B50B-2F7159C3249B}"/>
                </c:ext>
              </c:extLst>
            </c:dLbl>
            <c:dLbl>
              <c:idx val="12"/>
              <c:tx>
                <c:rich>
                  <a:bodyPr/>
                  <a:lstStyle/>
                  <a:p>
                    <a:r>
                      <a:t>3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F65-431E-B50B-2F7159C3249B}"/>
                </c:ext>
              </c:extLst>
            </c:dLbl>
            <c:dLbl>
              <c:idx val="13"/>
              <c:tx>
                <c:rich>
                  <a:bodyPr/>
                  <a:lstStyle/>
                  <a:p>
                    <a:r>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F65-431E-B50B-2F7159C3249B}"/>
                </c:ext>
              </c:extLst>
            </c:dLbl>
            <c:dLbl>
              <c:idx val="14"/>
              <c:tx>
                <c:rich>
                  <a:bodyPr/>
                  <a:lstStyle/>
                  <a:p>
                    <a:r>
                      <a:t>36.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F65-431E-B50B-2F7159C3249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CHAMPAGNE NICOLAS BIO NAT 2017 1CT X 750ML</c:v>
                </c:pt>
                <c:pt idx="4">
                  <c:v>MG CHAMPAGNE E.NICOLAS BRUT 1CT X 150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6.97</c:v>
                </c:pt>
                <c:pt idx="2">
                  <c:v>22.46</c:v>
                </c:pt>
                <c:pt idx="3">
                  <c:v>46.21</c:v>
                </c:pt>
                <c:pt idx="4">
                  <c:v>45.17</c:v>
                </c:pt>
                <c:pt idx="5">
                  <c:v>71.75</c:v>
                </c:pt>
                <c:pt idx="6">
                  <c:v>38.86</c:v>
                </c:pt>
                <c:pt idx="7">
                  <c:v>24.03</c:v>
                </c:pt>
                <c:pt idx="8">
                  <c:v>85.83</c:v>
                </c:pt>
                <c:pt idx="9">
                  <c:v>25.04</c:v>
                </c:pt>
                <c:pt idx="10">
                  <c:v>40.909999999999997</c:v>
                </c:pt>
                <c:pt idx="11">
                  <c:v>24.13</c:v>
                </c:pt>
                <c:pt idx="12">
                  <c:v>38.82</c:v>
                </c:pt>
                <c:pt idx="13">
                  <c:v>36.46</c:v>
                </c:pt>
                <c:pt idx="14">
                  <c:v>36.8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0.848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C$2:$C$3</c:f>
              <c:numCache>
                <c:formatCode>General</c:formatCode>
                <c:ptCount val="2"/>
                <c:pt idx="0">
                  <c:v>10.4172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cat>
            <c:strRef>
              <c:f>Sheet1!$A$2:$A$3</c:f>
              <c:strCache>
                <c:ptCount val="2"/>
                <c:pt idx="0">
                  <c:v>Mure</c:v>
                </c:pt>
                <c:pt idx="1">
                  <c:v>All Others</c:v>
                </c:pt>
              </c:strCache>
            </c:strRef>
          </c:cat>
          <c:val>
            <c:numRef>
              <c:f>Sheet1!$D$2:$D$3</c:f>
              <c:numCache>
                <c:formatCode>General</c:formatCode>
                <c:ptCount val="2"/>
                <c:pt idx="0">
                  <c:v>17.831800000000001</c:v>
                </c:pt>
                <c:pt idx="1">
                  <c:v>9.960200000000000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Mure</c:v>
                </c:pt>
                <c:pt idx="1">
                  <c:v>All Others</c:v>
                </c:pt>
              </c:strCache>
            </c:strRef>
          </c:cat>
          <c:val>
            <c:numRef>
              <c:f>Sheet1!$B$2:$B$3</c:f>
              <c:numCache>
                <c:formatCode>General</c:formatCode>
                <c:ptCount val="2"/>
                <c:pt idx="1">
                  <c:v>21.28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Mure</c:v>
                </c:pt>
                <c:pt idx="1">
                  <c:v>All Others</c:v>
                </c:pt>
              </c:strCache>
            </c:strRef>
          </c:cat>
          <c:val>
            <c:numRef>
              <c:f>Sheet1!$C$2:$C$3</c:f>
              <c:numCache>
                <c:formatCode>General</c:formatCode>
                <c:ptCount val="2"/>
                <c:pt idx="0">
                  <c:v>10.10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ML</c:v>
                </c:pt>
              </c:strCache>
            </c:strRef>
          </c:tx>
          <c:spPr>
            <a:ln w="19050">
              <a:noFill/>
            </a:ln>
          </c:spPr>
          <c:marker>
            <c:symbol val="dash"/>
            <c:size val="20"/>
            <c:spPr>
              <a:solidFill>
                <a:srgbClr val="CC66FF"/>
              </a:solidFill>
              <a:ln w="9525">
                <a:noFill/>
              </a:ln>
              <a:effectLst/>
            </c:spPr>
          </c:marker>
          <c:cat>
            <c:strRef>
              <c:f>Sheet1!$A$2:$A$3</c:f>
              <c:strCache>
                <c:ptCount val="2"/>
                <c:pt idx="0">
                  <c:v>Mure</c:v>
                </c:pt>
                <c:pt idx="1">
                  <c:v>All Others</c:v>
                </c:pt>
              </c:strCache>
            </c:strRef>
          </c:cat>
          <c:val>
            <c:numRef>
              <c:f>Sheet1!$D$2:$D$3</c:f>
              <c:numCache>
                <c:formatCode>General</c:formatCode>
                <c:ptCount val="2"/>
                <c:pt idx="0">
                  <c:v>17.647300000000001</c:v>
                </c:pt>
                <c:pt idx="1">
                  <c:v>10.100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Mdd</c:v>
                </c:pt>
                <c:pt idx="1">
                  <c:v>Ballarin Jean Louis</c:v>
                </c:pt>
                <c:pt idx="2">
                  <c:v>Malesan</c:v>
                </c:pt>
                <c:pt idx="3">
                  <c:v>Jaillance</c:v>
                </c:pt>
                <c:pt idx="4">
                  <c:v>Sieur Gaillard</c:v>
                </c:pt>
                <c:pt idx="5">
                  <c:v>Les Cordeliers</c:v>
                </c:pt>
                <c:pt idx="6">
                  <c:v>All Others</c:v>
                </c:pt>
                <c:pt idx="7">
                  <c:v>Calvet</c:v>
                </c:pt>
                <c:pt idx="8">
                  <c:v>Cru La Maqueline</c:v>
                </c:pt>
              </c:strCache>
            </c:strRef>
          </c:cat>
          <c:val>
            <c:numRef>
              <c:f>Sheet1!$B$2:$B$10</c:f>
              <c:numCache>
                <c:formatCode>General</c:formatCode>
                <c:ptCount val="9"/>
                <c:pt idx="0">
                  <c:v>5.3131000000000004</c:v>
                </c:pt>
                <c:pt idx="1">
                  <c:v>7.2645</c:v>
                </c:pt>
                <c:pt idx="2">
                  <c:v>6.9162999999999997</c:v>
                </c:pt>
                <c:pt idx="3">
                  <c:v>6.5225999999999997</c:v>
                </c:pt>
                <c:pt idx="4">
                  <c:v>7.99</c:v>
                </c:pt>
                <c:pt idx="5">
                  <c:v>7.0077999999999996</c:v>
                </c:pt>
                <c:pt idx="6">
                  <c:v>7.4943999999999997</c:v>
                </c:pt>
                <c:pt idx="7">
                  <c:v>5.8705999999999996</c:v>
                </c:pt>
                <c:pt idx="8">
                  <c:v>10.745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8071</c:v>
                </c:pt>
                <c:pt idx="1">
                  <c:v>9.6836000000000002</c:v>
                </c:pt>
                <c:pt idx="2">
                  <c:v>14.2428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Mdd</c:v>
                </c:pt>
                <c:pt idx="1">
                  <c:v>Ballarin Jean Louis</c:v>
                </c:pt>
                <c:pt idx="2">
                  <c:v>Malesan</c:v>
                </c:pt>
                <c:pt idx="3">
                  <c:v>Jaillance</c:v>
                </c:pt>
                <c:pt idx="4">
                  <c:v>Sieur Gaillard</c:v>
                </c:pt>
                <c:pt idx="5">
                  <c:v>Les Cordeliers</c:v>
                </c:pt>
                <c:pt idx="6">
                  <c:v>All Others</c:v>
                </c:pt>
                <c:pt idx="7">
                  <c:v>Calvet</c:v>
                </c:pt>
              </c:strCache>
            </c:strRef>
          </c:cat>
          <c:val>
            <c:numRef>
              <c:f>Sheet1!$B$2:$B$9</c:f>
              <c:numCache>
                <c:formatCode>General</c:formatCode>
                <c:ptCount val="8"/>
                <c:pt idx="0">
                  <c:v>5.3131000000000004</c:v>
                </c:pt>
                <c:pt idx="1">
                  <c:v>7.2645</c:v>
                </c:pt>
                <c:pt idx="2">
                  <c:v>6.9162999999999997</c:v>
                </c:pt>
                <c:pt idx="3">
                  <c:v>6.5225999999999997</c:v>
                </c:pt>
                <c:pt idx="4">
                  <c:v>7.99</c:v>
                </c:pt>
                <c:pt idx="5">
                  <c:v>7.0077999999999996</c:v>
                </c:pt>
                <c:pt idx="6">
                  <c:v>7.4394999999999998</c:v>
                </c:pt>
                <c:pt idx="7">
                  <c:v>5.870599999999999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7256</c:v>
                </c:pt>
                <c:pt idx="1">
                  <c:v>9.5991</c:v>
                </c:pt>
                <c:pt idx="2">
                  <c:v>15.0455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711</c:v>
                </c:pt>
                <c:pt idx="1">
                  <c:v>9.48</c:v>
                </c:pt>
                <c:pt idx="2">
                  <c:v>15.1153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9194</c:v>
                </c:pt>
                <c:pt idx="1">
                  <c:v>9.711700000000000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9282</c:v>
                </c:pt>
                <c:pt idx="1">
                  <c:v>10.2353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1.115</c:v>
                </c:pt>
                <c:pt idx="1">
                  <c:v>10.5216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67-49F6-A896-C4380F2DC7FE}"/>
                </c:ext>
              </c:extLst>
            </c:dLbl>
            <c:dLbl>
              <c:idx val="1"/>
              <c:tx>
                <c:rich>
                  <a:bodyPr/>
                  <a:lstStyle/>
                  <a:p>
                    <a:r>
                      <a:t>3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67-49F6-A896-C4380F2DC7FE}"/>
                </c:ext>
              </c:extLst>
            </c:dLbl>
            <c:dLbl>
              <c:idx val="2"/>
              <c:tx>
                <c:rich>
                  <a:bodyPr/>
                  <a:lstStyle/>
                  <a:p>
                    <a:r>
                      <a:t>2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67-49F6-A896-C4380F2DC7FE}"/>
                </c:ext>
              </c:extLst>
            </c:dLbl>
            <c:dLbl>
              <c:idx val="3"/>
              <c:tx>
                <c:rich>
                  <a:bodyPr/>
                  <a:lstStyle/>
                  <a:p>
                    <a:r>
                      <a:t>47.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67-49F6-A896-C4380F2DC7FE}"/>
                </c:ext>
              </c:extLst>
            </c:dLbl>
            <c:dLbl>
              <c:idx val="4"/>
              <c:tx>
                <c:rich>
                  <a:bodyPr/>
                  <a:lstStyle/>
                  <a:p>
                    <a:r>
                      <a:t>4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67-49F6-A896-C4380F2DC7FE}"/>
                </c:ext>
              </c:extLst>
            </c:dLbl>
            <c:dLbl>
              <c:idx val="5"/>
              <c:tx>
                <c:rich>
                  <a:bodyPr/>
                  <a:lstStyle/>
                  <a:p>
                    <a:r>
                      <a:t>7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67-49F6-A896-C4380F2DC7FE}"/>
                </c:ext>
              </c:extLst>
            </c:dLbl>
            <c:dLbl>
              <c:idx val="6"/>
              <c:tx>
                <c:rich>
                  <a:bodyPr/>
                  <a:lstStyle/>
                  <a:p>
                    <a:r>
                      <a:t>39.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F67-49F6-A896-C4380F2DC7FE}"/>
                </c:ext>
              </c:extLst>
            </c:dLbl>
            <c:dLbl>
              <c:idx val="7"/>
              <c:tx>
                <c:rich>
                  <a:bodyPr/>
                  <a:lstStyle/>
                  <a:p>
                    <a:r>
                      <a:t>2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F67-49F6-A896-C4380F2DC7FE}"/>
                </c:ext>
              </c:extLst>
            </c:dLbl>
            <c:dLbl>
              <c:idx val="8"/>
              <c:tx>
                <c:rich>
                  <a:bodyPr/>
                  <a:lstStyle/>
                  <a:p>
                    <a:r>
                      <a:t>7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F67-49F6-A896-C4380F2DC7FE}"/>
                </c:ext>
              </c:extLst>
            </c:dLbl>
            <c:dLbl>
              <c:idx val="9"/>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F67-49F6-A896-C4380F2DC7FE}"/>
                </c:ext>
              </c:extLst>
            </c:dLbl>
            <c:dLbl>
              <c:idx val="10"/>
              <c:tx>
                <c:rich>
                  <a:bodyPr/>
                  <a:lstStyle/>
                  <a:p>
                    <a:r>
                      <a:t>4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F67-49F6-A896-C4380F2DC7FE}"/>
                </c:ext>
              </c:extLst>
            </c:dLbl>
            <c:dLbl>
              <c:idx val="11"/>
              <c:tx>
                <c:rich>
                  <a:bodyPr/>
                  <a:lstStyle/>
                  <a:p>
                    <a:r>
                      <a:t>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F67-49F6-A896-C4380F2DC7FE}"/>
                </c:ext>
              </c:extLst>
            </c:dLbl>
            <c:dLbl>
              <c:idx val="12"/>
              <c:tx>
                <c:rich>
                  <a:bodyPr/>
                  <a:lstStyle/>
                  <a:p>
                    <a:r>
                      <a:t>3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F67-49F6-A896-C4380F2DC7FE}"/>
                </c:ext>
              </c:extLst>
            </c:dLbl>
            <c:dLbl>
              <c:idx val="13"/>
              <c:tx>
                <c:rich>
                  <a:bodyPr/>
                  <a:lstStyle/>
                  <a:p>
                    <a:r>
                      <a:t>3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F67-49F6-A896-C4380F2DC7FE}"/>
                </c:ext>
              </c:extLst>
            </c:dLbl>
            <c:dLbl>
              <c:idx val="14"/>
              <c:tx>
                <c:rich>
                  <a:bodyPr/>
                  <a:lstStyle/>
                  <a:p>
                    <a:r>
                      <a:t>37.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F67-49F6-A896-C4380F2DC7F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9</c:v>
                </c:pt>
                <c:pt idx="1">
                  <c:v>36.549999999999997</c:v>
                </c:pt>
                <c:pt idx="2">
                  <c:v>22.95</c:v>
                </c:pt>
                <c:pt idx="3">
                  <c:v>47.33</c:v>
                </c:pt>
                <c:pt idx="4">
                  <c:v>45.77</c:v>
                </c:pt>
                <c:pt idx="5">
                  <c:v>77.12</c:v>
                </c:pt>
                <c:pt idx="6">
                  <c:v>39.18</c:v>
                </c:pt>
                <c:pt idx="7">
                  <c:v>23.93</c:v>
                </c:pt>
                <c:pt idx="8">
                  <c:v>78.81</c:v>
                </c:pt>
                <c:pt idx="9">
                  <c:v>25</c:v>
                </c:pt>
                <c:pt idx="10">
                  <c:v>42.07</c:v>
                </c:pt>
                <c:pt idx="11">
                  <c:v>23.6</c:v>
                </c:pt>
                <c:pt idx="12">
                  <c:v>37.42</c:v>
                </c:pt>
                <c:pt idx="13">
                  <c:v>36.229999999999997</c:v>
                </c:pt>
                <c:pt idx="14">
                  <c:v>37.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7323</c:v>
                </c:pt>
                <c:pt idx="1">
                  <c:v>9.366300000000000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8147</c:v>
                </c:pt>
                <c:pt idx="1">
                  <c:v>10.140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1.1875</c:v>
                </c:pt>
                <c:pt idx="1">
                  <c:v>10.3922000000000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All Others</c:v>
                </c:pt>
                <c:pt idx="1">
                  <c:v>Cru La Maqueline</c:v>
                </c:pt>
                <c:pt idx="2">
                  <c:v>Celene</c:v>
                </c:pt>
              </c:strCache>
            </c:strRef>
          </c:cat>
          <c:val>
            <c:numRef>
              <c:f>Sheet1!$B$2:$B$4</c:f>
              <c:numCache>
                <c:formatCode>General</c:formatCode>
                <c:ptCount val="3"/>
                <c:pt idx="0">
                  <c:v>14.0397</c:v>
                </c:pt>
                <c:pt idx="1">
                  <c:v>10.9453</c:v>
                </c:pt>
                <c:pt idx="2">
                  <c:v>10.702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1.212400000000001</c:v>
                </c:pt>
                <c:pt idx="1">
                  <c:v>9.53969999999999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751099999999999</c:v>
                </c:pt>
                <c:pt idx="1">
                  <c:v>9.608100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6694</c:v>
                </c:pt>
                <c:pt idx="1">
                  <c:v>10.285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All Others</c:v>
                </c:pt>
                <c:pt idx="2">
                  <c:v>Celene</c:v>
                </c:pt>
              </c:strCache>
            </c:strRef>
          </c:cat>
          <c:val>
            <c:numRef>
              <c:f>Sheet1!$B$2:$B$4</c:f>
              <c:numCache>
                <c:formatCode>General</c:formatCode>
                <c:ptCount val="3"/>
                <c:pt idx="0">
                  <c:v>10.7494</c:v>
                </c:pt>
                <c:pt idx="1">
                  <c:v>14.065799999999999</c:v>
                </c:pt>
                <c:pt idx="2">
                  <c:v>9.8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Cru La Maqueline</c:v>
                </c:pt>
                <c:pt idx="1">
                  <c:v>Celene</c:v>
                </c:pt>
              </c:strCache>
            </c:strRef>
          </c:cat>
          <c:val>
            <c:numRef>
              <c:f>Sheet1!$B$2:$B$3</c:f>
              <c:numCache>
                <c:formatCode>General</c:formatCode>
                <c:ptCount val="2"/>
                <c:pt idx="0">
                  <c:v>10.7454</c:v>
                </c:pt>
                <c:pt idx="1">
                  <c:v>9.60699999999999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u La Maqueline</c:v>
                </c:pt>
                <c:pt idx="1">
                  <c:v>Celene</c:v>
                </c:pt>
                <c:pt idx="2">
                  <c:v>All Others</c:v>
                </c:pt>
              </c:strCache>
            </c:strRef>
          </c:cat>
          <c:val>
            <c:numRef>
              <c:f>Sheet1!$B$2:$B$4</c:f>
              <c:numCache>
                <c:formatCode>General</c:formatCode>
                <c:ptCount val="3"/>
                <c:pt idx="0">
                  <c:v>10.889099999999999</c:v>
                </c:pt>
                <c:pt idx="1">
                  <c:v>9.4672999999999998</c:v>
                </c:pt>
                <c:pt idx="2">
                  <c:v>14.7754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A6E-48FF-BF22-4A4B9B28869F}"/>
                </c:ext>
              </c:extLst>
            </c:dLbl>
            <c:dLbl>
              <c:idx val="1"/>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A6E-48FF-BF22-4A4B9B28869F}"/>
                </c:ext>
              </c:extLst>
            </c:dLbl>
            <c:dLbl>
              <c:idx val="2"/>
              <c:tx>
                <c:rich>
                  <a:bodyPr/>
                  <a:lstStyle/>
                  <a:p>
                    <a:r>
                      <a:t>4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A6E-48FF-BF22-4A4B9B28869F}"/>
                </c:ext>
              </c:extLst>
            </c:dLbl>
            <c:dLbl>
              <c:idx val="3"/>
              <c:tx>
                <c:rich>
                  <a:bodyPr/>
                  <a:lstStyle/>
                  <a:p>
                    <a:r>
                      <a:t>2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6E-48FF-BF22-4A4B9B28869F}"/>
                </c:ext>
              </c:extLst>
            </c:dLbl>
            <c:dLbl>
              <c:idx val="4"/>
              <c:tx>
                <c:rich>
                  <a:bodyPr/>
                  <a:lstStyle/>
                  <a:p>
                    <a:r>
                      <a:t>89.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6E-48FF-BF22-4A4B9B28869F}"/>
                </c:ext>
              </c:extLst>
            </c:dLbl>
            <c:dLbl>
              <c:idx val="5"/>
              <c:tx>
                <c:rich>
                  <a:bodyPr/>
                  <a:lstStyle/>
                  <a:p>
                    <a:r>
                      <a:t>4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6E-48FF-BF22-4A4B9B28869F}"/>
                </c:ext>
              </c:extLst>
            </c:dLbl>
            <c:dLbl>
              <c:idx val="6"/>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6E-48FF-BF22-4A4B9B28869F}"/>
                </c:ext>
              </c:extLst>
            </c:dLbl>
            <c:dLbl>
              <c:idx val="7"/>
              <c:tx>
                <c:rich>
                  <a:bodyPr/>
                  <a:lstStyle/>
                  <a:p>
                    <a:r>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A6E-48FF-BF22-4A4B9B28869F}"/>
                </c:ext>
              </c:extLst>
            </c:dLbl>
            <c:dLbl>
              <c:idx val="8"/>
              <c:tx>
                <c:rich>
                  <a:bodyPr/>
                  <a:lstStyle/>
                  <a:p>
                    <a:r>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A6E-48FF-BF22-4A4B9B28869F}"/>
                </c:ext>
              </c:extLst>
            </c:dLbl>
            <c:dLbl>
              <c:idx val="9"/>
              <c:tx>
                <c:rich>
                  <a:bodyPr/>
                  <a:lstStyle/>
                  <a:p>
                    <a:r>
                      <a:t>4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A6E-48FF-BF22-4A4B9B28869F}"/>
                </c:ext>
              </c:extLst>
            </c:dLbl>
            <c:dLbl>
              <c:idx val="10"/>
              <c:tx>
                <c:rich>
                  <a:bodyPr/>
                  <a:lstStyle/>
                  <a:p>
                    <a:r>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A6E-48FF-BF22-4A4B9B28869F}"/>
                </c:ext>
              </c:extLst>
            </c:dLbl>
            <c:dLbl>
              <c:idx val="11"/>
              <c:tx>
                <c:rich>
                  <a:bodyPr/>
                  <a:lstStyle/>
                  <a:p>
                    <a:r>
                      <a:t>3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A6E-48FF-BF22-4A4B9B28869F}"/>
                </c:ext>
              </c:extLst>
            </c:dLbl>
            <c:dLbl>
              <c:idx val="12"/>
              <c:tx>
                <c:rich>
                  <a:bodyPr/>
                  <a:lstStyle/>
                  <a:p>
                    <a:r>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A6E-48FF-BF22-4A4B9B28869F}"/>
                </c:ext>
              </c:extLst>
            </c:dLbl>
            <c:dLbl>
              <c:idx val="13"/>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A6E-48FF-BF22-4A4B9B28869F}"/>
                </c:ext>
              </c:extLst>
            </c:dLbl>
            <c:dLbl>
              <c:idx val="14"/>
              <c:tx>
                <c:rich>
                  <a:bodyPr/>
                  <a:lstStyle/>
                  <a:p>
                    <a:r>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A6E-48FF-BF22-4A4B9B28869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MG CHAMPAGNE NICOLAS 1ERE CUVE 1CT X 1500ML</c:v>
                </c:pt>
                <c:pt idx="5">
                  <c:v>CHAMPAGNE NICOLAS BIO NAT 2017 1CT X 750ML</c:v>
                </c:pt>
                <c:pt idx="6">
                  <c:v>CHAMPAGNE NICOLAS BLC/BLC BS 1CT X 750ML</c:v>
                </c:pt>
                <c:pt idx="7">
                  <c:v>MG CHAMPAGNE NICOLAS BLC/BL BS 1CT X 1500ML</c:v>
                </c:pt>
                <c:pt idx="8">
                  <c:v>1/2 CHAMP NICOLAS BLC/BLC BS 1CT X 375ML</c:v>
                </c:pt>
                <c:pt idx="9">
                  <c:v>CHAMPAGNE NICOLAS BLC/BL BS ET 1CT X 750ML</c:v>
                </c:pt>
                <c:pt idx="10">
                  <c:v>CHAMPAGNE E.NICOLAS ROSE 1CT X 750ML</c:v>
                </c:pt>
                <c:pt idx="11">
                  <c:v>CHAMPAGNE NICOLAS ROSE 1ERE CU 1CT X 750ML</c:v>
                </c:pt>
                <c:pt idx="12">
                  <c:v>1/2 CHAMP NICOLAS ROSE 1E C BS 1CT X 375ML</c:v>
                </c:pt>
                <c:pt idx="13">
                  <c:v>CHAMPAGNE NICOLAS 1ER CRU BS 1CT X 750ML</c:v>
                </c:pt>
                <c:pt idx="14">
                  <c:v>CHAMPAGNE NICOLAS BLC DE NOIRS 1CT X 750ML</c:v>
                </c:pt>
              </c:strCache>
            </c:strRef>
          </c:cat>
          <c:val>
            <c:numRef>
              <c:f>Sheet1!$B$2:$B$16</c:f>
              <c:numCache>
                <c:formatCode>General</c:formatCode>
                <c:ptCount val="15"/>
                <c:pt idx="0">
                  <c:v>21.91</c:v>
                </c:pt>
                <c:pt idx="1">
                  <c:v>36.89</c:v>
                </c:pt>
                <c:pt idx="2">
                  <c:v>43.32</c:v>
                </c:pt>
                <c:pt idx="3">
                  <c:v>23.02</c:v>
                </c:pt>
                <c:pt idx="4">
                  <c:v>89.26</c:v>
                </c:pt>
                <c:pt idx="5">
                  <c:v>46.79</c:v>
                </c:pt>
                <c:pt idx="6">
                  <c:v>39.020000000000003</c:v>
                </c:pt>
                <c:pt idx="7">
                  <c:v>85.35</c:v>
                </c:pt>
                <c:pt idx="8">
                  <c:v>23.76</c:v>
                </c:pt>
                <c:pt idx="9">
                  <c:v>40.67</c:v>
                </c:pt>
                <c:pt idx="10">
                  <c:v>24.95</c:v>
                </c:pt>
                <c:pt idx="11">
                  <c:v>39.39</c:v>
                </c:pt>
                <c:pt idx="12">
                  <c:v>24.95</c:v>
                </c:pt>
                <c:pt idx="13">
                  <c:v>38.42</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6.38390000000001</c:v>
                </c:pt>
                <c:pt idx="2">
                  <c:v>93.42690000000000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5.7502</c:v>
                </c:pt>
                <c:pt idx="2">
                  <c:v>28.11520000000000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7.467299999999994</c:v>
                </c:pt>
                <c:pt idx="1">
                  <c:v>23.150099999999998</c:v>
                </c:pt>
                <c:pt idx="2">
                  <c:v>48.531300000000002</c:v>
                </c:pt>
                <c:pt idx="3">
                  <c:v>38.316000000000003</c:v>
                </c:pt>
                <c:pt idx="4">
                  <c:v>9.3068000000000008</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75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c:v>
                  </c:pt>
                  <c:pt idx="1">
                    <c:v>Champagnes</c:v>
                  </c:pt>
                  <c:pt idx="2">
                    <c:v>Mousseux</c:v>
                  </c:pt>
                  <c:pt idx="3">
                    <c:v>Champagnes</c:v>
                  </c:pt>
                  <c:pt idx="4">
                    <c:v>Champagnes</c:v>
                  </c:pt>
                </c:lvl>
                <c:lvl>
                  <c:pt idx="0">
                    <c:v>Mdd</c:v>
                  </c:pt>
                  <c:pt idx="1">
                    <c:v>All Others</c:v>
                  </c:pt>
                  <c:pt idx="3">
                    <c:v>Nicolas Feuillatte</c:v>
                  </c:pt>
                  <c:pt idx="4">
                    <c:v>Mumm</c:v>
                  </c:pt>
                </c:lvl>
              </c:multiLvlStrCache>
            </c:multiLvlStrRef>
          </c:cat>
          <c:val>
            <c:numRef>
              <c:f>Sheet1!$C$2:$C$6</c:f>
              <c:numCache>
                <c:formatCode>General</c:formatCode>
                <c:ptCount val="5"/>
                <c:pt idx="3">
                  <c:v>29.79469999999999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Mousseux</c:v>
                  </c:pt>
                  <c:pt idx="1">
                    <c:v>Champagnes</c:v>
                  </c:pt>
                  <c:pt idx="2">
                    <c:v>Mousseux</c:v>
                  </c:pt>
                  <c:pt idx="3">
                    <c:v>Champagnes</c:v>
                  </c:pt>
                  <c:pt idx="4">
                    <c:v>Champagnes</c:v>
                  </c:pt>
                </c:lvl>
                <c:lvl>
                  <c:pt idx="0">
                    <c:v>Mdd</c:v>
                  </c:pt>
                  <c:pt idx="1">
                    <c:v>All Others</c:v>
                  </c:pt>
                  <c:pt idx="3">
                    <c:v>Nicolas Feuillatte</c:v>
                  </c:pt>
                  <c:pt idx="4">
                    <c:v>Mumm</c:v>
                  </c:pt>
                </c:lvl>
              </c:multiLvlStrCache>
            </c:multiLvlStrRef>
          </c:cat>
          <c:val>
            <c:numRef>
              <c:f>Sheet1!$D$2:$D$6</c:f>
              <c:numCache>
                <c:formatCode>General</c:formatCode>
                <c:ptCount val="5"/>
                <c:pt idx="0">
                  <c:v>4.4322999999999997</c:v>
                </c:pt>
                <c:pt idx="1">
                  <c:v>21.030899999999999</c:v>
                </c:pt>
                <c:pt idx="2">
                  <c:v>5.9724000000000004</c:v>
                </c:pt>
                <c:pt idx="3">
                  <c:v>24.584700000000002</c:v>
                </c:pt>
                <c:pt idx="4">
                  <c:v>30.550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Malard</c:v>
                  </c:pt>
                </c:lvl>
              </c:multiLvlStrCache>
            </c:multiLvlStrRef>
          </c:cat>
          <c:val>
            <c:numRef>
              <c:f>Sheet1!$C$2:$C$5</c:f>
              <c:numCache>
                <c:formatCode>General</c:formatCode>
                <c:ptCount val="4"/>
                <c:pt idx="0">
                  <c:v>161.54750000000001</c:v>
                </c:pt>
                <c:pt idx="2">
                  <c:v>93.28369999999999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Malard</c:v>
                  </c:pt>
                </c:lvl>
              </c:multiLvlStrCache>
            </c:multiLvlStrRef>
          </c:cat>
          <c:val>
            <c:numRef>
              <c:f>Sheet1!$D$2:$D$5</c:f>
              <c:numCache>
                <c:formatCode>General</c:formatCode>
                <c:ptCount val="4"/>
                <c:pt idx="0">
                  <c:v>43.898800000000001</c:v>
                </c:pt>
                <c:pt idx="2">
                  <c:v>27.76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Malard</c:v>
                  </c:pt>
                </c:lvl>
              </c:multiLvlStrCache>
            </c:multiLvlStrRef>
          </c:cat>
          <c:val>
            <c:numRef>
              <c:f>Sheet1!$E$2:$E$5</c:f>
              <c:numCache>
                <c:formatCode>General</c:formatCode>
                <c:ptCount val="4"/>
                <c:pt idx="0">
                  <c:v>65.331299999999999</c:v>
                </c:pt>
                <c:pt idx="1">
                  <c:v>23.158100000000001</c:v>
                </c:pt>
                <c:pt idx="2">
                  <c:v>47.951700000000002</c:v>
                </c:pt>
                <c:pt idx="3">
                  <c:v>31.4481</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7.47640000000001</c:v>
                </c:pt>
                <c:pt idx="2">
                  <c:v>92.31470000000000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4.72429999999999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7.610100000000003</c:v>
                </c:pt>
                <c:pt idx="1">
                  <c:v>23.174099999999999</c:v>
                </c:pt>
                <c:pt idx="2">
                  <c:v>48.887300000000003</c:v>
                </c:pt>
                <c:pt idx="3">
                  <c:v>34.570599999999999</c:v>
                </c:pt>
                <c:pt idx="4">
                  <c:v>9.3877000000000006</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8.6309</c:v>
                </c:pt>
                <c:pt idx="2">
                  <c:v>94.390699999999995</c:v>
                </c:pt>
                <c:pt idx="3">
                  <c:v>85.20619999999999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5.578699999999998</c:v>
                </c:pt>
                <c:pt idx="2">
                  <c:v>28.27329999999999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8.409099999999995</c:v>
                </c:pt>
                <c:pt idx="1">
                  <c:v>23.056100000000001</c:v>
                </c:pt>
                <c:pt idx="2">
                  <c:v>49.268999999999998</c:v>
                </c:pt>
                <c:pt idx="3">
                  <c:v>49.89200000000000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Deutz</c:v>
                  </c:pt>
                  <c:pt idx="2">
                    <c:v>Laurent Perrier</c:v>
                  </c:pt>
                  <c:pt idx="3">
                    <c:v>Nicolas</c:v>
                  </c:pt>
                </c:lvl>
              </c:multiLvlStrCache>
            </c:multiLvlStrRef>
          </c:cat>
          <c:val>
            <c:numRef>
              <c:f>Sheet1!$C$2:$C$5</c:f>
              <c:numCache>
                <c:formatCode>General</c:formatCode>
                <c:ptCount val="4"/>
                <c:pt idx="0">
                  <c:v>169.1404</c:v>
                </c:pt>
                <c:pt idx="1">
                  <c:v>93.687899999999999</c:v>
                </c:pt>
                <c:pt idx="2">
                  <c:v>86.73449999999999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Deutz</c:v>
                  </c:pt>
                  <c:pt idx="2">
                    <c:v>Laurent Perrier</c:v>
                  </c:pt>
                  <c:pt idx="3">
                    <c:v>Nicolas</c:v>
                  </c:pt>
                </c:lvl>
              </c:multiLvlStrCache>
            </c:multiLvlStrRef>
          </c:cat>
          <c:val>
            <c:numRef>
              <c:f>Sheet1!$D$2:$D$5</c:f>
              <c:numCache>
                <c:formatCode>General</c:formatCode>
                <c:ptCount val="4"/>
                <c:pt idx="0">
                  <c:v>47.13329999999999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cat>
            <c:multiLvlStrRef>
              <c:f>Sheet1!$A$2:$B$5</c:f>
              <c:multiLvlStrCache>
                <c:ptCount val="4"/>
                <c:lvl>
                  <c:pt idx="0">
                    <c:v>Champagnes</c:v>
                  </c:pt>
                  <c:pt idx="1">
                    <c:v>Champagnes</c:v>
                  </c:pt>
                  <c:pt idx="2">
                    <c:v>Champagnes</c:v>
                  </c:pt>
                  <c:pt idx="3">
                    <c:v>Champagnes</c:v>
                  </c:pt>
                </c:lvl>
                <c:lvl>
                  <c:pt idx="0">
                    <c:v>Ruinart</c:v>
                  </c:pt>
                  <c:pt idx="1">
                    <c:v>Deutz</c:v>
                  </c:pt>
                  <c:pt idx="2">
                    <c:v>Laurent Perrier</c:v>
                  </c:pt>
                  <c:pt idx="3">
                    <c:v>Nicolas</c:v>
                  </c:pt>
                </c:lvl>
              </c:multiLvlStrCache>
            </c:multiLvlStrRef>
          </c:cat>
          <c:val>
            <c:numRef>
              <c:f>Sheet1!$E$2:$E$5</c:f>
              <c:numCache>
                <c:formatCode>General</c:formatCode>
                <c:ptCount val="4"/>
                <c:pt idx="0">
                  <c:v>72.575999999999993</c:v>
                </c:pt>
                <c:pt idx="1">
                  <c:v>48.561900000000001</c:v>
                </c:pt>
                <c:pt idx="2">
                  <c:v>49.034100000000002</c:v>
                </c:pt>
                <c:pt idx="3">
                  <c:v>23.208500000000001</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C$2:$C$6</c:f>
              <c:numCache>
                <c:formatCode>General</c:formatCode>
                <c:ptCount val="5"/>
                <c:pt idx="0">
                  <c:v>166.16749999999999</c:v>
                </c:pt>
                <c:pt idx="2">
                  <c:v>94.28539999999999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D$2:$D$6</c:f>
              <c:numCache>
                <c:formatCode>General</c:formatCode>
                <c:ptCount val="5"/>
                <c:pt idx="0">
                  <c:v>51.79010000000000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E$2:$E$6</c:f>
              <c:numCache>
                <c:formatCode>General</c:formatCode>
                <c:ptCount val="5"/>
                <c:pt idx="0">
                  <c:v>70.011300000000006</c:v>
                </c:pt>
                <c:pt idx="1">
                  <c:v>23.345800000000001</c:v>
                </c:pt>
                <c:pt idx="2">
                  <c:v>50.410299999999999</c:v>
                </c:pt>
                <c:pt idx="3">
                  <c:v>9.3094000000000001</c:v>
                </c:pt>
                <c:pt idx="4">
                  <c:v>42.918999999999997</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4.81620000000001</c:v>
                </c:pt>
                <c:pt idx="2">
                  <c:v>93.167100000000005</c:v>
                </c:pt>
                <c:pt idx="3">
                  <c:v>85.03700000000000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5.308900000000001</c:v>
                </c:pt>
                <c:pt idx="2">
                  <c:v>27.98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7.246499999999997</c:v>
                </c:pt>
                <c:pt idx="1">
                  <c:v>23.155999999999999</c:v>
                </c:pt>
                <c:pt idx="2">
                  <c:v>48.3127</c:v>
                </c:pt>
                <c:pt idx="3">
                  <c:v>47.82930000000000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8.29599999999999</c:v>
                </c:pt>
                <c:pt idx="2">
                  <c:v>93.0792</c:v>
                </c:pt>
                <c:pt idx="3">
                  <c:v>90.45340000000000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7.474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9.399699999999996</c:v>
                </c:pt>
                <c:pt idx="1">
                  <c:v>23.013000000000002</c:v>
                </c:pt>
                <c:pt idx="2">
                  <c:v>48.775799999999997</c:v>
                </c:pt>
                <c:pt idx="3">
                  <c:v>50.017299999999999</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Deutz</c:v>
                  </c:pt>
                  <c:pt idx="2">
                    <c:v>Nicolas</c:v>
                  </c:pt>
                  <c:pt idx="3">
                    <c:v>All Others</c:v>
                  </c:pt>
                </c:lvl>
              </c:multiLvlStrCache>
            </c:multiLvlStrRef>
          </c:cat>
          <c:val>
            <c:numRef>
              <c:f>Sheet1!$C$2:$C$6</c:f>
              <c:numCache>
                <c:formatCode>General</c:formatCode>
                <c:ptCount val="5"/>
                <c:pt idx="0">
                  <c:v>170.61949999999999</c:v>
                </c:pt>
                <c:pt idx="1">
                  <c:v>93.89950000000000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Deutz</c:v>
                  </c:pt>
                  <c:pt idx="2">
                    <c:v>Nicolas</c:v>
                  </c:pt>
                  <c:pt idx="3">
                    <c:v>All Others</c:v>
                  </c:pt>
                </c:lvl>
              </c:multiLvlStrCache>
            </c:multiLvlStrRef>
          </c:cat>
          <c:val>
            <c:numRef>
              <c:f>Sheet1!$D$2:$D$6</c:f>
              <c:numCache>
                <c:formatCode>General</c:formatCode>
                <c:ptCount val="5"/>
                <c:pt idx="0">
                  <c:v>46.447200000000002</c:v>
                </c:pt>
                <c:pt idx="1">
                  <c:v>27.78409999999999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Deutz</c:v>
                  </c:pt>
                  <c:pt idx="2">
                    <c:v>Nicolas</c:v>
                  </c:pt>
                  <c:pt idx="3">
                    <c:v>All Others</c:v>
                  </c:pt>
                </c:lvl>
              </c:multiLvlStrCache>
            </c:multiLvlStrRef>
          </c:cat>
          <c:val>
            <c:numRef>
              <c:f>Sheet1!$E$2:$E$6</c:f>
              <c:numCache>
                <c:formatCode>General</c:formatCode>
                <c:ptCount val="5"/>
                <c:pt idx="0">
                  <c:v>67.388499999999993</c:v>
                </c:pt>
                <c:pt idx="1">
                  <c:v>49.009300000000003</c:v>
                </c:pt>
                <c:pt idx="2">
                  <c:v>23.7743</c:v>
                </c:pt>
                <c:pt idx="3">
                  <c:v>9.6617999999999995</c:v>
                </c:pt>
                <c:pt idx="4">
                  <c:v>39.421300000000002</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1A5-4B8A-A9C5-2976EDF5D695}"/>
                </c:ext>
              </c:extLst>
            </c:dLbl>
            <c:dLbl>
              <c:idx val="1"/>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1A5-4B8A-A9C5-2976EDF5D695}"/>
                </c:ext>
              </c:extLst>
            </c:dLbl>
            <c:dLbl>
              <c:idx val="2"/>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1A5-4B8A-A9C5-2976EDF5D695}"/>
                </c:ext>
              </c:extLst>
            </c:dLbl>
            <c:dLbl>
              <c:idx val="3"/>
              <c:tx>
                <c:rich>
                  <a:bodyPr/>
                  <a:lstStyle/>
                  <a:p>
                    <a:r>
                      <a:t>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1A5-4B8A-A9C5-2976EDF5D695}"/>
                </c:ext>
              </c:extLst>
            </c:dLbl>
            <c:dLbl>
              <c:idx val="4"/>
              <c:tx>
                <c:rich>
                  <a:bodyPr/>
                  <a:lstStyle/>
                  <a:p>
                    <a:r>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1A5-4B8A-A9C5-2976EDF5D695}"/>
                </c:ext>
              </c:extLst>
            </c:dLbl>
            <c:dLbl>
              <c:idx val="5"/>
              <c:tx>
                <c:rich>
                  <a:bodyPr/>
                  <a:lstStyle/>
                  <a:p>
                    <a:r>
                      <a:t>76.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1A5-4B8A-A9C5-2976EDF5D695}"/>
                </c:ext>
              </c:extLst>
            </c:dLbl>
            <c:dLbl>
              <c:idx val="6"/>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1A5-4B8A-A9C5-2976EDF5D695}"/>
                </c:ext>
              </c:extLst>
            </c:dLbl>
            <c:dLbl>
              <c:idx val="7"/>
              <c:tx>
                <c:rich>
                  <a:bodyPr/>
                  <a:lstStyle/>
                  <a:p>
                    <a:r>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1A5-4B8A-A9C5-2976EDF5D695}"/>
                </c:ext>
              </c:extLst>
            </c:dLbl>
            <c:dLbl>
              <c:idx val="8"/>
              <c:tx>
                <c:rich>
                  <a:bodyPr/>
                  <a:lstStyle/>
                  <a:p>
                    <a:r>
                      <a:t>86.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1A5-4B8A-A9C5-2976EDF5D695}"/>
                </c:ext>
              </c:extLst>
            </c:dLbl>
            <c:dLbl>
              <c:idx val="9"/>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1A5-4B8A-A9C5-2976EDF5D695}"/>
                </c:ext>
              </c:extLst>
            </c:dLbl>
            <c:dLbl>
              <c:idx val="10"/>
              <c:tx>
                <c:rich>
                  <a:bodyPr/>
                  <a:lstStyle/>
                  <a:p>
                    <a:r>
                      <a:t>41.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1A5-4B8A-A9C5-2976EDF5D695}"/>
                </c:ext>
              </c:extLst>
            </c:dLbl>
            <c:dLbl>
              <c:idx val="11"/>
              <c:tx>
                <c:rich>
                  <a:bodyPr/>
                  <a:lstStyle/>
                  <a:p>
                    <a:r>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1A5-4B8A-A9C5-2976EDF5D695}"/>
                </c:ext>
              </c:extLst>
            </c:dLbl>
            <c:dLbl>
              <c:idx val="12"/>
              <c:tx>
                <c:rich>
                  <a:bodyPr/>
                  <a:lstStyle/>
                  <a:p>
                    <a:r>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1A5-4B8A-A9C5-2976EDF5D695}"/>
                </c:ext>
              </c:extLst>
            </c:dLbl>
            <c:dLbl>
              <c:idx val="13"/>
              <c:tx>
                <c:rich>
                  <a:bodyPr/>
                  <a:lstStyle/>
                  <a:p>
                    <a:r>
                      <a:t>37.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1A5-4B8A-A9C5-2976EDF5D695}"/>
                </c:ext>
              </c:extLst>
            </c:dLbl>
            <c:dLbl>
              <c:idx val="14"/>
              <c:tx>
                <c:rich>
                  <a:bodyPr/>
                  <a:lstStyle/>
                  <a:p>
                    <a:r>
                      <a:t>3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1A5-4B8A-A9C5-2976EDF5D69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9</c:v>
                </c:pt>
                <c:pt idx="1">
                  <c:v>36.99</c:v>
                </c:pt>
                <c:pt idx="2">
                  <c:v>22.28</c:v>
                </c:pt>
                <c:pt idx="3">
                  <c:v>45.37</c:v>
                </c:pt>
                <c:pt idx="4">
                  <c:v>46.38</c:v>
                </c:pt>
                <c:pt idx="5">
                  <c:v>76.13</c:v>
                </c:pt>
                <c:pt idx="6">
                  <c:v>39</c:v>
                </c:pt>
                <c:pt idx="7">
                  <c:v>23.97</c:v>
                </c:pt>
                <c:pt idx="8">
                  <c:v>86.54</c:v>
                </c:pt>
                <c:pt idx="9">
                  <c:v>25.01</c:v>
                </c:pt>
                <c:pt idx="10">
                  <c:v>41.24</c:v>
                </c:pt>
                <c:pt idx="11">
                  <c:v>23.99</c:v>
                </c:pt>
                <c:pt idx="12">
                  <c:v>37.020000000000003</c:v>
                </c:pt>
                <c:pt idx="13">
                  <c:v>37.04</c:v>
                </c:pt>
                <c:pt idx="14">
                  <c:v>37.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C$2:$C$6</c:f>
              <c:numCache>
                <c:formatCode>General</c:formatCode>
                <c:ptCount val="5"/>
                <c:pt idx="0">
                  <c:v>163.35290000000001</c:v>
                </c:pt>
                <c:pt idx="2">
                  <c:v>95.33650000000000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D$2:$D$6</c:f>
              <c:numCache>
                <c:formatCode>General</c:formatCode>
                <c:ptCount val="5"/>
                <c:pt idx="0">
                  <c:v>46.483400000000003</c:v>
                </c:pt>
                <c:pt idx="2">
                  <c:v>28.02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E$2:$E$6</c:f>
              <c:numCache>
                <c:formatCode>General</c:formatCode>
                <c:ptCount val="5"/>
                <c:pt idx="0">
                  <c:v>66.296499999999995</c:v>
                </c:pt>
                <c:pt idx="1">
                  <c:v>22.5974</c:v>
                </c:pt>
                <c:pt idx="2">
                  <c:v>48.576999999999998</c:v>
                </c:pt>
                <c:pt idx="3">
                  <c:v>9.4552999999999994</c:v>
                </c:pt>
                <c:pt idx="4">
                  <c:v>39.902000000000001</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Mousseux</c:v>
                  </c:pt>
                  <c:pt idx="2">
                    <c:v>Champagnes</c:v>
                  </c:pt>
                  <c:pt idx="3">
                    <c:v>Champagnes</c:v>
                  </c:pt>
                  <c:pt idx="4">
                    <c:v>Champagnes</c:v>
                  </c:pt>
                </c:lvl>
                <c:lvl>
                  <c:pt idx="0">
                    <c:v>All Others</c:v>
                  </c:pt>
                  <c:pt idx="2">
                    <c:v>Ruinart</c:v>
                  </c:pt>
                  <c:pt idx="3">
                    <c:v>Nicolas</c:v>
                  </c:pt>
                  <c:pt idx="4">
                    <c:v>Deutz</c:v>
                  </c:pt>
                </c:lvl>
              </c:multiLvlStrCache>
            </c:multiLvlStrRef>
          </c:cat>
          <c:val>
            <c:numRef>
              <c:f>Sheet1!$C$2:$C$6</c:f>
              <c:numCache>
                <c:formatCode>General</c:formatCode>
                <c:ptCount val="5"/>
                <c:pt idx="0">
                  <c:v>63.256999999999998</c:v>
                </c:pt>
                <c:pt idx="2">
                  <c:v>169.39879999999999</c:v>
                </c:pt>
                <c:pt idx="4">
                  <c:v>92.33669999999999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Mousseux</c:v>
                  </c:pt>
                  <c:pt idx="2">
                    <c:v>Champagnes</c:v>
                  </c:pt>
                  <c:pt idx="3">
                    <c:v>Champagnes</c:v>
                  </c:pt>
                  <c:pt idx="4">
                    <c:v>Champagnes</c:v>
                  </c:pt>
                </c:lvl>
                <c:lvl>
                  <c:pt idx="0">
                    <c:v>All Others</c:v>
                  </c:pt>
                  <c:pt idx="2">
                    <c:v>Ruinart</c:v>
                  </c:pt>
                  <c:pt idx="3">
                    <c:v>Nicolas</c:v>
                  </c:pt>
                  <c:pt idx="4">
                    <c:v>Deutz</c:v>
                  </c:pt>
                </c:lvl>
              </c:multiLvlStrCache>
            </c:multiLvlStrRef>
          </c:cat>
          <c:val>
            <c:numRef>
              <c:f>Sheet1!$D$2:$D$6</c:f>
              <c:numCache>
                <c:formatCode>General</c:formatCode>
                <c:ptCount val="5"/>
                <c:pt idx="2">
                  <c:v>44.91219999999999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Mousseux</c:v>
                  </c:pt>
                  <c:pt idx="2">
                    <c:v>Champagnes</c:v>
                  </c:pt>
                  <c:pt idx="3">
                    <c:v>Champagnes</c:v>
                  </c:pt>
                  <c:pt idx="4">
                    <c:v>Champagnes</c:v>
                  </c:pt>
                </c:lvl>
                <c:lvl>
                  <c:pt idx="0">
                    <c:v>All Others</c:v>
                  </c:pt>
                  <c:pt idx="2">
                    <c:v>Ruinart</c:v>
                  </c:pt>
                  <c:pt idx="3">
                    <c:v>Nicolas</c:v>
                  </c:pt>
                  <c:pt idx="4">
                    <c:v>Deutz</c:v>
                  </c:pt>
                </c:lvl>
              </c:multiLvlStrCache>
            </c:multiLvlStrRef>
          </c:cat>
          <c:val>
            <c:numRef>
              <c:f>Sheet1!$E$2:$E$6</c:f>
              <c:numCache>
                <c:formatCode>General</c:formatCode>
                <c:ptCount val="5"/>
                <c:pt idx="0">
                  <c:v>31.061399999999999</c:v>
                </c:pt>
                <c:pt idx="1">
                  <c:v>9.8419000000000008</c:v>
                </c:pt>
                <c:pt idx="2">
                  <c:v>67.096299999999999</c:v>
                </c:pt>
                <c:pt idx="3">
                  <c:v>22.834499999999998</c:v>
                </c:pt>
                <c:pt idx="4">
                  <c:v>51.938000000000002</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6.4468</c:v>
                </c:pt>
                <c:pt idx="2">
                  <c:v>93.388999999999996</c:v>
                </c:pt>
                <c:pt idx="3">
                  <c:v>86.17470000000000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7.365499999999997</c:v>
                </c:pt>
                <c:pt idx="2">
                  <c:v>28.68840000000000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9.286299999999997</c:v>
                </c:pt>
                <c:pt idx="1">
                  <c:v>23.108599999999999</c:v>
                </c:pt>
                <c:pt idx="2">
                  <c:v>49.114800000000002</c:v>
                </c:pt>
                <c:pt idx="3">
                  <c:v>49.67110000000000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C$2:$C$5</c:f>
              <c:numCache>
                <c:formatCode>General</c:formatCode>
                <c:ptCount val="4"/>
                <c:pt idx="0">
                  <c:v>164.5009</c:v>
                </c:pt>
                <c:pt idx="2">
                  <c:v>93.368300000000005</c:v>
                </c:pt>
                <c:pt idx="3">
                  <c:v>86.59069999999999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D$2:$D$5</c:f>
              <c:numCache>
                <c:formatCode>General</c:formatCode>
                <c:ptCount val="4"/>
                <c:pt idx="0">
                  <c:v>44.538200000000003</c:v>
                </c:pt>
                <c:pt idx="2">
                  <c:v>27.89539999999999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cat>
            <c:multiLvlStrRef>
              <c:f>Sheet1!$A$2:$B$5</c:f>
              <c:multiLvlStrCache>
                <c:ptCount val="4"/>
                <c:lvl>
                  <c:pt idx="0">
                    <c:v>Champagnes</c:v>
                  </c:pt>
                  <c:pt idx="1">
                    <c:v>Champagnes</c:v>
                  </c:pt>
                  <c:pt idx="2">
                    <c:v>Champagnes</c:v>
                  </c:pt>
                  <c:pt idx="3">
                    <c:v>Champagnes</c:v>
                  </c:pt>
                </c:lvl>
                <c:lvl>
                  <c:pt idx="0">
                    <c:v>Ruinart</c:v>
                  </c:pt>
                  <c:pt idx="1">
                    <c:v>Nicolas</c:v>
                  </c:pt>
                  <c:pt idx="2">
                    <c:v>Deutz</c:v>
                  </c:pt>
                  <c:pt idx="3">
                    <c:v>Laurent Perrier</c:v>
                  </c:pt>
                </c:lvl>
              </c:multiLvlStrCache>
            </c:multiLvlStrRef>
          </c:cat>
          <c:val>
            <c:numRef>
              <c:f>Sheet1!$E$2:$E$5</c:f>
              <c:numCache>
                <c:formatCode>General</c:formatCode>
                <c:ptCount val="4"/>
                <c:pt idx="0">
                  <c:v>65.921800000000005</c:v>
                </c:pt>
                <c:pt idx="1">
                  <c:v>22.9619</c:v>
                </c:pt>
                <c:pt idx="2">
                  <c:v>47.822699999999998</c:v>
                </c:pt>
                <c:pt idx="3">
                  <c:v>47.154899999999998</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3.6448</c:v>
                </c:pt>
                <c:pt idx="2">
                  <c:v>92.81440000000000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4.634399999999999</c:v>
                </c:pt>
                <c:pt idx="2">
                  <c:v>27.86100000000000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6.934399999999997</c:v>
                </c:pt>
                <c:pt idx="1">
                  <c:v>23.1067</c:v>
                </c:pt>
                <c:pt idx="2">
                  <c:v>48.989899999999999</c:v>
                </c:pt>
                <c:pt idx="3">
                  <c:v>37.1145</c:v>
                </c:pt>
                <c:pt idx="4">
                  <c:v>9.125999999999999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C$2:$C$6</c:f>
              <c:numCache>
                <c:formatCode>General</c:formatCode>
                <c:ptCount val="5"/>
                <c:pt idx="0">
                  <c:v>167.5599</c:v>
                </c:pt>
                <c:pt idx="2">
                  <c:v>93.20449999999999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D$2:$D$6</c:f>
              <c:numCache>
                <c:formatCode>General</c:formatCode>
                <c:ptCount val="5"/>
                <c:pt idx="0">
                  <c:v>44.193199999999997</c:v>
                </c:pt>
                <c:pt idx="2">
                  <c:v>27.49909999999999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Champagnes</c:v>
                  </c:pt>
                  <c:pt idx="4">
                    <c:v>Mousseux</c:v>
                  </c:pt>
                </c:lvl>
                <c:lvl>
                  <c:pt idx="0">
                    <c:v>Ruinart</c:v>
                  </c:pt>
                  <c:pt idx="1">
                    <c:v>Nicolas</c:v>
                  </c:pt>
                  <c:pt idx="2">
                    <c:v>Deutz</c:v>
                  </c:pt>
                  <c:pt idx="3">
                    <c:v>All Others</c:v>
                  </c:pt>
                </c:lvl>
              </c:multiLvlStrCache>
            </c:multiLvlStrRef>
          </c:cat>
          <c:val>
            <c:numRef>
              <c:f>Sheet1!$E$2:$E$6</c:f>
              <c:numCache>
                <c:formatCode>General</c:formatCode>
                <c:ptCount val="5"/>
                <c:pt idx="0">
                  <c:v>67.132599999999996</c:v>
                </c:pt>
                <c:pt idx="1">
                  <c:v>23.255199999999999</c:v>
                </c:pt>
                <c:pt idx="2">
                  <c:v>47.8461</c:v>
                </c:pt>
                <c:pt idx="3">
                  <c:v>38.399299999999997</c:v>
                </c:pt>
                <c:pt idx="4">
                  <c:v>9.6282999999999994</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C$2:$C$6</c:f>
              <c:numCache>
                <c:formatCode>General</c:formatCode>
                <c:ptCount val="5"/>
                <c:pt idx="0">
                  <c:v>166.41739999999999</c:v>
                </c:pt>
                <c:pt idx="2">
                  <c:v>93.25119999999999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D$2:$D$6</c:f>
              <c:numCache>
                <c:formatCode>General</c:formatCode>
                <c:ptCount val="5"/>
                <c:pt idx="0">
                  <c:v>43.85739999999999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Champagnes</c:v>
                  </c:pt>
                  <c:pt idx="1">
                    <c:v>Champagnes</c:v>
                  </c:pt>
                  <c:pt idx="2">
                    <c:v>Champagnes</c:v>
                  </c:pt>
                  <c:pt idx="3">
                    <c:v>Mousseux</c:v>
                  </c:pt>
                  <c:pt idx="4">
                    <c:v>Champagnes</c:v>
                  </c:pt>
                </c:lvl>
                <c:lvl>
                  <c:pt idx="0">
                    <c:v>Ruinart</c:v>
                  </c:pt>
                  <c:pt idx="1">
                    <c:v>Nicolas</c:v>
                  </c:pt>
                  <c:pt idx="2">
                    <c:v>Deutz</c:v>
                  </c:pt>
                  <c:pt idx="3">
                    <c:v>All Others</c:v>
                  </c:pt>
                </c:lvl>
              </c:multiLvlStrCache>
            </c:multiLvlStrRef>
          </c:cat>
          <c:val>
            <c:numRef>
              <c:f>Sheet1!$E$2:$E$6</c:f>
              <c:numCache>
                <c:formatCode>General</c:formatCode>
                <c:ptCount val="5"/>
                <c:pt idx="0">
                  <c:v>66.268500000000003</c:v>
                </c:pt>
                <c:pt idx="1">
                  <c:v>23.2455</c:v>
                </c:pt>
                <c:pt idx="2">
                  <c:v>48.192</c:v>
                </c:pt>
                <c:pt idx="3">
                  <c:v>9.6161999999999992</c:v>
                </c:pt>
                <c:pt idx="4">
                  <c:v>39.284700000000001</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3159</c:v>
                </c:pt>
                <c:pt idx="1">
                  <c:v>225.9118</c:v>
                </c:pt>
                <c:pt idx="6">
                  <c:v>93.355999999999995</c:v>
                </c:pt>
                <c:pt idx="8">
                  <c:v>85.86249999999999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5.453899999999997</c:v>
                </c:pt>
                <c:pt idx="1">
                  <c:v>95.963899999999995</c:v>
                </c:pt>
                <c:pt idx="2">
                  <c:v>90.602900000000005</c:v>
                </c:pt>
                <c:pt idx="3">
                  <c:v>21.833300000000001</c:v>
                </c:pt>
                <c:pt idx="4">
                  <c:v>40.259700000000002</c:v>
                </c:pt>
                <c:pt idx="5">
                  <c:v>27.360800000000001</c:v>
                </c:pt>
                <c:pt idx="6">
                  <c:v>46.061900000000001</c:v>
                </c:pt>
                <c:pt idx="7">
                  <c:v>58.559399999999997</c:v>
                </c:pt>
                <c:pt idx="8">
                  <c:v>43.406399999999998</c:v>
                </c:pt>
                <c:pt idx="9">
                  <c:v>81.161600000000007</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75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Bruts</c:v>
                  </c:pt>
                  <c:pt idx="1">
                    <c:v>Rosés</c:v>
                  </c:pt>
                  <c:pt idx="2">
                    <c:v>Bruts</c:v>
                  </c:pt>
                  <c:pt idx="3">
                    <c:v>Bruts</c:v>
                  </c:pt>
                  <c:pt idx="4">
                    <c:v>Bruts</c:v>
                  </c:pt>
                  <c:pt idx="5">
                    <c:v>Blanc De Blancs</c:v>
                  </c:pt>
                </c:lvl>
                <c:lvl>
                  <c:pt idx="0">
                    <c:v>Nicolas Feuillatte</c:v>
                  </c:pt>
                  <c:pt idx="2">
                    <c:v>All Others</c:v>
                  </c:pt>
                  <c:pt idx="3">
                    <c:v>Mumm</c:v>
                  </c:pt>
                  <c:pt idx="4">
                    <c:v>Canard Duchêne</c:v>
                  </c:pt>
                </c:lvl>
              </c:multiLvlStrCache>
            </c:multiLvlStrRef>
          </c:cat>
          <c:val>
            <c:numRef>
              <c:f>Sheet1!$C$2:$C$7</c:f>
              <c:numCache>
                <c:formatCode>General</c:formatCode>
                <c:ptCount val="6"/>
                <c:pt idx="0">
                  <c:v>29.758500000000002</c:v>
                </c:pt>
                <c:pt idx="1">
                  <c:v>29.829699999999999</c:v>
                </c:pt>
                <c:pt idx="3">
                  <c:v>34.96500000000000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Bruts</c:v>
                  </c:pt>
                  <c:pt idx="1">
                    <c:v>Rosés</c:v>
                  </c:pt>
                  <c:pt idx="2">
                    <c:v>Bruts</c:v>
                  </c:pt>
                  <c:pt idx="3">
                    <c:v>Bruts</c:v>
                  </c:pt>
                  <c:pt idx="4">
                    <c:v>Bruts</c:v>
                  </c:pt>
                  <c:pt idx="5">
                    <c:v>Blanc De Blancs</c:v>
                  </c:pt>
                </c:lvl>
                <c:lvl>
                  <c:pt idx="0">
                    <c:v>Nicolas Feuillatte</c:v>
                  </c:pt>
                  <c:pt idx="2">
                    <c:v>All Others</c:v>
                  </c:pt>
                  <c:pt idx="3">
                    <c:v>Mumm</c:v>
                  </c:pt>
                  <c:pt idx="4">
                    <c:v>Canard Duchêne</c:v>
                  </c:pt>
                </c:lvl>
              </c:multiLvlStrCache>
            </c:multiLvlStrRef>
          </c:cat>
          <c:val>
            <c:numRef>
              <c:f>Sheet1!$D$2:$D$7</c:f>
              <c:numCache>
                <c:formatCode>General</c:formatCode>
                <c:ptCount val="6"/>
                <c:pt idx="0">
                  <c:v>24.472200000000001</c:v>
                </c:pt>
                <c:pt idx="1">
                  <c:v>25.644400000000001</c:v>
                </c:pt>
                <c:pt idx="2">
                  <c:v>20.91</c:v>
                </c:pt>
                <c:pt idx="3">
                  <c:v>30.1785</c:v>
                </c:pt>
                <c:pt idx="4">
                  <c:v>25.3188</c:v>
                </c:pt>
                <c:pt idx="5">
                  <c:v>30.712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7.51609999999999</c:v>
                </c:pt>
                <c:pt idx="1">
                  <c:v>223.77080000000001</c:v>
                </c:pt>
                <c:pt idx="6">
                  <c:v>93.1123000000000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6">
                  <c:v>26.32110000000000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E$2:$E$11</c:f>
              <c:numCache>
                <c:formatCode>General</c:formatCode>
                <c:ptCount val="10"/>
                <c:pt idx="0">
                  <c:v>55.040599999999998</c:v>
                </c:pt>
                <c:pt idx="1">
                  <c:v>96.4542</c:v>
                </c:pt>
                <c:pt idx="2">
                  <c:v>89.878900000000002</c:v>
                </c:pt>
                <c:pt idx="3">
                  <c:v>21.895900000000001</c:v>
                </c:pt>
                <c:pt idx="4">
                  <c:v>39.774000000000001</c:v>
                </c:pt>
                <c:pt idx="5">
                  <c:v>27.323399999999999</c:v>
                </c:pt>
                <c:pt idx="6">
                  <c:v>46.077199999999998</c:v>
                </c:pt>
                <c:pt idx="7">
                  <c:v>57.713900000000002</c:v>
                </c:pt>
                <c:pt idx="8">
                  <c:v>29.6553</c:v>
                </c:pt>
                <c:pt idx="9">
                  <c:v>35.276000000000003</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8BE-4244-9EB4-FCAEE994B32A}"/>
                </c:ext>
              </c:extLst>
            </c:dLbl>
            <c:dLbl>
              <c:idx val="1"/>
              <c:tx>
                <c:rich>
                  <a:bodyPr/>
                  <a:lstStyle/>
                  <a:p>
                    <a:r>
                      <a:rPr lang="en-US"/>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8BE-4244-9EB4-FCAEE994B32A}"/>
                </c:ext>
              </c:extLst>
            </c:dLbl>
            <c:dLbl>
              <c:idx val="2"/>
              <c:tx>
                <c:rich>
                  <a:bodyPr/>
                  <a:lstStyle/>
                  <a:p>
                    <a:r>
                      <a:rPr lang="en-US"/>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8BE-4244-9EB4-FCAEE994B32A}"/>
                </c:ext>
              </c:extLst>
            </c:dLbl>
            <c:dLbl>
              <c:idx val="3"/>
              <c:tx>
                <c:rich>
                  <a:bodyPr/>
                  <a:lstStyle/>
                  <a:p>
                    <a:r>
                      <a:rPr lang="en-US"/>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8BE-4244-9EB4-FCAEE994B32A}"/>
                </c:ext>
              </c:extLst>
            </c:dLbl>
            <c:dLbl>
              <c:idx val="4"/>
              <c:tx>
                <c:rich>
                  <a:bodyPr/>
                  <a:lstStyle/>
                  <a:p>
                    <a:r>
                      <a:rPr lang="en-US"/>
                      <a:t>4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8BE-4244-9EB4-FCAEE994B32A}"/>
                </c:ext>
              </c:extLst>
            </c:dLbl>
            <c:dLbl>
              <c:idx val="5"/>
              <c:tx>
                <c:rich>
                  <a:bodyPr/>
                  <a:lstStyle/>
                  <a:p>
                    <a:r>
                      <a:rPr lang="en-US"/>
                      <a:t>4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8BE-4244-9EB4-FCAEE994B32A}"/>
                </c:ext>
              </c:extLst>
            </c:dLbl>
            <c:dLbl>
              <c:idx val="6"/>
              <c:tx>
                <c:rich>
                  <a:bodyPr/>
                  <a:lstStyle/>
                  <a:p>
                    <a:r>
                      <a:rPr lang="en-US"/>
                      <a:t>3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8BE-4244-9EB4-FCAEE994B32A}"/>
                </c:ext>
              </c:extLst>
            </c:dLbl>
            <c:dLbl>
              <c:idx val="7"/>
              <c:tx>
                <c:rich>
                  <a:bodyPr/>
                  <a:lstStyle/>
                  <a:p>
                    <a:r>
                      <a:rPr lang="en-US"/>
                      <a:t>2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8BE-4244-9EB4-FCAEE994B32A}"/>
                </c:ext>
              </c:extLst>
            </c:dLbl>
            <c:dLbl>
              <c:idx val="8"/>
              <c:tx>
                <c:rich>
                  <a:bodyPr/>
                  <a:lstStyle/>
                  <a:p>
                    <a:r>
                      <a:rPr lang="en-US"/>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8BE-4244-9EB4-FCAEE994B32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CHAMPAGNE NICOLAS ROSE 1ERE CU 1CT X 750ML</c:v>
                </c:pt>
                <c:pt idx="6">
                  <c:v>CHAMPAGNE NICOLAS BLC DE NOIRS 1CT X 750ML</c:v>
                </c:pt>
                <c:pt idx="7">
                  <c:v>1/2 CHAMPAGNE NICOLAS 1ERE CUV 1CT X 375ML</c:v>
                </c:pt>
                <c:pt idx="8">
                  <c:v>1/2 CHAMP NICOLAS BLC/BLC BS 1CT X 375ML</c:v>
                </c:pt>
              </c:strCache>
            </c:strRef>
          </c:cat>
          <c:val>
            <c:numRef>
              <c:f>Sheet1!$B$2:$B$10</c:f>
              <c:numCache>
                <c:formatCode>General</c:formatCode>
                <c:ptCount val="9"/>
                <c:pt idx="0">
                  <c:v>21.93</c:v>
                </c:pt>
                <c:pt idx="1">
                  <c:v>39.08</c:v>
                </c:pt>
                <c:pt idx="2">
                  <c:v>25.02</c:v>
                </c:pt>
                <c:pt idx="3">
                  <c:v>36.89</c:v>
                </c:pt>
                <c:pt idx="4">
                  <c:v>46.93</c:v>
                </c:pt>
                <c:pt idx="5">
                  <c:v>45.18</c:v>
                </c:pt>
                <c:pt idx="6">
                  <c:v>37.299999999999997</c:v>
                </c:pt>
                <c:pt idx="7">
                  <c:v>23.37</c:v>
                </c:pt>
                <c:pt idx="8">
                  <c:v>24.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FEE-4DAD-9F37-DB6F869B0246}"/>
                </c:ext>
              </c:extLst>
            </c:dLbl>
            <c:dLbl>
              <c:idx val="1"/>
              <c:tx>
                <c:rich>
                  <a:bodyPr/>
                  <a:lstStyle/>
                  <a:p>
                    <a:r>
                      <a:t>37.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FEE-4DAD-9F37-DB6F869B0246}"/>
                </c:ext>
              </c:extLst>
            </c:dLbl>
            <c:dLbl>
              <c:idx val="2"/>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FEE-4DAD-9F37-DB6F869B0246}"/>
                </c:ext>
              </c:extLst>
            </c:dLbl>
            <c:dLbl>
              <c:idx val="3"/>
              <c:tx>
                <c:rich>
                  <a:bodyPr/>
                  <a:lstStyle/>
                  <a:p>
                    <a:r>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FEE-4DAD-9F37-DB6F869B0246}"/>
                </c:ext>
              </c:extLst>
            </c:dLbl>
            <c:dLbl>
              <c:idx val="4"/>
              <c:tx>
                <c:rich>
                  <a:bodyPr/>
                  <a:lstStyle/>
                  <a:p>
                    <a:r>
                      <a:t>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FEE-4DAD-9F37-DB6F869B0246}"/>
                </c:ext>
              </c:extLst>
            </c:dLbl>
            <c:dLbl>
              <c:idx val="5"/>
              <c:tx>
                <c:rich>
                  <a:bodyPr/>
                  <a:lstStyle/>
                  <a:p>
                    <a:r>
                      <a:t>7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FEE-4DAD-9F37-DB6F869B0246}"/>
                </c:ext>
              </c:extLst>
            </c:dLbl>
            <c:dLbl>
              <c:idx val="6"/>
              <c:tx>
                <c:rich>
                  <a:bodyPr/>
                  <a:lstStyle/>
                  <a:p>
                    <a:r>
                      <a:t>39.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FEE-4DAD-9F37-DB6F869B0246}"/>
                </c:ext>
              </c:extLst>
            </c:dLbl>
            <c:dLbl>
              <c:idx val="7"/>
              <c:tx>
                <c:rich>
                  <a:bodyPr/>
                  <a:lstStyle/>
                  <a:p>
                    <a:r>
                      <a:t>2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FEE-4DAD-9F37-DB6F869B0246}"/>
                </c:ext>
              </c:extLst>
            </c:dLbl>
            <c:dLbl>
              <c:idx val="8"/>
              <c:tx>
                <c:rich>
                  <a:bodyPr/>
                  <a:lstStyle/>
                  <a:p>
                    <a:r>
                      <a:t>8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FEE-4DAD-9F37-DB6F869B0246}"/>
                </c:ext>
              </c:extLst>
            </c:dLbl>
            <c:dLbl>
              <c:idx val="9"/>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FEE-4DAD-9F37-DB6F869B0246}"/>
                </c:ext>
              </c:extLst>
            </c:dLbl>
            <c:dLbl>
              <c:idx val="10"/>
              <c:tx>
                <c:rich>
                  <a:bodyPr/>
                  <a:lstStyle/>
                  <a:p>
                    <a:r>
                      <a:t>4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FEE-4DAD-9F37-DB6F869B0246}"/>
                </c:ext>
              </c:extLst>
            </c:dLbl>
            <c:dLbl>
              <c:idx val="11"/>
              <c:tx>
                <c:rich>
                  <a:bodyPr/>
                  <a:lstStyle/>
                  <a:p>
                    <a:r>
                      <a:t>24.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FEE-4DAD-9F37-DB6F869B0246}"/>
                </c:ext>
              </c:extLst>
            </c:dLbl>
            <c:dLbl>
              <c:idx val="12"/>
              <c:tx>
                <c:rich>
                  <a:bodyPr/>
                  <a:lstStyle/>
                  <a:p>
                    <a:r>
                      <a:t>3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FEE-4DAD-9F37-DB6F869B0246}"/>
                </c:ext>
              </c:extLst>
            </c:dLbl>
            <c:dLbl>
              <c:idx val="13"/>
              <c:tx>
                <c:rich>
                  <a:bodyPr/>
                  <a:lstStyle/>
                  <a:p>
                    <a:r>
                      <a:t>3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FEE-4DAD-9F37-DB6F869B0246}"/>
                </c:ext>
              </c:extLst>
            </c:dLbl>
            <c:dLbl>
              <c:idx val="14"/>
              <c:tx>
                <c:rich>
                  <a:bodyPr/>
                  <a:lstStyle/>
                  <a:p>
                    <a:r>
                      <a:t>38.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FEE-4DAD-9F37-DB6F869B024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7</c:v>
                </c:pt>
                <c:pt idx="1">
                  <c:v>37.229999999999997</c:v>
                </c:pt>
                <c:pt idx="2">
                  <c:v>44.67</c:v>
                </c:pt>
                <c:pt idx="3">
                  <c:v>22.49</c:v>
                </c:pt>
                <c:pt idx="4">
                  <c:v>47.8</c:v>
                </c:pt>
                <c:pt idx="5">
                  <c:v>76.92</c:v>
                </c:pt>
                <c:pt idx="6">
                  <c:v>39.07</c:v>
                </c:pt>
                <c:pt idx="7">
                  <c:v>24.19</c:v>
                </c:pt>
                <c:pt idx="8">
                  <c:v>86.05</c:v>
                </c:pt>
                <c:pt idx="9">
                  <c:v>24.99</c:v>
                </c:pt>
                <c:pt idx="10">
                  <c:v>41.02</c:v>
                </c:pt>
                <c:pt idx="11">
                  <c:v>24.72</c:v>
                </c:pt>
                <c:pt idx="12">
                  <c:v>38.659999999999997</c:v>
                </c:pt>
                <c:pt idx="13">
                  <c:v>37.770000000000003</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C$2:$C$12</c:f>
              <c:numCache>
                <c:formatCode>General</c:formatCode>
                <c:ptCount val="11"/>
                <c:pt idx="0">
                  <c:v>136.2167</c:v>
                </c:pt>
                <c:pt idx="1">
                  <c:v>224.011</c:v>
                </c:pt>
                <c:pt idx="7">
                  <c:v>92.31470000000000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D$2:$D$12</c:f>
              <c:numCache>
                <c:formatCode>General</c:formatCode>
                <c:ptCount val="11"/>
                <c:pt idx="0">
                  <c:v>55.280900000000003</c:v>
                </c:pt>
                <c:pt idx="1">
                  <c:v>96.078299999999999</c:v>
                </c:pt>
                <c:pt idx="2">
                  <c:v>89.406800000000004</c:v>
                </c:pt>
                <c:pt idx="3">
                  <c:v>91.686599999999999</c:v>
                </c:pt>
                <c:pt idx="4">
                  <c:v>21.7423</c:v>
                </c:pt>
                <c:pt idx="5">
                  <c:v>39.9193</c:v>
                </c:pt>
                <c:pt idx="6">
                  <c:v>26.956199999999999</c:v>
                </c:pt>
                <c:pt idx="7">
                  <c:v>45.923000000000002</c:v>
                </c:pt>
                <c:pt idx="8">
                  <c:v>58.324599999999997</c:v>
                </c:pt>
                <c:pt idx="9">
                  <c:v>29.4084</c:v>
                </c:pt>
                <c:pt idx="10">
                  <c:v>35.05590000000000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Bruts</c:v>
                  </c:pt>
                  <c:pt idx="1">
                    <c:v>Blanc De Blancs</c:v>
                  </c:pt>
                  <c:pt idx="2">
                    <c:v>Rosés</c:v>
                  </c:pt>
                  <c:pt idx="3">
                    <c:v>Bruts</c:v>
                  </c:pt>
                  <c:pt idx="4">
                    <c:v>Bruts</c:v>
                  </c:pt>
                  <c:pt idx="5">
                    <c:v>Rosés</c:v>
                  </c:pt>
                  <c:pt idx="6">
                    <c:v>Bruts</c:v>
                  </c:pt>
                  <c:pt idx="7">
                    <c:v>Rosés</c:v>
                  </c:pt>
                </c:lvl>
                <c:lvl>
                  <c:pt idx="0">
                    <c:v>Ruinart</c:v>
                  </c:pt>
                  <c:pt idx="3">
                    <c:v>Nicolas</c:v>
                  </c:pt>
                  <c:pt idx="4">
                    <c:v>Deutz</c:v>
                  </c:pt>
                  <c:pt idx="6">
                    <c:v>Laurent Perrier</c:v>
                  </c:pt>
                </c:lvl>
              </c:multiLvlStrCache>
            </c:multiLvlStrRef>
          </c:cat>
          <c:val>
            <c:numRef>
              <c:f>Sheet1!$C$2:$C$9</c:f>
              <c:numCache>
                <c:formatCode>General</c:formatCode>
                <c:ptCount val="8"/>
                <c:pt idx="0">
                  <c:v>137.11070000000001</c:v>
                </c:pt>
                <c:pt idx="1">
                  <c:v>225.80799999999999</c:v>
                </c:pt>
                <c:pt idx="4">
                  <c:v>94.390699999999995</c:v>
                </c:pt>
                <c:pt idx="6">
                  <c:v>85.20619999999999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Bruts</c:v>
                  </c:pt>
                  <c:pt idx="1">
                    <c:v>Blanc De Blancs</c:v>
                  </c:pt>
                  <c:pt idx="2">
                    <c:v>Rosés</c:v>
                  </c:pt>
                  <c:pt idx="3">
                    <c:v>Bruts</c:v>
                  </c:pt>
                  <c:pt idx="4">
                    <c:v>Bruts</c:v>
                  </c:pt>
                  <c:pt idx="5">
                    <c:v>Rosés</c:v>
                  </c:pt>
                  <c:pt idx="6">
                    <c:v>Bruts</c:v>
                  </c:pt>
                  <c:pt idx="7">
                    <c:v>Rosés</c:v>
                  </c:pt>
                </c:lvl>
                <c:lvl>
                  <c:pt idx="0">
                    <c:v>Ruinart</c:v>
                  </c:pt>
                  <c:pt idx="3">
                    <c:v>Nicolas</c:v>
                  </c:pt>
                  <c:pt idx="4">
                    <c:v>Deutz</c:v>
                  </c:pt>
                  <c:pt idx="6">
                    <c:v>Laurent Perrier</c:v>
                  </c:pt>
                </c:lvl>
              </c:multiLvlStrCache>
            </c:multiLvlStrRef>
          </c:cat>
          <c:val>
            <c:numRef>
              <c:f>Sheet1!$D$2:$D$9</c:f>
              <c:numCache>
                <c:formatCode>General</c:formatCode>
                <c:ptCount val="8"/>
                <c:pt idx="0">
                  <c:v>56.039900000000003</c:v>
                </c:pt>
                <c:pt idx="1">
                  <c:v>95.9983</c:v>
                </c:pt>
                <c:pt idx="2">
                  <c:v>90.877099999999999</c:v>
                </c:pt>
                <c:pt idx="3">
                  <c:v>21.906700000000001</c:v>
                </c:pt>
                <c:pt idx="4">
                  <c:v>46.494900000000001</c:v>
                </c:pt>
                <c:pt idx="5">
                  <c:v>58.643799999999999</c:v>
                </c:pt>
                <c:pt idx="6">
                  <c:v>44.0274</c:v>
                </c:pt>
                <c:pt idx="7">
                  <c:v>81.850300000000004</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Blanc De Blancs</c:v>
                  </c:pt>
                  <c:pt idx="1">
                    <c:v>Bruts</c:v>
                  </c:pt>
                  <c:pt idx="2">
                    <c:v>Rosés</c:v>
                  </c:pt>
                  <c:pt idx="3">
                    <c:v>Bruts</c:v>
                  </c:pt>
                  <c:pt idx="4">
                    <c:v>Rosés</c:v>
                  </c:pt>
                  <c:pt idx="5">
                    <c:v>Bruts</c:v>
                  </c:pt>
                  <c:pt idx="6">
                    <c:v>Rosés</c:v>
                  </c:pt>
                  <c:pt idx="7">
                    <c:v>Bruts</c:v>
                  </c:pt>
                </c:lvl>
                <c:lvl>
                  <c:pt idx="0">
                    <c:v>Ruinart</c:v>
                  </c:pt>
                  <c:pt idx="3">
                    <c:v>Deutz</c:v>
                  </c:pt>
                  <c:pt idx="5">
                    <c:v>Laurent Perrier</c:v>
                  </c:pt>
                  <c:pt idx="7">
                    <c:v>Nicolas</c:v>
                  </c:pt>
                </c:lvl>
              </c:multiLvlStrCache>
            </c:multiLvlStrRef>
          </c:cat>
          <c:val>
            <c:numRef>
              <c:f>Sheet1!$C$2:$C$9</c:f>
              <c:numCache>
                <c:formatCode>General</c:formatCode>
                <c:ptCount val="8"/>
                <c:pt idx="0">
                  <c:v>225.9478</c:v>
                </c:pt>
                <c:pt idx="1">
                  <c:v>136.79650000000001</c:v>
                </c:pt>
                <c:pt idx="3">
                  <c:v>93.687899999999999</c:v>
                </c:pt>
                <c:pt idx="5">
                  <c:v>86.52970000000000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Blanc De Blancs</c:v>
                  </c:pt>
                  <c:pt idx="1">
                    <c:v>Bruts</c:v>
                  </c:pt>
                  <c:pt idx="2">
                    <c:v>Rosés</c:v>
                  </c:pt>
                  <c:pt idx="3">
                    <c:v>Bruts</c:v>
                  </c:pt>
                  <c:pt idx="4">
                    <c:v>Rosés</c:v>
                  </c:pt>
                  <c:pt idx="5">
                    <c:v>Bruts</c:v>
                  </c:pt>
                  <c:pt idx="6">
                    <c:v>Rosés</c:v>
                  </c:pt>
                  <c:pt idx="7">
                    <c:v>Bruts</c:v>
                  </c:pt>
                </c:lvl>
                <c:lvl>
                  <c:pt idx="0">
                    <c:v>Ruinart</c:v>
                  </c:pt>
                  <c:pt idx="3">
                    <c:v>Deutz</c:v>
                  </c:pt>
                  <c:pt idx="5">
                    <c:v>Laurent Perrier</c:v>
                  </c:pt>
                  <c:pt idx="7">
                    <c:v>Nicolas</c:v>
                  </c:pt>
                </c:lvl>
              </c:multiLvlStrCache>
            </c:multiLvlStrRef>
          </c:cat>
          <c:val>
            <c:numRef>
              <c:f>Sheet1!$D$2:$D$9</c:f>
              <c:numCache>
                <c:formatCode>General</c:formatCode>
                <c:ptCount val="8"/>
                <c:pt idx="0">
                  <c:v>56.70349999999999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Blanc De Blancs</c:v>
                  </c:pt>
                  <c:pt idx="1">
                    <c:v>Bruts</c:v>
                  </c:pt>
                  <c:pt idx="2">
                    <c:v>Rosés</c:v>
                  </c:pt>
                  <c:pt idx="3">
                    <c:v>Bruts</c:v>
                  </c:pt>
                  <c:pt idx="4">
                    <c:v>Rosés</c:v>
                  </c:pt>
                  <c:pt idx="5">
                    <c:v>Bruts</c:v>
                  </c:pt>
                  <c:pt idx="6">
                    <c:v>Rosés</c:v>
                  </c:pt>
                  <c:pt idx="7">
                    <c:v>Bruts</c:v>
                  </c:pt>
                </c:lvl>
                <c:lvl>
                  <c:pt idx="0">
                    <c:v>Ruinart</c:v>
                  </c:pt>
                  <c:pt idx="3">
                    <c:v>Deutz</c:v>
                  </c:pt>
                  <c:pt idx="5">
                    <c:v>Laurent Perrier</c:v>
                  </c:pt>
                  <c:pt idx="7">
                    <c:v>Nicolas</c:v>
                  </c:pt>
                </c:lvl>
              </c:multiLvlStrCache>
            </c:multiLvlStrRef>
          </c:cat>
          <c:val>
            <c:numRef>
              <c:f>Sheet1!$E$2:$E$9</c:f>
              <c:numCache>
                <c:formatCode>General</c:formatCode>
                <c:ptCount val="8"/>
                <c:pt idx="0">
                  <c:v>94.750100000000003</c:v>
                </c:pt>
                <c:pt idx="1">
                  <c:v>56.209800000000001</c:v>
                </c:pt>
                <c:pt idx="2">
                  <c:v>92.406400000000005</c:v>
                </c:pt>
                <c:pt idx="3">
                  <c:v>46.073999999999998</c:v>
                </c:pt>
                <c:pt idx="4">
                  <c:v>58.753500000000003</c:v>
                </c:pt>
                <c:pt idx="5">
                  <c:v>43.989100000000001</c:v>
                </c:pt>
                <c:pt idx="6">
                  <c:v>80.095799999999997</c:v>
                </c:pt>
                <c:pt idx="7">
                  <c:v>21.819600000000001</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C$2:$C$12</c:f>
              <c:numCache>
                <c:formatCode>General</c:formatCode>
                <c:ptCount val="11"/>
                <c:pt idx="0">
                  <c:v>136.7216</c:v>
                </c:pt>
                <c:pt idx="1">
                  <c:v>226.65710000000001</c:v>
                </c:pt>
                <c:pt idx="7">
                  <c:v>94.28539999999999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D$2:$D$12</c:f>
              <c:numCache>
                <c:formatCode>General</c:formatCode>
                <c:ptCount val="11"/>
                <c:pt idx="1">
                  <c:v>56.5760999999999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2</c:f>
              <c:multiLvlStrCache>
                <c:ptCount val="11"/>
                <c:lvl>
                  <c:pt idx="0">
                    <c:v>Bruts</c:v>
                  </c:pt>
                  <c:pt idx="1">
                    <c:v>Blanc De Blancs</c:v>
                  </c:pt>
                  <c:pt idx="2">
                    <c:v>Rosés</c:v>
                  </c:pt>
                  <c:pt idx="3">
                    <c:v>Millesimes</c:v>
                  </c:pt>
                  <c:pt idx="4">
                    <c:v>Bruts</c:v>
                  </c:pt>
                  <c:pt idx="5">
                    <c:v>Blanc De Blancs</c:v>
                  </c:pt>
                  <c:pt idx="6">
                    <c:v>Rosés</c:v>
                  </c:pt>
                  <c:pt idx="7">
                    <c:v>Bruts</c:v>
                  </c:pt>
                  <c:pt idx="8">
                    <c:v>Rosés</c:v>
                  </c:pt>
                  <c:pt idx="9">
                    <c:v>Crus</c:v>
                  </c:pt>
                  <c:pt idx="10">
                    <c:v>Blanc De Blancs</c:v>
                  </c:pt>
                </c:lvl>
                <c:lvl>
                  <c:pt idx="0">
                    <c:v>Ruinart</c:v>
                  </c:pt>
                  <c:pt idx="4">
                    <c:v>Nicolas</c:v>
                  </c:pt>
                  <c:pt idx="7">
                    <c:v>Deutz</c:v>
                  </c:pt>
                  <c:pt idx="9">
                    <c:v>Malard</c:v>
                  </c:pt>
                </c:lvl>
              </c:multiLvlStrCache>
            </c:multiLvlStrRef>
          </c:cat>
          <c:val>
            <c:numRef>
              <c:f>Sheet1!$E$2:$E$12</c:f>
              <c:numCache>
                <c:formatCode>General</c:formatCode>
                <c:ptCount val="11"/>
                <c:pt idx="0">
                  <c:v>56.445900000000002</c:v>
                </c:pt>
                <c:pt idx="1">
                  <c:v>95.842799999999997</c:v>
                </c:pt>
                <c:pt idx="2">
                  <c:v>91.860600000000005</c:v>
                </c:pt>
                <c:pt idx="3">
                  <c:v>97.39</c:v>
                </c:pt>
                <c:pt idx="4">
                  <c:v>21.763999999999999</c:v>
                </c:pt>
                <c:pt idx="5">
                  <c:v>41.911799999999999</c:v>
                </c:pt>
                <c:pt idx="6">
                  <c:v>27.685199999999998</c:v>
                </c:pt>
                <c:pt idx="7">
                  <c:v>45.9602</c:v>
                </c:pt>
                <c:pt idx="8">
                  <c:v>61.313600000000001</c:v>
                </c:pt>
                <c:pt idx="9">
                  <c:v>29.4651</c:v>
                </c:pt>
                <c:pt idx="10">
                  <c:v>35.363399999999999</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07900000000001</c:v>
                </c:pt>
                <c:pt idx="1">
                  <c:v>222.18629999999999</c:v>
                </c:pt>
                <c:pt idx="6">
                  <c:v>93.053200000000004</c:v>
                </c:pt>
                <c:pt idx="8">
                  <c:v>84.97480000000000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5.3598</c:v>
                </c:pt>
                <c:pt idx="1">
                  <c:v>95.803299999999993</c:v>
                </c:pt>
                <c:pt idx="2">
                  <c:v>89.988299999999995</c:v>
                </c:pt>
                <c:pt idx="3">
                  <c:v>21.857199999999999</c:v>
                </c:pt>
                <c:pt idx="4">
                  <c:v>39.604700000000001</c:v>
                </c:pt>
                <c:pt idx="5">
                  <c:v>27.314399999999999</c:v>
                </c:pt>
                <c:pt idx="6">
                  <c:v>46.072099999999999</c:v>
                </c:pt>
                <c:pt idx="7">
                  <c:v>57.975000000000001</c:v>
                </c:pt>
                <c:pt idx="8">
                  <c:v>43.437100000000001</c:v>
                </c:pt>
                <c:pt idx="9">
                  <c:v>80.37680000000000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6.23320000000001</c:v>
                </c:pt>
                <c:pt idx="1">
                  <c:v>224.31049999999999</c:v>
                </c:pt>
                <c:pt idx="6">
                  <c:v>93.0792</c:v>
                </c:pt>
                <c:pt idx="8">
                  <c:v>90.45340000000000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6.290100000000002</c:v>
                </c:pt>
                <c:pt idx="1">
                  <c:v>95.906700000000001</c:v>
                </c:pt>
                <c:pt idx="2">
                  <c:v>91.0749</c:v>
                </c:pt>
                <c:pt idx="3">
                  <c:v>21.689399999999999</c:v>
                </c:pt>
                <c:pt idx="4">
                  <c:v>40.92</c:v>
                </c:pt>
                <c:pt idx="5">
                  <c:v>27.5838</c:v>
                </c:pt>
                <c:pt idx="6">
                  <c:v>45.885100000000001</c:v>
                </c:pt>
                <c:pt idx="7">
                  <c:v>58.747700000000002</c:v>
                </c:pt>
                <c:pt idx="8">
                  <c:v>43.240200000000002</c:v>
                </c:pt>
                <c:pt idx="9">
                  <c:v>81.262900000000002</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Rosés</c:v>
                  </c:pt>
                  <c:pt idx="5">
                    <c:v>Bruts</c:v>
                  </c:pt>
                  <c:pt idx="6">
                    <c:v>Blanc De Blancs</c:v>
                  </c:pt>
                  <c:pt idx="7">
                    <c:v>Rosés</c:v>
                  </c:pt>
                  <c:pt idx="8">
                    <c:v>Crus</c:v>
                  </c:pt>
                  <c:pt idx="9">
                    <c:v>Blanc De Blancs</c:v>
                  </c:pt>
                </c:lvl>
                <c:lvl>
                  <c:pt idx="0">
                    <c:v>Ruinart</c:v>
                  </c:pt>
                  <c:pt idx="3">
                    <c:v>Deutz</c:v>
                  </c:pt>
                  <c:pt idx="5">
                    <c:v>Nicolas</c:v>
                  </c:pt>
                  <c:pt idx="8">
                    <c:v>Malard</c:v>
                  </c:pt>
                </c:lvl>
              </c:multiLvlStrCache>
            </c:multiLvlStrRef>
          </c:cat>
          <c:val>
            <c:numRef>
              <c:f>Sheet1!$C$2:$C$11</c:f>
              <c:numCache>
                <c:formatCode>General</c:formatCode>
                <c:ptCount val="10"/>
                <c:pt idx="0">
                  <c:v>137.31370000000001</c:v>
                </c:pt>
                <c:pt idx="1">
                  <c:v>230.006</c:v>
                </c:pt>
                <c:pt idx="3">
                  <c:v>93.89950000000000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Rosés</c:v>
                  </c:pt>
                  <c:pt idx="5">
                    <c:v>Bruts</c:v>
                  </c:pt>
                  <c:pt idx="6">
                    <c:v>Blanc De Blancs</c:v>
                  </c:pt>
                  <c:pt idx="7">
                    <c:v>Rosés</c:v>
                  </c:pt>
                  <c:pt idx="8">
                    <c:v>Crus</c:v>
                  </c:pt>
                  <c:pt idx="9">
                    <c:v>Blanc De Blancs</c:v>
                  </c:pt>
                </c:lvl>
                <c:lvl>
                  <c:pt idx="0">
                    <c:v>Ruinart</c:v>
                  </c:pt>
                  <c:pt idx="3">
                    <c:v>Deutz</c:v>
                  </c:pt>
                  <c:pt idx="5">
                    <c:v>Nicolas</c:v>
                  </c:pt>
                  <c:pt idx="8">
                    <c:v>Malard</c:v>
                  </c:pt>
                </c:lvl>
              </c:multiLvlStrCache>
            </c:multiLvlStrRef>
          </c:cat>
          <c:val>
            <c:numRef>
              <c:f>Sheet1!$D$2:$D$11</c:f>
              <c:numCache>
                <c:formatCode>General</c:formatCode>
                <c:ptCount val="10"/>
                <c:pt idx="0">
                  <c:v>55.463200000000001</c:v>
                </c:pt>
                <c:pt idx="1">
                  <c:v>96.617000000000004</c:v>
                </c:pt>
                <c:pt idx="2">
                  <c:v>91.364800000000002</c:v>
                </c:pt>
                <c:pt idx="3">
                  <c:v>46.055</c:v>
                </c:pt>
                <c:pt idx="4">
                  <c:v>61.192</c:v>
                </c:pt>
                <c:pt idx="5">
                  <c:v>22.198799999999999</c:v>
                </c:pt>
                <c:pt idx="6">
                  <c:v>42.445700000000002</c:v>
                </c:pt>
                <c:pt idx="7">
                  <c:v>27.630500000000001</c:v>
                </c:pt>
                <c:pt idx="8">
                  <c:v>29.557700000000001</c:v>
                </c:pt>
                <c:pt idx="9">
                  <c:v>35.47590000000000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Rosés</c:v>
                  </c:pt>
                  <c:pt idx="5">
                    <c:v>Blanc De Blanc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8.2424</c:v>
                </c:pt>
                <c:pt idx="1">
                  <c:v>245.41669999999999</c:v>
                </c:pt>
                <c:pt idx="6">
                  <c:v>95.33650000000000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Rosés</c:v>
                  </c:pt>
                  <c:pt idx="5">
                    <c:v>Blanc De Blanc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4.910400000000003</c:v>
                </c:pt>
                <c:pt idx="1">
                  <c:v>96.386799999999994</c:v>
                </c:pt>
                <c:pt idx="2">
                  <c:v>90.862799999999993</c:v>
                </c:pt>
                <c:pt idx="3">
                  <c:v>21.657</c:v>
                </c:pt>
                <c:pt idx="4">
                  <c:v>27.102699999999999</c:v>
                </c:pt>
                <c:pt idx="5">
                  <c:v>41.639499999999998</c:v>
                </c:pt>
                <c:pt idx="6">
                  <c:v>46.161900000000003</c:v>
                </c:pt>
                <c:pt idx="7">
                  <c:v>57.645699999999998</c:v>
                </c:pt>
                <c:pt idx="8">
                  <c:v>29.436900000000001</c:v>
                </c:pt>
                <c:pt idx="9">
                  <c:v>35.562199999999997</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Bruts</c:v>
                  </c:pt>
                  <c:pt idx="6">
                    <c:v>Rosés</c:v>
                  </c:pt>
                  <c:pt idx="7">
                    <c:v>Blanc De Blancs</c:v>
                  </c:pt>
                  <c:pt idx="8">
                    <c:v>Bruts</c:v>
                  </c:pt>
                  <c:pt idx="9">
                    <c:v>Rosés</c:v>
                  </c:pt>
                </c:lvl>
                <c:lvl>
                  <c:pt idx="0">
                    <c:v>Ruinart</c:v>
                  </c:pt>
                  <c:pt idx="3">
                    <c:v>All Others</c:v>
                  </c:pt>
                  <c:pt idx="5">
                    <c:v>Nicolas</c:v>
                  </c:pt>
                  <c:pt idx="8">
                    <c:v>Deutz</c:v>
                  </c:pt>
                </c:lvl>
              </c:multiLvlStrCache>
            </c:multiLvlStrRef>
          </c:cat>
          <c:val>
            <c:numRef>
              <c:f>Sheet1!$C$2:$C$11</c:f>
              <c:numCache>
                <c:formatCode>General</c:formatCode>
                <c:ptCount val="10"/>
                <c:pt idx="0">
                  <c:v>140.58269999999999</c:v>
                </c:pt>
                <c:pt idx="1">
                  <c:v>247.4118</c:v>
                </c:pt>
                <c:pt idx="4">
                  <c:v>66.688699999999997</c:v>
                </c:pt>
                <c:pt idx="8">
                  <c:v>92.33669999999999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Bruts</c:v>
                  </c:pt>
                  <c:pt idx="6">
                    <c:v>Rosés</c:v>
                  </c:pt>
                  <c:pt idx="7">
                    <c:v>Blanc De Blancs</c:v>
                  </c:pt>
                  <c:pt idx="8">
                    <c:v>Bruts</c:v>
                  </c:pt>
                  <c:pt idx="9">
                    <c:v>Rosés</c:v>
                  </c:pt>
                </c:lvl>
                <c:lvl>
                  <c:pt idx="0">
                    <c:v>Ruinart</c:v>
                  </c:pt>
                  <c:pt idx="3">
                    <c:v>All Others</c:v>
                  </c:pt>
                  <c:pt idx="5">
                    <c:v>Nicolas</c:v>
                  </c:pt>
                  <c:pt idx="8">
                    <c:v>Deutz</c:v>
                  </c:pt>
                </c:lvl>
              </c:multiLvlStrCache>
            </c:multiLvlStrRef>
          </c:cat>
          <c:val>
            <c:numRef>
              <c:f>Sheet1!$D$2:$D$11</c:f>
              <c:numCache>
                <c:formatCode>General</c:formatCode>
                <c:ptCount val="10"/>
                <c:pt idx="0">
                  <c:v>56.426400000000001</c:v>
                </c:pt>
                <c:pt idx="1">
                  <c:v>97.942099999999996</c:v>
                </c:pt>
                <c:pt idx="2">
                  <c:v>93.316999999999993</c:v>
                </c:pt>
                <c:pt idx="3">
                  <c:v>30.351299999999998</c:v>
                </c:pt>
                <c:pt idx="4">
                  <c:v>31.4816</c:v>
                </c:pt>
                <c:pt idx="5">
                  <c:v>21.3323</c:v>
                </c:pt>
                <c:pt idx="6">
                  <c:v>25.777100000000001</c:v>
                </c:pt>
                <c:pt idx="7">
                  <c:v>42.855899999999998</c:v>
                </c:pt>
                <c:pt idx="8">
                  <c:v>45.750399999999999</c:v>
                </c:pt>
                <c:pt idx="9">
                  <c:v>65.28459999999999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428</c:v>
                </c:pt>
                <c:pt idx="1">
                  <c:v>223.054</c:v>
                </c:pt>
                <c:pt idx="6">
                  <c:v>93.130700000000004</c:v>
                </c:pt>
                <c:pt idx="8">
                  <c:v>86.17470000000000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1">
                  <c:v>56.23250000000000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E$2:$E$11</c:f>
              <c:numCache>
                <c:formatCode>General</c:formatCode>
                <c:ptCount val="10"/>
                <c:pt idx="0">
                  <c:v>55.740099999999998</c:v>
                </c:pt>
                <c:pt idx="1">
                  <c:v>96.482600000000005</c:v>
                </c:pt>
                <c:pt idx="2">
                  <c:v>90.922799999999995</c:v>
                </c:pt>
                <c:pt idx="3">
                  <c:v>21.7849</c:v>
                </c:pt>
                <c:pt idx="4">
                  <c:v>39.905999999999999</c:v>
                </c:pt>
                <c:pt idx="5">
                  <c:v>27.011399999999998</c:v>
                </c:pt>
                <c:pt idx="6">
                  <c:v>46.033700000000003</c:v>
                </c:pt>
                <c:pt idx="7">
                  <c:v>59.1327</c:v>
                </c:pt>
                <c:pt idx="8">
                  <c:v>43.882800000000003</c:v>
                </c:pt>
                <c:pt idx="9">
                  <c:v>80.259200000000007</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2E1-40F2-B58C-8EC13DE130DD}"/>
                </c:ext>
              </c:extLst>
            </c:dLbl>
            <c:dLbl>
              <c:idx val="1"/>
              <c:tx>
                <c:rich>
                  <a:bodyPr/>
                  <a:lstStyle/>
                  <a:p>
                    <a:r>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2E1-40F2-B58C-8EC13DE130DD}"/>
                </c:ext>
              </c:extLst>
            </c:dLbl>
            <c:dLbl>
              <c:idx val="2"/>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2E1-40F2-B58C-8EC13DE130DD}"/>
                </c:ext>
              </c:extLst>
            </c:dLbl>
            <c:dLbl>
              <c:idx val="3"/>
              <c:tx>
                <c:rich>
                  <a:bodyPr/>
                  <a:lstStyle/>
                  <a:p>
                    <a:r>
                      <a:t>2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2E1-40F2-B58C-8EC13DE130DD}"/>
                </c:ext>
              </c:extLst>
            </c:dLbl>
            <c:dLbl>
              <c:idx val="4"/>
              <c:tx>
                <c:rich>
                  <a:bodyPr/>
                  <a:lstStyle/>
                  <a:p>
                    <a:r>
                      <a:t>4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2E1-40F2-B58C-8EC13DE130DD}"/>
                </c:ext>
              </c:extLst>
            </c:dLbl>
            <c:dLbl>
              <c:idx val="5"/>
              <c:tx>
                <c:rich>
                  <a:bodyPr/>
                  <a:lstStyle/>
                  <a:p>
                    <a:r>
                      <a:t>81.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2E1-40F2-B58C-8EC13DE130DD}"/>
                </c:ext>
              </c:extLst>
            </c:dLbl>
            <c:dLbl>
              <c:idx val="6"/>
              <c:tx>
                <c:rich>
                  <a:bodyPr/>
                  <a:lstStyle/>
                  <a:p>
                    <a:r>
                      <a:t>2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2E1-40F2-B58C-8EC13DE130DD}"/>
                </c:ext>
              </c:extLst>
            </c:dLbl>
            <c:dLbl>
              <c:idx val="7"/>
              <c:tx>
                <c:rich>
                  <a:bodyPr/>
                  <a:lstStyle/>
                  <a:p>
                    <a:r>
                      <a:t>40.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2E1-40F2-B58C-8EC13DE130DD}"/>
                </c:ext>
              </c:extLst>
            </c:dLbl>
            <c:dLbl>
              <c:idx val="8"/>
              <c:tx>
                <c:rich>
                  <a:bodyPr/>
                  <a:lstStyle/>
                  <a:p>
                    <a:r>
                      <a:t>2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2E1-40F2-B58C-8EC13DE130DD}"/>
                </c:ext>
              </c:extLst>
            </c:dLbl>
            <c:dLbl>
              <c:idx val="9"/>
              <c:tx>
                <c:rich>
                  <a:bodyPr/>
                  <a:lstStyle/>
                  <a:p>
                    <a:r>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2E1-40F2-B58C-8EC13DE130DD}"/>
                </c:ext>
              </c:extLst>
            </c:dLbl>
            <c:dLbl>
              <c:idx val="10"/>
              <c:tx>
                <c:rich>
                  <a:bodyPr/>
                  <a:lstStyle/>
                  <a:p>
                    <a:r>
                      <a:t>8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2E1-40F2-B58C-8EC13DE130DD}"/>
                </c:ext>
              </c:extLst>
            </c:dLbl>
            <c:dLbl>
              <c:idx val="11"/>
              <c:tx>
                <c:rich>
                  <a:bodyPr/>
                  <a:lstStyle/>
                  <a:p>
                    <a:r>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2E1-40F2-B58C-8EC13DE130DD}"/>
                </c:ext>
              </c:extLst>
            </c:dLbl>
            <c:dLbl>
              <c:idx val="12"/>
              <c:tx>
                <c:rich>
                  <a:bodyPr/>
                  <a:lstStyle/>
                  <a:p>
                    <a:r>
                      <a:t>37.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2E1-40F2-B58C-8EC13DE130DD}"/>
                </c:ext>
              </c:extLst>
            </c:dLbl>
            <c:dLbl>
              <c:idx val="13"/>
              <c:tx>
                <c:rich>
                  <a:bodyPr/>
                  <a:lstStyle/>
                  <a:p>
                    <a:r>
                      <a:t>3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2E1-40F2-B58C-8EC13DE130DD}"/>
                </c:ext>
              </c:extLst>
            </c:dLbl>
            <c:dLbl>
              <c:idx val="14"/>
              <c:tx>
                <c:rich>
                  <a:bodyPr/>
                  <a:lstStyle/>
                  <a:p>
                    <a:r>
                      <a:t>37.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2E1-40F2-B58C-8EC13DE130D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2</c:v>
                </c:pt>
                <c:pt idx="1">
                  <c:v>37.020000000000003</c:v>
                </c:pt>
                <c:pt idx="2">
                  <c:v>44.67</c:v>
                </c:pt>
                <c:pt idx="3">
                  <c:v>22.57</c:v>
                </c:pt>
                <c:pt idx="4">
                  <c:v>44.76</c:v>
                </c:pt>
                <c:pt idx="5">
                  <c:v>81.819999999999993</c:v>
                </c:pt>
                <c:pt idx="6">
                  <c:v>25.07</c:v>
                </c:pt>
                <c:pt idx="7">
                  <c:v>40.36</c:v>
                </c:pt>
                <c:pt idx="8">
                  <c:v>24.36</c:v>
                </c:pt>
                <c:pt idx="9">
                  <c:v>39.049999999999997</c:v>
                </c:pt>
                <c:pt idx="10">
                  <c:v>82.76</c:v>
                </c:pt>
                <c:pt idx="11">
                  <c:v>23.9</c:v>
                </c:pt>
                <c:pt idx="12">
                  <c:v>37.880000000000003</c:v>
                </c:pt>
                <c:pt idx="13">
                  <c:v>37.39</c:v>
                </c:pt>
                <c:pt idx="14">
                  <c:v>37.3800000000000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C$2:$C$11</c:f>
              <c:numCache>
                <c:formatCode>General</c:formatCode>
                <c:ptCount val="10"/>
                <c:pt idx="0">
                  <c:v>137.11879999999999</c:v>
                </c:pt>
                <c:pt idx="1">
                  <c:v>225.6627</c:v>
                </c:pt>
                <c:pt idx="6">
                  <c:v>93.368300000000005</c:v>
                </c:pt>
                <c:pt idx="8">
                  <c:v>86.59069999999999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Bruts</c:v>
                  </c:pt>
                  <c:pt idx="9">
                    <c:v>Rosés</c:v>
                  </c:pt>
                </c:lvl>
                <c:lvl>
                  <c:pt idx="0">
                    <c:v>Ruinart</c:v>
                  </c:pt>
                  <c:pt idx="3">
                    <c:v>Nicolas</c:v>
                  </c:pt>
                  <c:pt idx="6">
                    <c:v>Deutz</c:v>
                  </c:pt>
                  <c:pt idx="8">
                    <c:v>Laurent Perrier</c:v>
                  </c:pt>
                </c:lvl>
              </c:multiLvlStrCache>
            </c:multiLvlStrRef>
          </c:cat>
          <c:val>
            <c:numRef>
              <c:f>Sheet1!$D$2:$D$11</c:f>
              <c:numCache>
                <c:formatCode>General</c:formatCode>
                <c:ptCount val="10"/>
                <c:pt idx="0">
                  <c:v>55.513100000000001</c:v>
                </c:pt>
                <c:pt idx="1">
                  <c:v>95.576800000000006</c:v>
                </c:pt>
                <c:pt idx="2">
                  <c:v>90.281599999999997</c:v>
                </c:pt>
                <c:pt idx="3">
                  <c:v>21.731000000000002</c:v>
                </c:pt>
                <c:pt idx="4">
                  <c:v>39.916200000000003</c:v>
                </c:pt>
                <c:pt idx="5">
                  <c:v>27.4849</c:v>
                </c:pt>
                <c:pt idx="6">
                  <c:v>45.660200000000003</c:v>
                </c:pt>
                <c:pt idx="7">
                  <c:v>58.844099999999997</c:v>
                </c:pt>
                <c:pt idx="8">
                  <c:v>42.587699999999998</c:v>
                </c:pt>
                <c:pt idx="9">
                  <c:v>80.91689999999999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6.3963</c:v>
                </c:pt>
                <c:pt idx="1">
                  <c:v>224.23910000000001</c:v>
                </c:pt>
                <c:pt idx="6">
                  <c:v>92.81440000000000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5.451900000000002</c:v>
                </c:pt>
                <c:pt idx="1">
                  <c:v>95.631600000000006</c:v>
                </c:pt>
                <c:pt idx="2">
                  <c:v>89.853999999999999</c:v>
                </c:pt>
                <c:pt idx="3">
                  <c:v>21.8247</c:v>
                </c:pt>
                <c:pt idx="4">
                  <c:v>40.290599999999998</c:v>
                </c:pt>
                <c:pt idx="5">
                  <c:v>27.7197</c:v>
                </c:pt>
                <c:pt idx="6">
                  <c:v>46.287599999999998</c:v>
                </c:pt>
                <c:pt idx="7">
                  <c:v>57.711500000000001</c:v>
                </c:pt>
                <c:pt idx="8">
                  <c:v>29.588699999999999</c:v>
                </c:pt>
                <c:pt idx="9">
                  <c:v>35.11630000000000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6.61070000000001</c:v>
                </c:pt>
                <c:pt idx="1">
                  <c:v>225.09739999999999</c:v>
                </c:pt>
                <c:pt idx="6">
                  <c:v>93.20449999999999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5.228000000000002</c:v>
                </c:pt>
                <c:pt idx="1">
                  <c:v>95.644999999999996</c:v>
                </c:pt>
                <c:pt idx="2">
                  <c:v>89.912599999999998</c:v>
                </c:pt>
                <c:pt idx="3">
                  <c:v>21.958600000000001</c:v>
                </c:pt>
                <c:pt idx="4">
                  <c:v>40.270299999999999</c:v>
                </c:pt>
                <c:pt idx="5">
                  <c:v>27.509599999999999</c:v>
                </c:pt>
                <c:pt idx="6">
                  <c:v>46.071199999999997</c:v>
                </c:pt>
                <c:pt idx="7">
                  <c:v>57.778199999999998</c:v>
                </c:pt>
                <c:pt idx="8">
                  <c:v>29.644600000000001</c:v>
                </c:pt>
                <c:pt idx="9">
                  <c:v>35.23089999999999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C$2:$C$11</c:f>
              <c:numCache>
                <c:formatCode>General</c:formatCode>
                <c:ptCount val="10"/>
                <c:pt idx="0">
                  <c:v>137.06360000000001</c:v>
                </c:pt>
                <c:pt idx="1">
                  <c:v>225.96520000000001</c:v>
                </c:pt>
                <c:pt idx="6">
                  <c:v>93.25119999999999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1</c:f>
              <c:multiLvlStrCache>
                <c:ptCount val="10"/>
                <c:lvl>
                  <c:pt idx="0">
                    <c:v>Bruts</c:v>
                  </c:pt>
                  <c:pt idx="1">
                    <c:v>Blanc De Blancs</c:v>
                  </c:pt>
                  <c:pt idx="2">
                    <c:v>Rosés</c:v>
                  </c:pt>
                  <c:pt idx="3">
                    <c:v>Bruts</c:v>
                  </c:pt>
                  <c:pt idx="4">
                    <c:v>Blanc De Blancs</c:v>
                  </c:pt>
                  <c:pt idx="5">
                    <c:v>Rosés</c:v>
                  </c:pt>
                  <c:pt idx="6">
                    <c:v>Bruts</c:v>
                  </c:pt>
                  <c:pt idx="7">
                    <c:v>Rosés</c:v>
                  </c:pt>
                  <c:pt idx="8">
                    <c:v>Crus</c:v>
                  </c:pt>
                  <c:pt idx="9">
                    <c:v>Blanc De Blancs</c:v>
                  </c:pt>
                </c:lvl>
                <c:lvl>
                  <c:pt idx="0">
                    <c:v>Ruinart</c:v>
                  </c:pt>
                  <c:pt idx="3">
                    <c:v>Nicolas</c:v>
                  </c:pt>
                  <c:pt idx="6">
                    <c:v>Deutz</c:v>
                  </c:pt>
                  <c:pt idx="8">
                    <c:v>Malard</c:v>
                  </c:pt>
                </c:lvl>
              </c:multiLvlStrCache>
            </c:multiLvlStrRef>
          </c:cat>
          <c:val>
            <c:numRef>
              <c:f>Sheet1!$D$2:$D$11</c:f>
              <c:numCache>
                <c:formatCode>General</c:formatCode>
                <c:ptCount val="10"/>
                <c:pt idx="0">
                  <c:v>55.0565</c:v>
                </c:pt>
                <c:pt idx="1">
                  <c:v>95.365799999999993</c:v>
                </c:pt>
                <c:pt idx="2">
                  <c:v>90.025400000000005</c:v>
                </c:pt>
                <c:pt idx="3">
                  <c:v>21.851199999999999</c:v>
                </c:pt>
                <c:pt idx="4">
                  <c:v>40.243200000000002</c:v>
                </c:pt>
                <c:pt idx="5">
                  <c:v>26.79</c:v>
                </c:pt>
                <c:pt idx="6">
                  <c:v>46.1113</c:v>
                </c:pt>
                <c:pt idx="7">
                  <c:v>58.256</c:v>
                </c:pt>
                <c:pt idx="8">
                  <c:v>29.6189</c:v>
                </c:pt>
                <c:pt idx="9">
                  <c:v>35.324399999999997</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3982000000000001</c:v>
                </c:pt>
                <c:pt idx="1">
                  <c:v>11.4513</c:v>
                </c:pt>
                <c:pt idx="2">
                  <c:v>11.451499999999999</c:v>
                </c:pt>
                <c:pt idx="3">
                  <c:v>12.7646</c:v>
                </c:pt>
                <c:pt idx="4">
                  <c:v>17.57890000000000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2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Mousseux Alsace</c:v>
                  </c:pt>
                  <c:pt idx="1">
                    <c:v>Mousseux Val De Loire</c:v>
                  </c:pt>
                  <c:pt idx="2">
                    <c:v>Mousseux Italiens</c:v>
                  </c:pt>
                  <c:pt idx="3">
                    <c:v>Mousseux Bourgogne</c:v>
                  </c:pt>
                  <c:pt idx="4">
                    <c:v>Mousseux Alsace</c:v>
                  </c:pt>
                  <c:pt idx="5">
                    <c:v>Mousseux Italiens</c:v>
                  </c:pt>
                  <c:pt idx="6">
                    <c:v>Mousseux Val De Loire</c:v>
                  </c:pt>
                </c:lvl>
                <c:lvl>
                  <c:pt idx="0">
                    <c:v>Mdd</c:v>
                  </c:pt>
                  <c:pt idx="4">
                    <c:v>All Others</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Mousseux Alsace</c:v>
                  </c:pt>
                  <c:pt idx="1">
                    <c:v>Mousseux Val De Loire</c:v>
                  </c:pt>
                  <c:pt idx="2">
                    <c:v>Mousseux Italiens</c:v>
                  </c:pt>
                  <c:pt idx="3">
                    <c:v>Mousseux Bourgogne</c:v>
                  </c:pt>
                  <c:pt idx="4">
                    <c:v>Mousseux Alsace</c:v>
                  </c:pt>
                  <c:pt idx="5">
                    <c:v>Mousseux Italiens</c:v>
                  </c:pt>
                  <c:pt idx="6">
                    <c:v>Mousseux Val De Loire</c:v>
                  </c:pt>
                </c:lvl>
                <c:lvl>
                  <c:pt idx="0">
                    <c:v>Mdd</c:v>
                  </c:pt>
                  <c:pt idx="4">
                    <c:v>All Others</c:v>
                  </c:pt>
                </c:lvl>
              </c:multiLvlStrCache>
            </c:multiLvlStrRef>
          </c:cat>
          <c:val>
            <c:numRef>
              <c:f>Sheet1!$D$2:$D$8</c:f>
              <c:numCache>
                <c:formatCode>General</c:formatCode>
                <c:ptCount val="7"/>
                <c:pt idx="0">
                  <c:v>6.3113999999999999</c:v>
                </c:pt>
                <c:pt idx="1">
                  <c:v>5.3677000000000001</c:v>
                </c:pt>
                <c:pt idx="2">
                  <c:v>5.3509000000000002</c:v>
                </c:pt>
                <c:pt idx="3">
                  <c:v>7.0598000000000001</c:v>
                </c:pt>
                <c:pt idx="4">
                  <c:v>6.7328000000000001</c:v>
                </c:pt>
                <c:pt idx="5">
                  <c:v>6.5224000000000002</c:v>
                </c:pt>
                <c:pt idx="6">
                  <c:v>7.134199999999999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4409999999999998</c:v>
                </c:pt>
                <c:pt idx="1">
                  <c:v>11.463900000000001</c:v>
                </c:pt>
                <c:pt idx="2">
                  <c:v>11.4527</c:v>
                </c:pt>
                <c:pt idx="3">
                  <c:v>12.753</c:v>
                </c:pt>
                <c:pt idx="4">
                  <c:v>17.47970000000000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Bourgogne</c:v>
                  </c:pt>
                  <c:pt idx="3">
                    <c:v>Mousseux Italiens</c:v>
                  </c:pt>
                  <c:pt idx="4">
                    <c:v>Mousseux Alsace</c:v>
                  </c:pt>
                </c:lvl>
                <c:lvl>
                  <c:pt idx="0">
                    <c:v>All Others</c:v>
                  </c:pt>
                  <c:pt idx="2">
                    <c:v>Patriarche</c:v>
                  </c:pt>
                  <c:pt idx="3">
                    <c:v>Bottega</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Mousseux Italiens</c:v>
                  </c:pt>
                  <c:pt idx="1">
                    <c:v>Mousseux Val De Loire</c:v>
                  </c:pt>
                  <c:pt idx="2">
                    <c:v>Mousseux Bourgogne</c:v>
                  </c:pt>
                  <c:pt idx="3">
                    <c:v>Mousseux Italiens</c:v>
                  </c:pt>
                  <c:pt idx="4">
                    <c:v>Mousseux Alsace</c:v>
                  </c:pt>
                </c:lvl>
                <c:lvl>
                  <c:pt idx="0">
                    <c:v>All Others</c:v>
                  </c:pt>
                  <c:pt idx="2">
                    <c:v>Patriarche</c:v>
                  </c:pt>
                  <c:pt idx="3">
                    <c:v>Bottega</c:v>
                  </c:pt>
                  <c:pt idx="4">
                    <c:v>Mure</c:v>
                  </c:pt>
                </c:lvl>
              </c:multiLvlStrCache>
            </c:multiLvlStrRef>
          </c:cat>
          <c:val>
            <c:numRef>
              <c:f>Sheet1!$D$2:$D$6</c:f>
              <c:numCache>
                <c:formatCode>General</c:formatCode>
                <c:ptCount val="5"/>
                <c:pt idx="0">
                  <c:v>7.3243999999999998</c:v>
                </c:pt>
                <c:pt idx="1">
                  <c:v>11.197900000000001</c:v>
                </c:pt>
                <c:pt idx="2">
                  <c:v>12.745100000000001</c:v>
                </c:pt>
                <c:pt idx="3">
                  <c:v>11.3698</c:v>
                </c:pt>
                <c:pt idx="4">
                  <c:v>17.41880000000000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D$2:$D$5</c:f>
              <c:numCache>
                <c:formatCode>General</c:formatCode>
                <c:ptCount val="4"/>
                <c:pt idx="0">
                  <c:v>7.4080000000000004</c:v>
                </c:pt>
                <c:pt idx="1">
                  <c:v>11.425599999999999</c:v>
                </c:pt>
                <c:pt idx="2">
                  <c:v>13.021599999999999</c:v>
                </c:pt>
                <c:pt idx="3">
                  <c:v>17.97899999999999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Mousseux Italiens</c:v>
                  </c:pt>
                  <c:pt idx="1">
                    <c:v>Mousseux Italiens</c:v>
                  </c:pt>
                </c:lvl>
                <c:lvl>
                  <c:pt idx="0">
                    <c:v>All Others</c:v>
                  </c:pt>
                  <c:pt idx="1">
                    <c:v>Bottega</c:v>
                  </c:pt>
                </c:lvl>
              </c:multiLvlStrCache>
            </c:multiLvlStrRef>
          </c:cat>
          <c:val>
            <c:numRef>
              <c:f>Sheet1!$C$2:$C$3</c:f>
              <c:numCache>
                <c:formatCode>General</c:formatCode>
                <c:ptCount val="2"/>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Mousseux Italiens</c:v>
                  </c:pt>
                  <c:pt idx="1">
                    <c:v>Mousseux Italiens</c:v>
                  </c:pt>
                </c:lvl>
                <c:lvl>
                  <c:pt idx="0">
                    <c:v>All Others</c:v>
                  </c:pt>
                  <c:pt idx="1">
                    <c:v>Bottega</c:v>
                  </c:pt>
                </c:lvl>
              </c:multiLvlStrCache>
            </c:multiLvlStrRef>
          </c:cat>
          <c:val>
            <c:numRef>
              <c:f>Sheet1!$D$2:$D$3</c:f>
              <c:numCache>
                <c:formatCode>General</c:formatCode>
                <c:ptCount val="2"/>
                <c:pt idx="0">
                  <c:v>7.5523999999999996</c:v>
                </c:pt>
                <c:pt idx="1">
                  <c:v>11.524699999999999</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31-4BFA-9ABF-C685E53A48DF}"/>
                </c:ext>
              </c:extLst>
            </c:dLbl>
            <c:dLbl>
              <c:idx val="1"/>
              <c:tx>
                <c:rich>
                  <a:bodyPr/>
                  <a:lstStyle/>
                  <a:p>
                    <a:r>
                      <a:t>4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C31-4BFA-9ABF-C685E53A48DF}"/>
                </c:ext>
              </c:extLst>
            </c:dLbl>
            <c:dLbl>
              <c:idx val="2"/>
              <c:tx>
                <c:rich>
                  <a:bodyPr/>
                  <a:lstStyle/>
                  <a:p>
                    <a:r>
                      <a:t>2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C31-4BFA-9ABF-C685E53A48DF}"/>
                </c:ext>
              </c:extLst>
            </c:dLbl>
            <c:dLbl>
              <c:idx val="3"/>
              <c:tx>
                <c:rich>
                  <a:bodyPr/>
                  <a:lstStyle/>
                  <a:p>
                    <a:r>
                      <a:t>4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C31-4BFA-9ABF-C685E53A48DF}"/>
                </c:ext>
              </c:extLst>
            </c:dLbl>
            <c:dLbl>
              <c:idx val="4"/>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C31-4BFA-9ABF-C685E53A48DF}"/>
                </c:ext>
              </c:extLst>
            </c:dLbl>
            <c:dLbl>
              <c:idx val="5"/>
              <c:tx>
                <c:rich>
                  <a:bodyPr/>
                  <a:lstStyle/>
                  <a:p>
                    <a:r>
                      <a:t>8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C31-4BFA-9ABF-C685E53A48DF}"/>
                </c:ext>
              </c:extLst>
            </c:dLbl>
            <c:dLbl>
              <c:idx val="6"/>
              <c:tx>
                <c:rich>
                  <a:bodyPr/>
                  <a:lstStyle/>
                  <a:p>
                    <a:r>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C31-4BFA-9ABF-C685E53A48DF}"/>
                </c:ext>
              </c:extLst>
            </c:dLbl>
            <c:dLbl>
              <c:idx val="7"/>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C31-4BFA-9ABF-C685E53A48DF}"/>
                </c:ext>
              </c:extLst>
            </c:dLbl>
            <c:dLbl>
              <c:idx val="8"/>
              <c:tx>
                <c:rich>
                  <a:bodyPr/>
                  <a:lstStyle/>
                  <a:p>
                    <a:r>
                      <a:t>2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C31-4BFA-9ABF-C685E53A48DF}"/>
                </c:ext>
              </c:extLst>
            </c:dLbl>
            <c:dLbl>
              <c:idx val="9"/>
              <c:tx>
                <c:rich>
                  <a:bodyPr/>
                  <a:lstStyle/>
                  <a:p>
                    <a:r>
                      <a:t>38.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C31-4BFA-9ABF-C685E53A48DF}"/>
                </c:ext>
              </c:extLst>
            </c:dLbl>
            <c:dLbl>
              <c:idx val="10"/>
              <c:tx>
                <c:rich>
                  <a:bodyPr/>
                  <a:lstStyle/>
                  <a:p>
                    <a:r>
                      <a:t>11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C31-4BFA-9ABF-C685E53A48DF}"/>
                </c:ext>
              </c:extLst>
            </c:dLbl>
            <c:dLbl>
              <c:idx val="11"/>
              <c:tx>
                <c:rich>
                  <a:bodyPr/>
                  <a:lstStyle/>
                  <a:p>
                    <a:r>
                      <a:t>2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C31-4BFA-9ABF-C685E53A48DF}"/>
                </c:ext>
              </c:extLst>
            </c:dLbl>
            <c:dLbl>
              <c:idx val="12"/>
              <c:tx>
                <c:rich>
                  <a:bodyPr/>
                  <a:lstStyle/>
                  <a:p>
                    <a:r>
                      <a:t>37.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C31-4BFA-9ABF-C685E53A48D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E.NICOLAS ROSE 1CT X 750ML</c:v>
                </c:pt>
                <c:pt idx="7">
                  <c:v>CHAMPAGNE NICOLAS ROSE 1ERE CU 1CT X 750ML</c:v>
                </c:pt>
                <c:pt idx="8">
                  <c:v>1/2 CHAMP NICOLAS ROSE 1E C BS 1CT X 375ML</c:v>
                </c:pt>
                <c:pt idx="9">
                  <c:v>CHAMPAGNE NICOLAS BLC/BLC BS 1CT X 750ML</c:v>
                </c:pt>
                <c:pt idx="10">
                  <c:v>MG CHAMPAGNE NICOLAS BLC/BL BS 1CT X 1500ML</c:v>
                </c:pt>
                <c:pt idx="11">
                  <c:v>1/2 CHAMP NICOLAS BLC/BLC BS 1CT X 375ML</c:v>
                </c:pt>
                <c:pt idx="12">
                  <c:v>CHAMPAGNE NICOLAS 1ER CRU BS 1CT X 750ML</c:v>
                </c:pt>
              </c:strCache>
            </c:strRef>
          </c:cat>
          <c:val>
            <c:numRef>
              <c:f>Sheet1!$B$2:$B$14</c:f>
              <c:numCache>
                <c:formatCode>General</c:formatCode>
                <c:ptCount val="13"/>
                <c:pt idx="0">
                  <c:v>21.9</c:v>
                </c:pt>
                <c:pt idx="1">
                  <c:v>41.42</c:v>
                </c:pt>
                <c:pt idx="2">
                  <c:v>22</c:v>
                </c:pt>
                <c:pt idx="3">
                  <c:v>44.12</c:v>
                </c:pt>
                <c:pt idx="4">
                  <c:v>50</c:v>
                </c:pt>
                <c:pt idx="5">
                  <c:v>85.06</c:v>
                </c:pt>
                <c:pt idx="6">
                  <c:v>25.05</c:v>
                </c:pt>
                <c:pt idx="7">
                  <c:v>39.03</c:v>
                </c:pt>
                <c:pt idx="8">
                  <c:v>22.19</c:v>
                </c:pt>
                <c:pt idx="9">
                  <c:v>38.51</c:v>
                </c:pt>
                <c:pt idx="10">
                  <c:v>113.62</c:v>
                </c:pt>
                <c:pt idx="11">
                  <c:v>24.44</c:v>
                </c:pt>
                <c:pt idx="12">
                  <c:v>3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Alsace</c:v>
                  </c:pt>
                  <c:pt idx="3">
                    <c:v>Mousseux Bourgogne</c:v>
                  </c:pt>
                </c:lvl>
                <c:lvl>
                  <c:pt idx="0">
                    <c:v>All Others</c:v>
                  </c:pt>
                  <c:pt idx="1">
                    <c:v>Bottega</c:v>
                  </c:pt>
                  <c:pt idx="2">
                    <c:v>Mure</c:v>
                  </c:pt>
                  <c:pt idx="3">
                    <c:v>Patriarche</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Mousseux Italiens</c:v>
                  </c:pt>
                  <c:pt idx="1">
                    <c:v>Mousseux Italiens</c:v>
                  </c:pt>
                  <c:pt idx="2">
                    <c:v>Mousseux Alsace</c:v>
                  </c:pt>
                  <c:pt idx="3">
                    <c:v>Mousseux Bourgogne</c:v>
                  </c:pt>
                </c:lvl>
                <c:lvl>
                  <c:pt idx="0">
                    <c:v>All Others</c:v>
                  </c:pt>
                  <c:pt idx="1">
                    <c:v>Bottega</c:v>
                  </c:pt>
                  <c:pt idx="2">
                    <c:v>Mure</c:v>
                  </c:pt>
                  <c:pt idx="3">
                    <c:v>Patriarche</c:v>
                  </c:pt>
                </c:lvl>
              </c:multiLvlStrCache>
            </c:multiLvlStrRef>
          </c:cat>
          <c:val>
            <c:numRef>
              <c:f>Sheet1!$D$2:$D$5</c:f>
              <c:numCache>
                <c:formatCode>General</c:formatCode>
                <c:ptCount val="4"/>
                <c:pt idx="0">
                  <c:v>7.1877000000000004</c:v>
                </c:pt>
                <c:pt idx="1">
                  <c:v>11.4154</c:v>
                </c:pt>
                <c:pt idx="2">
                  <c:v>17.8979</c:v>
                </c:pt>
                <c:pt idx="3">
                  <c:v>12.43570000000000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Mousseux Italiens</c:v>
                  </c:pt>
                  <c:pt idx="1">
                    <c:v>Mousseux Italiens</c:v>
                  </c:pt>
                  <c:pt idx="2">
                    <c:v>Mousseux Bourgogne</c:v>
                  </c:pt>
                  <c:pt idx="3">
                    <c:v>Mousseux Alsace</c:v>
                  </c:pt>
                </c:lvl>
                <c:lvl>
                  <c:pt idx="0">
                    <c:v>All Others</c:v>
                  </c:pt>
                  <c:pt idx="1">
                    <c:v>Bottega</c:v>
                  </c:pt>
                  <c:pt idx="2">
                    <c:v>Patriarche</c:v>
                  </c:pt>
                  <c:pt idx="3">
                    <c:v>Mure</c:v>
                  </c:pt>
                </c:lvl>
              </c:multiLvlStrCache>
            </c:multiLvlStrRef>
          </c:cat>
          <c:val>
            <c:numRef>
              <c:f>Sheet1!$D$2:$D$5</c:f>
              <c:numCache>
                <c:formatCode>General</c:formatCode>
                <c:ptCount val="4"/>
                <c:pt idx="0">
                  <c:v>7.4691999999999998</c:v>
                </c:pt>
                <c:pt idx="1">
                  <c:v>11.437099999999999</c:v>
                </c:pt>
                <c:pt idx="2">
                  <c:v>12.776999999999999</c:v>
                </c:pt>
                <c:pt idx="3">
                  <c:v>17.38970000000000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D$2:$D$4</c:f>
              <c:numCache>
                <c:formatCode>General</c:formatCode>
                <c:ptCount val="3"/>
                <c:pt idx="0">
                  <c:v>7.3208000000000002</c:v>
                </c:pt>
                <c:pt idx="1">
                  <c:v>11.4709</c:v>
                </c:pt>
                <c:pt idx="2">
                  <c:v>12.8293</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D$2:$D$5</c:f>
              <c:numCache>
                <c:formatCode>General</c:formatCode>
                <c:ptCount val="4"/>
                <c:pt idx="0">
                  <c:v>7.1779000000000002</c:v>
                </c:pt>
                <c:pt idx="1">
                  <c:v>11.4886</c:v>
                </c:pt>
                <c:pt idx="2">
                  <c:v>12.6144</c:v>
                </c:pt>
                <c:pt idx="3">
                  <c:v>9.1776</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75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Bourgogne</c:v>
                  </c:pt>
                  <c:pt idx="3">
                    <c:v>Mousseux Italiens</c:v>
                  </c:pt>
                  <c:pt idx="4">
                    <c:v>Mousseux Val De Loire</c:v>
                  </c:pt>
                </c:lvl>
                <c:lvl>
                  <c:pt idx="0">
                    <c:v>All Others</c:v>
                  </c:pt>
                  <c:pt idx="2">
                    <c:v>Patriarche</c:v>
                  </c:pt>
                  <c:pt idx="3">
                    <c:v>Bottega</c:v>
                  </c:pt>
                  <c:pt idx="4">
                    <c:v>Bouvet-Ladubay</c:v>
                  </c:pt>
                </c:lvl>
              </c:multiLvlStrCache>
            </c:multiLvlStrRef>
          </c:cat>
          <c:val>
            <c:numRef>
              <c:f>Sheet1!$C$2:$C$6</c:f>
              <c:numCache>
                <c:formatCode>General</c:formatCode>
                <c:ptCount val="5"/>
                <c:pt idx="0">
                  <c:v>7.2351000000000001</c:v>
                </c:pt>
                <c:pt idx="1">
                  <c:v>10.9369</c:v>
                </c:pt>
                <c:pt idx="2">
                  <c:v>12.6576</c:v>
                </c:pt>
                <c:pt idx="3">
                  <c:v>11.490399999999999</c:v>
                </c:pt>
                <c:pt idx="4">
                  <c:v>11.0585</c:v>
                </c:pt>
              </c:numCache>
            </c:numRef>
          </c:val>
          <c:smooth val="0"/>
          <c:extLst>
            <c:ext xmlns:c16="http://schemas.microsoft.com/office/drawing/2014/chart" uri="{C3380CC4-5D6E-409C-BE32-E72D297353CC}">
              <c16:uniqueId val="{00000003-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Mousseux Alsace</c:v>
                  </c:pt>
                  <c:pt idx="1">
                    <c:v>Mousseux Alsace</c:v>
                  </c:pt>
                </c:lvl>
                <c:lvl>
                  <c:pt idx="0">
                    <c:v>All Others</c:v>
                  </c:pt>
                  <c:pt idx="1">
                    <c:v>Mure</c:v>
                  </c:pt>
                </c:lvl>
              </c:multiLvlStrCache>
            </c:multiLvlStrRef>
          </c:cat>
          <c:val>
            <c:numRef>
              <c:f>Sheet1!$C$2:$C$3</c:f>
              <c:numCache>
                <c:formatCode>General</c:formatCode>
                <c:ptCount val="2"/>
                <c:pt idx="0">
                  <c:v>20.66359999999999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7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Mousseux Alsace</c:v>
                  </c:pt>
                  <c:pt idx="1">
                    <c:v>Mousseux Alsace</c:v>
                  </c:pt>
                </c:lvl>
                <c:lvl>
                  <c:pt idx="0">
                    <c:v>All Others</c:v>
                  </c:pt>
                  <c:pt idx="1">
                    <c:v>Mure</c:v>
                  </c:pt>
                </c:lvl>
              </c:multiLvlStrCache>
            </c:multiLvlStrRef>
          </c:cat>
          <c:val>
            <c:numRef>
              <c:f>Sheet1!$D$2:$D$3</c:f>
              <c:numCache>
                <c:formatCode>General</c:formatCode>
                <c:ptCount val="2"/>
                <c:pt idx="1">
                  <c:v>10.15590000000000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Mousseux Alsace</c:v>
                  </c:pt>
                  <c:pt idx="1">
                    <c:v>Mousseux Alsace</c:v>
                  </c:pt>
                </c:lvl>
                <c:lvl>
                  <c:pt idx="0">
                    <c:v>All Others</c:v>
                  </c:pt>
                  <c:pt idx="1">
                    <c:v>Mure</c:v>
                  </c:pt>
                </c:lvl>
              </c:multiLvlStrCache>
            </c:multiLvlStrRef>
          </c:cat>
          <c:val>
            <c:numRef>
              <c:f>Sheet1!$E$2:$E$3</c:f>
              <c:numCache>
                <c:formatCode>General</c:formatCode>
                <c:ptCount val="2"/>
                <c:pt idx="0">
                  <c:v>9.9572000000000003</c:v>
                </c:pt>
                <c:pt idx="1">
                  <c:v>18.327999999999999</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Mousseux Italiens</c:v>
                  </c:pt>
                  <c:pt idx="1">
                    <c:v>Mousseux Italiens</c:v>
                  </c:pt>
                  <c:pt idx="2">
                    <c:v>Mousseux Bourgogne</c:v>
                  </c:pt>
                </c:lvl>
                <c:lvl>
                  <c:pt idx="0">
                    <c:v>All Others</c:v>
                  </c:pt>
                  <c:pt idx="1">
                    <c:v>Bottega</c:v>
                  </c:pt>
                  <c:pt idx="2">
                    <c:v>Patriarche</c:v>
                  </c:pt>
                </c:lvl>
              </c:multiLvlStrCache>
            </c:multiLvlStrRef>
          </c:cat>
          <c:val>
            <c:numRef>
              <c:f>Sheet1!$D$2:$D$4</c:f>
              <c:numCache>
                <c:formatCode>General</c:formatCode>
                <c:ptCount val="3"/>
                <c:pt idx="0">
                  <c:v>7.3361000000000001</c:v>
                </c:pt>
                <c:pt idx="1">
                  <c:v>11.4457</c:v>
                </c:pt>
                <c:pt idx="2">
                  <c:v>12.7675</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4564000000000004</c:v>
                </c:pt>
                <c:pt idx="1">
                  <c:v>11.255100000000001</c:v>
                </c:pt>
                <c:pt idx="2">
                  <c:v>11.4999</c:v>
                </c:pt>
                <c:pt idx="3">
                  <c:v>12.7821</c:v>
                </c:pt>
                <c:pt idx="4">
                  <c:v>17.52659999999999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Mousseux Italiens</c:v>
                  </c:pt>
                  <c:pt idx="1">
                    <c:v>Mousseux Italiens</c:v>
                  </c:pt>
                  <c:pt idx="2">
                    <c:v>Mousseux Bourgogne</c:v>
                  </c:pt>
                  <c:pt idx="3">
                    <c:v>Mousseux Italiens</c:v>
                  </c:pt>
                </c:lvl>
                <c:lvl>
                  <c:pt idx="0">
                    <c:v>All Others</c:v>
                  </c:pt>
                  <c:pt idx="1">
                    <c:v>Bottega</c:v>
                  </c:pt>
                  <c:pt idx="2">
                    <c:v>Patriarche</c:v>
                  </c:pt>
                  <c:pt idx="3">
                    <c:v>Savian</c:v>
                  </c:pt>
                </c:lvl>
              </c:multiLvlStrCache>
            </c:multiLvlStrRef>
          </c:cat>
          <c:val>
            <c:numRef>
              <c:f>Sheet1!$D$2:$D$5</c:f>
              <c:numCache>
                <c:formatCode>General</c:formatCode>
                <c:ptCount val="4"/>
                <c:pt idx="0">
                  <c:v>7.4028</c:v>
                </c:pt>
                <c:pt idx="1">
                  <c:v>11.404999999999999</c:v>
                </c:pt>
                <c:pt idx="2">
                  <c:v>12.696099999999999</c:v>
                </c:pt>
                <c:pt idx="3">
                  <c:v>9.0840999999999994</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Mousseux Italiens</c:v>
                  </c:pt>
                  <c:pt idx="1">
                    <c:v>Mousseux Val De Loire</c:v>
                  </c:pt>
                  <c:pt idx="2">
                    <c:v>Mousseux Italiens</c:v>
                  </c:pt>
                  <c:pt idx="3">
                    <c:v>Mousseux Bourgogne</c:v>
                  </c:pt>
                  <c:pt idx="4">
                    <c:v>Mousseux Alsace</c:v>
                  </c:pt>
                </c:lvl>
                <c:lvl>
                  <c:pt idx="0">
                    <c:v>All Others</c:v>
                  </c:pt>
                  <c:pt idx="2">
                    <c:v>Bottega</c:v>
                  </c:pt>
                  <c:pt idx="3">
                    <c:v>Patriarche</c:v>
                  </c:pt>
                  <c:pt idx="4">
                    <c:v>Mure</c:v>
                  </c:pt>
                </c:lvl>
              </c:multiLvlStrCache>
            </c:multiLvlStrRef>
          </c:cat>
          <c:val>
            <c:numRef>
              <c:f>Sheet1!$D$2:$D$6</c:f>
              <c:numCache>
                <c:formatCode>General</c:formatCode>
                <c:ptCount val="5"/>
                <c:pt idx="0">
                  <c:v>7.4260000000000002</c:v>
                </c:pt>
                <c:pt idx="1">
                  <c:v>11.482100000000001</c:v>
                </c:pt>
                <c:pt idx="2">
                  <c:v>11.3996</c:v>
                </c:pt>
                <c:pt idx="3">
                  <c:v>12.751099999999999</c:v>
                </c:pt>
                <c:pt idx="4">
                  <c:v>17.83180000000000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75C-43EB-B074-485820830435}"/>
                </c:ext>
              </c:extLst>
            </c:dLbl>
            <c:dLbl>
              <c:idx val="1"/>
              <c:tx>
                <c:rich>
                  <a:bodyPr/>
                  <a:lstStyle/>
                  <a:p>
                    <a:r>
                      <a:t>3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75C-43EB-B074-485820830435}"/>
                </c:ext>
              </c:extLst>
            </c:dLbl>
            <c:dLbl>
              <c:idx val="2"/>
              <c:tx>
                <c:rich>
                  <a:bodyPr/>
                  <a:lstStyle/>
                  <a:p>
                    <a:r>
                      <a:t>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75C-43EB-B074-485820830435}"/>
                </c:ext>
              </c:extLst>
            </c:dLbl>
            <c:dLbl>
              <c:idx val="3"/>
              <c:tx>
                <c:rich>
                  <a:bodyPr/>
                  <a:lstStyle/>
                  <a:p>
                    <a:r>
                      <a:t>4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75C-43EB-B074-485820830435}"/>
                </c:ext>
              </c:extLst>
            </c:dLbl>
            <c:dLbl>
              <c:idx val="4"/>
              <c:tx>
                <c:rich>
                  <a:bodyPr/>
                  <a:lstStyle/>
                  <a:p>
                    <a:r>
                      <a:t>2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75C-43EB-B074-485820830435}"/>
                </c:ext>
              </c:extLst>
            </c:dLbl>
            <c:dLbl>
              <c:idx val="5"/>
              <c:tx>
                <c:rich>
                  <a:bodyPr/>
                  <a:lstStyle/>
                  <a:p>
                    <a:r>
                      <a:t>24.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75C-43EB-B074-485820830435}"/>
                </c:ext>
              </c:extLst>
            </c:dLbl>
            <c:dLbl>
              <c:idx val="6"/>
              <c:tx>
                <c:rich>
                  <a:bodyPr/>
                  <a:lstStyle/>
                  <a:p>
                    <a:r>
                      <a:t>2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75C-43EB-B074-485820830435}"/>
                </c:ext>
              </c:extLst>
            </c:dLbl>
            <c:dLbl>
              <c:idx val="7"/>
              <c:tx>
                <c:rich>
                  <a:bodyPr/>
                  <a:lstStyle/>
                  <a:p>
                    <a:r>
                      <a:t>4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75C-43EB-B074-485820830435}"/>
                </c:ext>
              </c:extLst>
            </c:dLbl>
            <c:dLbl>
              <c:idx val="8"/>
              <c:tx>
                <c:rich>
                  <a:bodyPr/>
                  <a:lstStyle/>
                  <a:p>
                    <a:r>
                      <a:t>38.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75C-43EB-B074-485820830435}"/>
                </c:ext>
              </c:extLst>
            </c:dLbl>
            <c:dLbl>
              <c:idx val="9"/>
              <c:tx>
                <c:rich>
                  <a:bodyPr/>
                  <a:lstStyle/>
                  <a:p>
                    <a:r>
                      <a:t>23.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75C-43EB-B074-485820830435}"/>
                </c:ext>
              </c:extLst>
            </c:dLbl>
            <c:dLbl>
              <c:idx val="10"/>
              <c:tx>
                <c:rich>
                  <a:bodyPr/>
                  <a:lstStyle/>
                  <a:p>
                    <a:r>
                      <a:t>7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75C-43EB-B074-485820830435}"/>
                </c:ext>
              </c:extLst>
            </c:dLbl>
            <c:dLbl>
              <c:idx val="11"/>
              <c:tx>
                <c:rich>
                  <a:bodyPr/>
                  <a:lstStyle/>
                  <a:p>
                    <a:r>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75C-43EB-B074-485820830435}"/>
                </c:ext>
              </c:extLst>
            </c:dLbl>
            <c:dLbl>
              <c:idx val="12"/>
              <c:tx>
                <c:rich>
                  <a:bodyPr/>
                  <a:lstStyle/>
                  <a:p>
                    <a:r>
                      <a:t>3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75C-43EB-B074-48582083043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1ERE CUVEE 1CT X 750ML</c:v>
                </c:pt>
                <c:pt idx="2">
                  <c:v>CHAMPAGNE NICOLAS BIO NAT 2017 1CT X 750ML</c:v>
                </c:pt>
                <c:pt idx="3">
                  <c:v>MG CHAMPAGNE E.NICOLAS BRUT 1CT X 1500ML</c:v>
                </c:pt>
                <c:pt idx="4">
                  <c:v>1/2 CHAMPAGNE NICOLAS 1ERE CUV 1CT X 375ML</c:v>
                </c:pt>
                <c:pt idx="5">
                  <c:v>CHAMPAGNE E.NICOLAS ROSE 1CT X 750ML</c:v>
                </c:pt>
                <c:pt idx="6">
                  <c:v>1/2 CHAMP NICOLAS ROSE 1E C BS 1CT X 375ML</c:v>
                </c:pt>
                <c:pt idx="7">
                  <c:v>CHAMPAGNE NICOLAS ROSE 1ERE CU 1CT X 750ML</c:v>
                </c:pt>
                <c:pt idx="8">
                  <c:v>CHAMPAGNE NICOLAS BLC/BLC BS 1CT X 750ML</c:v>
                </c:pt>
                <c:pt idx="9">
                  <c:v>1/2 CHAMP NICOLAS BLC/BLC BS 1CT X 375ML</c:v>
                </c:pt>
                <c:pt idx="10">
                  <c:v>MG CHAMPAGNE NICOLAS BLC/BL BS 1CT X 1500ML</c:v>
                </c:pt>
                <c:pt idx="11">
                  <c:v>CHAMPAGNE NICOLAS BLC DE NOIRS 1CT X 750ML</c:v>
                </c:pt>
                <c:pt idx="12">
                  <c:v>CHAMPAGNE NICOLAS 1ER CRU BS 1CT X 750ML</c:v>
                </c:pt>
              </c:strCache>
            </c:strRef>
          </c:cat>
          <c:val>
            <c:numRef>
              <c:f>Sheet1!$B$2:$B$14</c:f>
              <c:numCache>
                <c:formatCode>General</c:formatCode>
                <c:ptCount val="13"/>
                <c:pt idx="0">
                  <c:v>21.38</c:v>
                </c:pt>
                <c:pt idx="1">
                  <c:v>38.119999999999997</c:v>
                </c:pt>
                <c:pt idx="2">
                  <c:v>46.7</c:v>
                </c:pt>
                <c:pt idx="3">
                  <c:v>42.08</c:v>
                </c:pt>
                <c:pt idx="4">
                  <c:v>20.52</c:v>
                </c:pt>
                <c:pt idx="5">
                  <c:v>24.74</c:v>
                </c:pt>
                <c:pt idx="6">
                  <c:v>23.64</c:v>
                </c:pt>
                <c:pt idx="7">
                  <c:v>43.31</c:v>
                </c:pt>
                <c:pt idx="8">
                  <c:v>38.79</c:v>
                </c:pt>
                <c:pt idx="9">
                  <c:v>23.55</c:v>
                </c:pt>
                <c:pt idx="10">
                  <c:v>74.78</c:v>
                </c:pt>
                <c:pt idx="11">
                  <c:v>37.1</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5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Mousseux Italiens</c:v>
                  </c:pt>
                  <c:pt idx="1">
                    <c:v>Mousseux Val De Loire</c:v>
                  </c:pt>
                  <c:pt idx="2">
                    <c:v>Mousseux Bourgogne</c:v>
                  </c:pt>
                  <c:pt idx="3">
                    <c:v>Mousseux Alsace</c:v>
                  </c:pt>
                  <c:pt idx="4">
                    <c:v>Mousseux Italiens</c:v>
                  </c:pt>
                </c:lvl>
                <c:lvl>
                  <c:pt idx="0">
                    <c:v>All Others</c:v>
                  </c:pt>
                  <c:pt idx="2">
                    <c:v>Patriarche</c:v>
                  </c:pt>
                  <c:pt idx="3">
                    <c:v>Mure</c:v>
                  </c:pt>
                  <c:pt idx="4">
                    <c:v>Bottega</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7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Mousseux Italiens</c:v>
                  </c:pt>
                  <c:pt idx="1">
                    <c:v>Mousseux Val De Loire</c:v>
                  </c:pt>
                  <c:pt idx="2">
                    <c:v>Mousseux Bourgogne</c:v>
                  </c:pt>
                  <c:pt idx="3">
                    <c:v>Mousseux Alsace</c:v>
                  </c:pt>
                  <c:pt idx="4">
                    <c:v>Mousseux Italiens</c:v>
                  </c:pt>
                </c:lvl>
                <c:lvl>
                  <c:pt idx="0">
                    <c:v>All Others</c:v>
                  </c:pt>
                  <c:pt idx="2">
                    <c:v>Patriarche</c:v>
                  </c:pt>
                  <c:pt idx="3">
                    <c:v>Mure</c:v>
                  </c:pt>
                  <c:pt idx="4">
                    <c:v>Bottega</c:v>
                  </c:pt>
                </c:lvl>
              </c:multiLvlStrCache>
            </c:multiLvlStrRef>
          </c:cat>
          <c:val>
            <c:numRef>
              <c:f>Sheet1!$D$2:$D$6</c:f>
              <c:numCache>
                <c:formatCode>General</c:formatCode>
                <c:ptCount val="5"/>
                <c:pt idx="0">
                  <c:v>7.4020000000000001</c:v>
                </c:pt>
                <c:pt idx="1">
                  <c:v>10.985300000000001</c:v>
                </c:pt>
                <c:pt idx="2">
                  <c:v>12.7788</c:v>
                </c:pt>
                <c:pt idx="3">
                  <c:v>17.647300000000001</c:v>
                </c:pt>
                <c:pt idx="4">
                  <c:v>11.5068</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BDE-4315-BB74-C3A2640458E7}"/>
                </c:ext>
              </c:extLst>
            </c:dLbl>
            <c:dLbl>
              <c:idx val="1"/>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BDE-4315-BB74-C3A2640458E7}"/>
                </c:ext>
              </c:extLst>
            </c:dLbl>
            <c:dLbl>
              <c:idx val="2"/>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BDE-4315-BB74-C3A2640458E7}"/>
                </c:ext>
              </c:extLst>
            </c:dLbl>
            <c:dLbl>
              <c:idx val="3"/>
              <c:tx>
                <c:rich>
                  <a:bodyPr/>
                  <a:lstStyle/>
                  <a:p>
                    <a:r>
                      <a:t>2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BDE-4315-BB74-C3A2640458E7}"/>
                </c:ext>
              </c:extLst>
            </c:dLbl>
            <c:dLbl>
              <c:idx val="4"/>
              <c:tx>
                <c:rich>
                  <a:bodyPr/>
                  <a:lstStyle/>
                  <a:p>
                    <a:r>
                      <a:t>4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BDE-4315-BB74-C3A2640458E7}"/>
                </c:ext>
              </c:extLst>
            </c:dLbl>
            <c:dLbl>
              <c:idx val="5"/>
              <c:tx>
                <c:rich>
                  <a:bodyPr/>
                  <a:lstStyle/>
                  <a:p>
                    <a:r>
                      <a:t>7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BDE-4315-BB74-C3A2640458E7}"/>
                </c:ext>
              </c:extLst>
            </c:dLbl>
            <c:dLbl>
              <c:idx val="6"/>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BDE-4315-BB74-C3A2640458E7}"/>
                </c:ext>
              </c:extLst>
            </c:dLbl>
            <c:dLbl>
              <c:idx val="7"/>
              <c:tx>
                <c:rich>
                  <a:bodyPr/>
                  <a:lstStyle/>
                  <a:p>
                    <a:r>
                      <a:t>8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BDE-4315-BB74-C3A2640458E7}"/>
                </c:ext>
              </c:extLst>
            </c:dLbl>
            <c:dLbl>
              <c:idx val="8"/>
              <c:tx>
                <c:rich>
                  <a:bodyPr/>
                  <a:lstStyle/>
                  <a:p>
                    <a:r>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BDE-4315-BB74-C3A2640458E7}"/>
                </c:ext>
              </c:extLst>
            </c:dLbl>
            <c:dLbl>
              <c:idx val="9"/>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BDE-4315-BB74-C3A2640458E7}"/>
                </c:ext>
              </c:extLst>
            </c:dLbl>
            <c:dLbl>
              <c:idx val="10"/>
              <c:tx>
                <c:rich>
                  <a:bodyPr/>
                  <a:lstStyle/>
                  <a:p>
                    <a:r>
                      <a:t>4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BDE-4315-BB74-C3A2640458E7}"/>
                </c:ext>
              </c:extLst>
            </c:dLbl>
            <c:dLbl>
              <c:idx val="11"/>
              <c:tx>
                <c:rich>
                  <a:bodyPr/>
                  <a:lstStyle/>
                  <a:p>
                    <a:r>
                      <a:t>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BDE-4315-BB74-C3A2640458E7}"/>
                </c:ext>
              </c:extLst>
            </c:dLbl>
            <c:dLbl>
              <c:idx val="12"/>
              <c:tx>
                <c:rich>
                  <a:bodyPr/>
                  <a:lstStyle/>
                  <a:p>
                    <a:r>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BDE-4315-BB74-C3A2640458E7}"/>
                </c:ext>
              </c:extLst>
            </c:dLbl>
            <c:dLbl>
              <c:idx val="13"/>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BDE-4315-BB74-C3A2640458E7}"/>
                </c:ext>
              </c:extLst>
            </c:dLbl>
            <c:dLbl>
              <c:idx val="14"/>
              <c:tx>
                <c:rich>
                  <a:bodyPr/>
                  <a:lstStyle/>
                  <a:p>
                    <a:r>
                      <a:t>36.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BDE-4315-BB74-C3A2640458E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ROSE 1ERE ET 1CT X 750ML</c:v>
                </c:pt>
                <c:pt idx="13">
                  <c:v>CHAMPAGNE NICOLAS BLC DE NOIRS 1CT X 750ML</c:v>
                </c:pt>
                <c:pt idx="14">
                  <c:v>CHAMPAGNE NICOLAS 1ER CRU BS 1CT X 750ML</c:v>
                </c:pt>
              </c:strCache>
            </c:strRef>
          </c:cat>
          <c:val>
            <c:numRef>
              <c:f>Sheet1!$B$2:$B$16</c:f>
              <c:numCache>
                <c:formatCode>General</c:formatCode>
                <c:ptCount val="15"/>
                <c:pt idx="0">
                  <c:v>21.84</c:v>
                </c:pt>
                <c:pt idx="1">
                  <c:v>37.090000000000003</c:v>
                </c:pt>
                <c:pt idx="2">
                  <c:v>45.17</c:v>
                </c:pt>
                <c:pt idx="3">
                  <c:v>22.38</c:v>
                </c:pt>
                <c:pt idx="4">
                  <c:v>46.29</c:v>
                </c:pt>
                <c:pt idx="5">
                  <c:v>75.95</c:v>
                </c:pt>
                <c:pt idx="6">
                  <c:v>39</c:v>
                </c:pt>
                <c:pt idx="7">
                  <c:v>86.38</c:v>
                </c:pt>
                <c:pt idx="8">
                  <c:v>23.97</c:v>
                </c:pt>
                <c:pt idx="9">
                  <c:v>24.97</c:v>
                </c:pt>
                <c:pt idx="10">
                  <c:v>41.06</c:v>
                </c:pt>
                <c:pt idx="11">
                  <c:v>24</c:v>
                </c:pt>
                <c:pt idx="12">
                  <c:v>39.590000000000003</c:v>
                </c:pt>
                <c:pt idx="13">
                  <c:v>36.99</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2A1-4B2E-82AB-B6F690223631}"/>
                </c:ext>
              </c:extLst>
            </c:dLbl>
            <c:dLbl>
              <c:idx val="1"/>
              <c:tx>
                <c:rich>
                  <a:bodyPr/>
                  <a:lstStyle/>
                  <a:p>
                    <a:r>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2A1-4B2E-82AB-B6F690223631}"/>
                </c:ext>
              </c:extLst>
            </c:dLbl>
            <c:dLbl>
              <c:idx val="2"/>
              <c:tx>
                <c:rich>
                  <a:bodyPr/>
                  <a:lstStyle/>
                  <a:p>
                    <a:r>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2A1-4B2E-82AB-B6F690223631}"/>
                </c:ext>
              </c:extLst>
            </c:dLbl>
            <c:dLbl>
              <c:idx val="3"/>
              <c:tx>
                <c:rich>
                  <a:bodyPr/>
                  <a:lstStyle/>
                  <a:p>
                    <a:r>
                      <a:t>4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2A1-4B2E-82AB-B6F690223631}"/>
                </c:ext>
              </c:extLst>
            </c:dLbl>
            <c:dLbl>
              <c:idx val="4"/>
              <c:tx>
                <c:rich>
                  <a:bodyPr/>
                  <a:lstStyle/>
                  <a:p>
                    <a:r>
                      <a:t>4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2A1-4B2E-82AB-B6F690223631}"/>
                </c:ext>
              </c:extLst>
            </c:dLbl>
            <c:dLbl>
              <c:idx val="5"/>
              <c:tx>
                <c:rich>
                  <a:bodyPr/>
                  <a:lstStyle/>
                  <a:p>
                    <a:r>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2A1-4B2E-82AB-B6F690223631}"/>
                </c:ext>
              </c:extLst>
            </c:dLbl>
            <c:dLbl>
              <c:idx val="6"/>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2A1-4B2E-82AB-B6F690223631}"/>
                </c:ext>
              </c:extLst>
            </c:dLbl>
            <c:dLbl>
              <c:idx val="7"/>
              <c:tx>
                <c:rich>
                  <a:bodyPr/>
                  <a:lstStyle/>
                  <a:p>
                    <a:r>
                      <a:t>8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2A1-4B2E-82AB-B6F690223631}"/>
                </c:ext>
              </c:extLst>
            </c:dLbl>
            <c:dLbl>
              <c:idx val="8"/>
              <c:tx>
                <c:rich>
                  <a:bodyPr/>
                  <a:lstStyle/>
                  <a:p>
                    <a:r>
                      <a:t>23.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2A1-4B2E-82AB-B6F690223631}"/>
                </c:ext>
              </c:extLst>
            </c:dLbl>
            <c:dLbl>
              <c:idx val="9"/>
              <c:tx>
                <c:rich>
                  <a:bodyPr/>
                  <a:lstStyle/>
                  <a:p>
                    <a:r>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2A1-4B2E-82AB-B6F690223631}"/>
                </c:ext>
              </c:extLst>
            </c:dLbl>
            <c:dLbl>
              <c:idx val="10"/>
              <c:tx>
                <c:rich>
                  <a:bodyPr/>
                  <a:lstStyle/>
                  <a:p>
                    <a:r>
                      <a:t>4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2A1-4B2E-82AB-B6F690223631}"/>
                </c:ext>
              </c:extLst>
            </c:dLbl>
            <c:dLbl>
              <c:idx val="11"/>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2A1-4B2E-82AB-B6F690223631}"/>
                </c:ext>
              </c:extLst>
            </c:dLbl>
            <c:dLbl>
              <c:idx val="12"/>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2A1-4B2E-82AB-B6F690223631}"/>
                </c:ext>
              </c:extLst>
            </c:dLbl>
            <c:dLbl>
              <c:idx val="13"/>
              <c:tx>
                <c:rich>
                  <a:bodyPr/>
                  <a:lstStyle/>
                  <a:p>
                    <a:r>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2A1-4B2E-82AB-B6F690223631}"/>
                </c:ext>
              </c:extLst>
            </c:dLbl>
            <c:dLbl>
              <c:idx val="14"/>
              <c:tx>
                <c:rich>
                  <a:bodyPr/>
                  <a:lstStyle/>
                  <a:p>
                    <a:r>
                      <a:t>3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2A1-4B2E-82AB-B6F69022363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MG CHAMPAGNE NICOLAS BLC/BL BS 1CT X 1500ML</c:v>
                </c:pt>
                <c:pt idx="8">
                  <c:v>1/2 CHAMP NICOLAS BLC/BLC BS 1CT X 375ML</c:v>
                </c:pt>
                <c:pt idx="9">
                  <c:v>CHAMPAGNE E.NICOLAS ROSE 1CT X 750ML</c:v>
                </c:pt>
                <c:pt idx="10">
                  <c:v>CHAMPAGNE NICOLAS ROSE 1ERE CU 1CT X 750ML</c:v>
                </c:pt>
                <c:pt idx="11">
                  <c:v>1/2 CHAMP NICOLAS ROSE 1E C BS 1CT X 375ML</c:v>
                </c:pt>
                <c:pt idx="12">
                  <c:v>CHAMPAGNE NICOLAS 1ER CRU ETUI 1CT X 750ML</c:v>
                </c:pt>
                <c:pt idx="13">
                  <c:v>CHAMPAGNE NICOLAS 1ER CRU BS 1CT X 750ML</c:v>
                </c:pt>
                <c:pt idx="14">
                  <c:v>CHAMPAGNE NICOLAS BLC DE NOIRS 1CT X 750ML</c:v>
                </c:pt>
              </c:strCache>
            </c:strRef>
          </c:cat>
          <c:val>
            <c:numRef>
              <c:f>Sheet1!$B$2:$B$16</c:f>
              <c:numCache>
                <c:formatCode>General</c:formatCode>
                <c:ptCount val="15"/>
                <c:pt idx="0">
                  <c:v>21.89</c:v>
                </c:pt>
                <c:pt idx="1">
                  <c:v>37.32</c:v>
                </c:pt>
                <c:pt idx="2">
                  <c:v>22.41</c:v>
                </c:pt>
                <c:pt idx="3">
                  <c:v>46.95</c:v>
                </c:pt>
                <c:pt idx="4">
                  <c:v>46.14</c:v>
                </c:pt>
                <c:pt idx="5">
                  <c:v>69.91</c:v>
                </c:pt>
                <c:pt idx="6">
                  <c:v>39.090000000000003</c:v>
                </c:pt>
                <c:pt idx="7">
                  <c:v>87.16</c:v>
                </c:pt>
                <c:pt idx="8">
                  <c:v>23.79</c:v>
                </c:pt>
                <c:pt idx="9">
                  <c:v>24.94</c:v>
                </c:pt>
                <c:pt idx="10">
                  <c:v>41.15</c:v>
                </c:pt>
                <c:pt idx="11">
                  <c:v>24.16</c:v>
                </c:pt>
                <c:pt idx="12">
                  <c:v>36.93</c:v>
                </c:pt>
                <c:pt idx="13">
                  <c:v>36.18</c:v>
                </c:pt>
                <c:pt idx="14">
                  <c:v>36.40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04C-4A6D-A64A-95639BDFF0AA}"/>
                </c:ext>
              </c:extLst>
            </c:dLbl>
            <c:dLbl>
              <c:idx val="1"/>
              <c:tx>
                <c:rich>
                  <a:bodyPr/>
                  <a:lstStyle/>
                  <a:p>
                    <a:r>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04C-4A6D-A64A-95639BDFF0AA}"/>
                </c:ext>
              </c:extLst>
            </c:dLbl>
            <c:dLbl>
              <c:idx val="2"/>
              <c:tx>
                <c:rich>
                  <a:bodyPr/>
                  <a:lstStyle/>
                  <a:p>
                    <a:r>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04C-4A6D-A64A-95639BDFF0AA}"/>
                </c:ext>
              </c:extLst>
            </c:dLbl>
            <c:dLbl>
              <c:idx val="3"/>
              <c:tx>
                <c:rich>
                  <a:bodyPr/>
                  <a:lstStyle/>
                  <a:p>
                    <a:r>
                      <a:t>4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04C-4A6D-A64A-95639BDFF0AA}"/>
                </c:ext>
              </c:extLst>
            </c:dLbl>
            <c:dLbl>
              <c:idx val="4"/>
              <c:tx>
                <c:rich>
                  <a:bodyPr/>
                  <a:lstStyle/>
                  <a:p>
                    <a:r>
                      <a:t>4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04C-4A6D-A64A-95639BDFF0AA}"/>
                </c:ext>
              </c:extLst>
            </c:dLbl>
            <c:dLbl>
              <c:idx val="5"/>
              <c:tx>
                <c:rich>
                  <a:bodyPr/>
                  <a:lstStyle/>
                  <a:p>
                    <a:r>
                      <a:t>7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04C-4A6D-A64A-95639BDFF0AA}"/>
                </c:ext>
              </c:extLst>
            </c:dLbl>
            <c:dLbl>
              <c:idx val="6"/>
              <c:tx>
                <c:rich>
                  <a:bodyPr/>
                  <a:lstStyle/>
                  <a:p>
                    <a:r>
                      <a:t>38.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04C-4A6D-A64A-95639BDFF0AA}"/>
                </c:ext>
              </c:extLst>
            </c:dLbl>
            <c:dLbl>
              <c:idx val="7"/>
              <c:tx>
                <c:rich>
                  <a:bodyPr/>
                  <a:lstStyle/>
                  <a:p>
                    <a:r>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04C-4A6D-A64A-95639BDFF0AA}"/>
                </c:ext>
              </c:extLst>
            </c:dLbl>
            <c:dLbl>
              <c:idx val="8"/>
              <c:tx>
                <c:rich>
                  <a:bodyPr/>
                  <a:lstStyle/>
                  <a:p>
                    <a:r>
                      <a:t>84.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04C-4A6D-A64A-95639BDFF0AA}"/>
                </c:ext>
              </c:extLst>
            </c:dLbl>
            <c:dLbl>
              <c:idx val="9"/>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04C-4A6D-A64A-95639BDFF0AA}"/>
                </c:ext>
              </c:extLst>
            </c:dLbl>
            <c:dLbl>
              <c:idx val="10"/>
              <c:tx>
                <c:rich>
                  <a:bodyPr/>
                  <a:lstStyle/>
                  <a:p>
                    <a:r>
                      <a:t>4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04C-4A6D-A64A-95639BDFF0AA}"/>
                </c:ext>
              </c:extLst>
            </c:dLbl>
            <c:dLbl>
              <c:idx val="11"/>
              <c:tx>
                <c:rich>
                  <a:bodyPr/>
                  <a:lstStyle/>
                  <a:p>
                    <a:r>
                      <a:t>24.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04C-4A6D-A64A-95639BDFF0AA}"/>
                </c:ext>
              </c:extLst>
            </c:dLbl>
            <c:dLbl>
              <c:idx val="12"/>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04C-4A6D-A64A-95639BDFF0AA}"/>
                </c:ext>
              </c:extLst>
            </c:dLbl>
            <c:dLbl>
              <c:idx val="13"/>
              <c:tx>
                <c:rich>
                  <a:bodyPr/>
                  <a:lstStyle/>
                  <a:p>
                    <a:r>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04C-4A6D-A64A-95639BDFF0AA}"/>
                </c:ext>
              </c:extLst>
            </c:dLbl>
            <c:dLbl>
              <c:idx val="14"/>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04C-4A6D-A64A-95639BDFF0A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86</c:v>
                </c:pt>
                <c:pt idx="1">
                  <c:v>37.07</c:v>
                </c:pt>
                <c:pt idx="2">
                  <c:v>22.24</c:v>
                </c:pt>
                <c:pt idx="3">
                  <c:v>45.29</c:v>
                </c:pt>
                <c:pt idx="4">
                  <c:v>46.77</c:v>
                </c:pt>
                <c:pt idx="5">
                  <c:v>76.790000000000006</c:v>
                </c:pt>
                <c:pt idx="6">
                  <c:v>38.96</c:v>
                </c:pt>
                <c:pt idx="7">
                  <c:v>24.06</c:v>
                </c:pt>
                <c:pt idx="8">
                  <c:v>84.11</c:v>
                </c:pt>
                <c:pt idx="9">
                  <c:v>25</c:v>
                </c:pt>
                <c:pt idx="10">
                  <c:v>41.01</c:v>
                </c:pt>
                <c:pt idx="11">
                  <c:v>24.29</c:v>
                </c:pt>
                <c:pt idx="12">
                  <c:v>36.369999999999997</c:v>
                </c:pt>
                <c:pt idx="13">
                  <c:v>37.869999999999997</c:v>
                </c:pt>
                <c:pt idx="14">
                  <c:v>36.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409-4C7B-AB03-F17C0E12E9FF}"/>
                </c:ext>
              </c:extLst>
            </c:dLbl>
            <c:dLbl>
              <c:idx val="1"/>
              <c:tx>
                <c:rich>
                  <a:bodyPr/>
                  <a:lstStyle/>
                  <a:p>
                    <a:r>
                      <a:t>37.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409-4C7B-AB03-F17C0E12E9FF}"/>
                </c:ext>
              </c:extLst>
            </c:dLbl>
            <c:dLbl>
              <c:idx val="2"/>
              <c:tx>
                <c:rich>
                  <a:bodyPr/>
                  <a:lstStyle/>
                  <a:p>
                    <a:r>
                      <a:t>2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409-4C7B-AB03-F17C0E12E9FF}"/>
                </c:ext>
              </c:extLst>
            </c:dLbl>
            <c:dLbl>
              <c:idx val="3"/>
              <c:tx>
                <c:rich>
                  <a:bodyPr/>
                  <a:lstStyle/>
                  <a:p>
                    <a:r>
                      <a:t>45.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409-4C7B-AB03-F17C0E12E9FF}"/>
                </c:ext>
              </c:extLst>
            </c:dLbl>
            <c:dLbl>
              <c:idx val="4"/>
              <c:tx>
                <c:rich>
                  <a:bodyPr/>
                  <a:lstStyle/>
                  <a:p>
                    <a:r>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409-4C7B-AB03-F17C0E12E9FF}"/>
                </c:ext>
              </c:extLst>
            </c:dLbl>
            <c:dLbl>
              <c:idx val="5"/>
              <c:tx>
                <c:rich>
                  <a:bodyPr/>
                  <a:lstStyle/>
                  <a:p>
                    <a:r>
                      <a:t>7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409-4C7B-AB03-F17C0E12E9FF}"/>
                </c:ext>
              </c:extLst>
            </c:dLbl>
            <c:dLbl>
              <c:idx val="6"/>
              <c:tx>
                <c:rich>
                  <a:bodyPr/>
                  <a:lstStyle/>
                  <a:p>
                    <a:r>
                      <a:t>3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409-4C7B-AB03-F17C0E12E9FF}"/>
                </c:ext>
              </c:extLst>
            </c:dLbl>
            <c:dLbl>
              <c:idx val="7"/>
              <c:tx>
                <c:rich>
                  <a:bodyPr/>
                  <a:lstStyle/>
                  <a:p>
                    <a:r>
                      <a:t>24.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409-4C7B-AB03-F17C0E12E9FF}"/>
                </c:ext>
              </c:extLst>
            </c:dLbl>
            <c:dLbl>
              <c:idx val="8"/>
              <c:tx>
                <c:rich>
                  <a:bodyPr/>
                  <a:lstStyle/>
                  <a:p>
                    <a:r>
                      <a:t>87.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409-4C7B-AB03-F17C0E12E9FF}"/>
                </c:ext>
              </c:extLst>
            </c:dLbl>
            <c:dLbl>
              <c:idx val="9"/>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409-4C7B-AB03-F17C0E12E9FF}"/>
                </c:ext>
              </c:extLst>
            </c:dLbl>
            <c:dLbl>
              <c:idx val="10"/>
              <c:tx>
                <c:rich>
                  <a:bodyPr/>
                  <a:lstStyle/>
                  <a:p>
                    <a:r>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409-4C7B-AB03-F17C0E12E9FF}"/>
                </c:ext>
              </c:extLst>
            </c:dLbl>
            <c:dLbl>
              <c:idx val="11"/>
              <c:tx>
                <c:rich>
                  <a:bodyPr/>
                  <a:lstStyle/>
                  <a:p>
                    <a:r>
                      <a:t>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409-4C7B-AB03-F17C0E12E9FF}"/>
                </c:ext>
              </c:extLst>
            </c:dLbl>
            <c:dLbl>
              <c:idx val="12"/>
              <c:tx>
                <c:rich>
                  <a:bodyPr/>
                  <a:lstStyle/>
                  <a:p>
                    <a:r>
                      <a:t>37.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409-4C7B-AB03-F17C0E12E9FF}"/>
                </c:ext>
              </c:extLst>
            </c:dLbl>
            <c:dLbl>
              <c:idx val="13"/>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409-4C7B-AB03-F17C0E12E9FF}"/>
                </c:ext>
              </c:extLst>
            </c:dLbl>
            <c:dLbl>
              <c:idx val="14"/>
              <c:tx>
                <c:rich>
                  <a:bodyPr/>
                  <a:lstStyle/>
                  <a:p>
                    <a:r>
                      <a:t>3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8409-4C7B-AB03-F17C0E12E9F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1/2 CHAMPAGNE NICOLAS 1ERE CUV 1CT X 375ML</c:v>
                </c:pt>
                <c:pt idx="3">
                  <c:v>MG CHAMPAGNE E.NICOLAS BRUT 1CT X 1500ML</c:v>
                </c:pt>
                <c:pt idx="4">
                  <c:v>CHAMPAGNE NICOLAS BIO NAT 2017 1CT X 750ML</c:v>
                </c:pt>
                <c:pt idx="5">
                  <c:v>MG CHAMPAGNE NICOLAS 1ERE CUVE 1CT X 1500ML</c:v>
                </c:pt>
                <c:pt idx="6">
                  <c:v>CHAMPAGNE NICOLAS BLC/BLC BS 1CT X 750ML</c:v>
                </c:pt>
                <c:pt idx="7">
                  <c:v>1/2 CHAMP NICOLAS BLC/BLC BS 1CT X 375ML</c:v>
                </c:pt>
                <c:pt idx="8">
                  <c:v>MG CHAMPAGNE NICOLAS BLC/BL BS 1CT X 1500ML</c:v>
                </c:pt>
                <c:pt idx="9">
                  <c:v>CHAMPAGNE E.NICOLAS ROSE 1CT X 750ML</c:v>
                </c:pt>
                <c:pt idx="10">
                  <c:v>CHAMPAGNE NICOLAS ROSE 1ERE CU 1CT X 750ML</c:v>
                </c:pt>
                <c:pt idx="11">
                  <c:v>1/2 CHAMP NICOLAS ROSE 1E C BS 1CT X 375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1</c:v>
                </c:pt>
                <c:pt idx="1">
                  <c:v>37.130000000000003</c:v>
                </c:pt>
                <c:pt idx="2">
                  <c:v>22.35</c:v>
                </c:pt>
                <c:pt idx="3">
                  <c:v>45.44</c:v>
                </c:pt>
                <c:pt idx="4">
                  <c:v>46.56</c:v>
                </c:pt>
                <c:pt idx="5">
                  <c:v>74.13</c:v>
                </c:pt>
                <c:pt idx="6">
                  <c:v>38.93</c:v>
                </c:pt>
                <c:pt idx="7">
                  <c:v>24.15</c:v>
                </c:pt>
                <c:pt idx="8">
                  <c:v>87.57</c:v>
                </c:pt>
                <c:pt idx="9">
                  <c:v>25.02</c:v>
                </c:pt>
                <c:pt idx="10">
                  <c:v>41.36</c:v>
                </c:pt>
                <c:pt idx="11">
                  <c:v>23.8</c:v>
                </c:pt>
                <c:pt idx="12">
                  <c:v>37.11</c:v>
                </c:pt>
                <c:pt idx="13">
                  <c:v>36.369999999999997</c:v>
                </c:pt>
                <c:pt idx="14">
                  <c:v>36.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A6-42B4-9C39-3B40C49ED787}"/>
                </c:ext>
              </c:extLst>
            </c:dLbl>
            <c:dLbl>
              <c:idx val="1"/>
              <c:tx>
                <c:rich>
                  <a:bodyPr/>
                  <a:lstStyle/>
                  <a:p>
                    <a:r>
                      <a:t>38.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4A6-42B4-9C39-3B40C49ED787}"/>
                </c:ext>
              </c:extLst>
            </c:dLbl>
            <c:dLbl>
              <c:idx val="2"/>
              <c:tx>
                <c:rich>
                  <a:bodyPr/>
                  <a:lstStyle/>
                  <a:p>
                    <a:r>
                      <a:t>4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4A6-42B4-9C39-3B40C49ED787}"/>
                </c:ext>
              </c:extLst>
            </c:dLbl>
            <c:dLbl>
              <c:idx val="3"/>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4A6-42B4-9C39-3B40C49ED787}"/>
                </c:ext>
              </c:extLst>
            </c:dLbl>
            <c:dLbl>
              <c:idx val="4"/>
              <c:tx>
                <c:rich>
                  <a:bodyPr/>
                  <a:lstStyle/>
                  <a:p>
                    <a:r>
                      <a:t>4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4A6-42B4-9C39-3B40C49ED787}"/>
                </c:ext>
              </c:extLst>
            </c:dLbl>
            <c:dLbl>
              <c:idx val="5"/>
              <c:tx>
                <c:rich>
                  <a:bodyPr/>
                  <a:lstStyle/>
                  <a:p>
                    <a:r>
                      <a:t>7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4A6-42B4-9C39-3B40C49ED787}"/>
                </c:ext>
              </c:extLst>
            </c:dLbl>
            <c:dLbl>
              <c:idx val="6"/>
              <c:tx>
                <c:rich>
                  <a:bodyPr/>
                  <a:lstStyle/>
                  <a:p>
                    <a:r>
                      <a:t>37.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4A6-42B4-9C39-3B40C49ED787}"/>
                </c:ext>
              </c:extLst>
            </c:dLbl>
            <c:dLbl>
              <c:idx val="7"/>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4A6-42B4-9C39-3B40C49ED787}"/>
                </c:ext>
              </c:extLst>
            </c:dLbl>
            <c:dLbl>
              <c:idx val="8"/>
              <c:tx>
                <c:rich>
                  <a:bodyPr/>
                  <a:lstStyle/>
                  <a:p>
                    <a:r>
                      <a:t>8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4A6-42B4-9C39-3B40C49ED787}"/>
                </c:ext>
              </c:extLst>
            </c:dLbl>
            <c:dLbl>
              <c:idx val="9"/>
              <c:tx>
                <c:rich>
                  <a:bodyPr/>
                  <a:lstStyle/>
                  <a:p>
                    <a:r>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4A6-42B4-9C39-3B40C49ED787}"/>
                </c:ext>
              </c:extLst>
            </c:dLbl>
            <c:dLbl>
              <c:idx val="10"/>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4A6-42B4-9C39-3B40C49ED787}"/>
                </c:ext>
              </c:extLst>
            </c:dLbl>
            <c:dLbl>
              <c:idx val="11"/>
              <c:tx>
                <c:rich>
                  <a:bodyPr/>
                  <a:lstStyle/>
                  <a:p>
                    <a:r>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4A6-42B4-9C39-3B40C49ED787}"/>
                </c:ext>
              </c:extLst>
            </c:dLbl>
            <c:dLbl>
              <c:idx val="12"/>
              <c:tx>
                <c:rich>
                  <a:bodyPr/>
                  <a:lstStyle/>
                  <a:p>
                    <a:r>
                      <a:t>4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4A6-42B4-9C39-3B40C49ED787}"/>
                </c:ext>
              </c:extLst>
            </c:dLbl>
            <c:dLbl>
              <c:idx val="13"/>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4A6-42B4-9C39-3B40C49ED787}"/>
                </c:ext>
              </c:extLst>
            </c:dLbl>
            <c:dLbl>
              <c:idx val="14"/>
              <c:tx>
                <c:rich>
                  <a:bodyPr/>
                  <a:lstStyle/>
                  <a:p>
                    <a:r>
                      <a:t>36.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4A6-42B4-9C39-3B40C49ED78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1ERE CUVEE 1CT X 750ML</c:v>
                </c:pt>
                <c:pt idx="2">
                  <c:v>MG CHAMPAGNE E.NICOLAS BRUT 1CT X 1500ML</c:v>
                </c:pt>
                <c:pt idx="3">
                  <c:v>1/2 CHAMPAGNE NICOLAS 1ERE CUV 1CT X 375ML</c:v>
                </c:pt>
                <c:pt idx="4">
                  <c:v>CHAMPAGNE NICOLAS BIO NAT 2017 1CT X 750ML</c:v>
                </c:pt>
                <c:pt idx="5">
                  <c:v>MG CHAMPAGNE NICOLAS 1ERE CUVE 1CT X 1500ML</c:v>
                </c:pt>
                <c:pt idx="6">
                  <c:v>CHAMPAGNE NICOLAS 1ERE CUV ETU 1CT X 750ML</c:v>
                </c:pt>
                <c:pt idx="7">
                  <c:v>CHAMPAGNE NICOLAS BLC/BLC BS 1CT X 750ML</c:v>
                </c:pt>
                <c:pt idx="8">
                  <c:v>MG CHAMPAGNE NICOLAS BLC/BL BS 1CT X 1500ML</c:v>
                </c:pt>
                <c:pt idx="9">
                  <c:v>1/2 CHAMP NICOLAS BLC/BLC BS 1CT X 375ML</c:v>
                </c:pt>
                <c:pt idx="10">
                  <c:v>CHAMPAGNE E.NICOLAS ROSE 1CT X 750ML</c:v>
                </c:pt>
                <c:pt idx="11">
                  <c:v>1/2 CHAMP NICOLAS ROSE 1E C BS 1CT X 375ML</c:v>
                </c:pt>
                <c:pt idx="12">
                  <c:v>CHAMPAGNE NICOLAS ROSE 1ERE CU 1CT X 750ML</c:v>
                </c:pt>
                <c:pt idx="13">
                  <c:v>CHAMPAGNE NICOLAS 1ER CRU BS 1CT X 750ML</c:v>
                </c:pt>
                <c:pt idx="14">
                  <c:v>CHAMPAGNE NICOLAS BLC DE NOIRS 1CT X 750ML</c:v>
                </c:pt>
              </c:strCache>
            </c:strRef>
          </c:cat>
          <c:val>
            <c:numRef>
              <c:f>Sheet1!$B$2:$B$16</c:f>
              <c:numCache>
                <c:formatCode>General</c:formatCode>
                <c:ptCount val="15"/>
                <c:pt idx="0">
                  <c:v>21.91</c:v>
                </c:pt>
                <c:pt idx="1">
                  <c:v>38.58</c:v>
                </c:pt>
                <c:pt idx="2">
                  <c:v>45.07</c:v>
                </c:pt>
                <c:pt idx="3">
                  <c:v>22.28</c:v>
                </c:pt>
                <c:pt idx="4">
                  <c:v>46.23</c:v>
                </c:pt>
                <c:pt idx="5">
                  <c:v>78</c:v>
                </c:pt>
                <c:pt idx="6">
                  <c:v>37.56</c:v>
                </c:pt>
                <c:pt idx="7">
                  <c:v>39.020000000000003</c:v>
                </c:pt>
                <c:pt idx="8">
                  <c:v>84.55</c:v>
                </c:pt>
                <c:pt idx="9">
                  <c:v>24.08</c:v>
                </c:pt>
                <c:pt idx="10">
                  <c:v>24.97</c:v>
                </c:pt>
                <c:pt idx="11">
                  <c:v>23.92</c:v>
                </c:pt>
                <c:pt idx="12">
                  <c:v>42.36</c:v>
                </c:pt>
                <c:pt idx="13">
                  <c:v>36.89</c:v>
                </c:pt>
                <c:pt idx="14">
                  <c:v>36.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0E6-49F2-96BD-3FBC07A1448E}"/>
                </c:ext>
              </c:extLst>
            </c:dLbl>
            <c:dLbl>
              <c:idx val="1"/>
              <c:tx>
                <c:rich>
                  <a:bodyPr/>
                  <a:lstStyle/>
                  <a:p>
                    <a:r>
                      <a:rPr lang="en-CH"/>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0E6-49F2-96BD-3FBC07A1448E}"/>
                </c:ext>
              </c:extLst>
            </c:dLbl>
            <c:dLbl>
              <c:idx val="2"/>
              <c:tx>
                <c:rich>
                  <a:bodyPr/>
                  <a:lstStyle/>
                  <a:p>
                    <a:r>
                      <a:rPr lang="en-CH"/>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0E6-49F2-96BD-3FBC07A1448E}"/>
                </c:ext>
              </c:extLst>
            </c:dLbl>
            <c:dLbl>
              <c:idx val="3"/>
              <c:tx>
                <c:rich>
                  <a:bodyPr/>
                  <a:lstStyle/>
                  <a:p>
                    <a:r>
                      <a:rPr lang="en-CH"/>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0E6-49F2-96BD-3FBC07A1448E}"/>
                </c:ext>
              </c:extLst>
            </c:dLbl>
            <c:dLbl>
              <c:idx val="4"/>
              <c:tx>
                <c:rich>
                  <a:bodyPr/>
                  <a:lstStyle/>
                  <a:p>
                    <a:r>
                      <a:rPr lang="en-CH"/>
                      <a:t>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0E6-49F2-96BD-3FBC07A1448E}"/>
                </c:ext>
              </c:extLst>
            </c:dLbl>
            <c:dLbl>
              <c:idx val="5"/>
              <c:tx>
                <c:rich>
                  <a:bodyPr/>
                  <a:lstStyle/>
                  <a:p>
                    <a:r>
                      <a:rPr lang="en-CH"/>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0E6-49F2-96BD-3FBC07A1448E}"/>
                </c:ext>
              </c:extLst>
            </c:dLbl>
            <c:dLbl>
              <c:idx val="6"/>
              <c:tx>
                <c:rich>
                  <a:bodyPr/>
                  <a:lstStyle/>
                  <a:p>
                    <a:r>
                      <a:rPr lang="en-CH"/>
                      <a:t>2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0E6-49F2-96BD-3FBC07A1448E}"/>
                </c:ext>
              </c:extLst>
            </c:dLbl>
            <c:dLbl>
              <c:idx val="7"/>
              <c:tx>
                <c:rich>
                  <a:bodyPr/>
                  <a:lstStyle/>
                  <a:p>
                    <a:r>
                      <a:rPr lang="en-CH"/>
                      <a:t>37.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0E6-49F2-96BD-3FBC07A1448E}"/>
                </c:ext>
              </c:extLst>
            </c:dLbl>
            <c:dLbl>
              <c:idx val="8"/>
              <c:tx>
                <c:rich>
                  <a:bodyPr/>
                  <a:lstStyle/>
                  <a:p>
                    <a:r>
                      <a:rPr lang="en-CH"/>
                      <a:t>4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0E6-49F2-96BD-3FBC07A1448E}"/>
                </c:ext>
              </c:extLst>
            </c:dLbl>
            <c:dLbl>
              <c:idx val="9"/>
              <c:tx>
                <c:rich>
                  <a:bodyPr/>
                  <a:lstStyle/>
                  <a:p>
                    <a:r>
                      <a:rPr lang="en-CH"/>
                      <a:t>2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0E6-49F2-96BD-3FBC07A1448E}"/>
                </c:ext>
              </c:extLst>
            </c:dLbl>
            <c:dLbl>
              <c:idx val="10"/>
              <c:tx>
                <c:rich>
                  <a:bodyPr/>
                  <a:lstStyle/>
                  <a:p>
                    <a:r>
                      <a:rPr lang="en-CH"/>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0E6-49F2-96BD-3FBC07A1448E}"/>
                </c:ext>
              </c:extLst>
            </c:dLbl>
            <c:dLbl>
              <c:idx val="11"/>
              <c:tx>
                <c:rich>
                  <a:bodyPr/>
                  <a:lstStyle/>
                  <a:p>
                    <a:r>
                      <a:rPr lang="en-CH"/>
                      <a:t>85.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0E6-49F2-96BD-3FBC07A1448E}"/>
                </c:ext>
              </c:extLst>
            </c:dLbl>
            <c:dLbl>
              <c:idx val="12"/>
              <c:tx>
                <c:rich>
                  <a:bodyPr/>
                  <a:lstStyle/>
                  <a:p>
                    <a:r>
                      <a:rPr lang="en-CH"/>
                      <a:t>7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0E6-49F2-96BD-3FBC07A1448E}"/>
                </c:ext>
              </c:extLst>
            </c:dLbl>
            <c:dLbl>
              <c:idx val="13"/>
              <c:tx>
                <c:rich>
                  <a:bodyPr/>
                  <a:lstStyle/>
                  <a:p>
                    <a:r>
                      <a:rPr lang="en-CH"/>
                      <a:t>37.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0E6-49F2-96BD-3FBC07A1448E}"/>
                </c:ext>
              </c:extLst>
            </c:dLbl>
            <c:dLbl>
              <c:idx val="14"/>
              <c:tx>
                <c:rich>
                  <a:bodyPr/>
                  <a:lstStyle/>
                  <a:p>
                    <a:r>
                      <a:rPr lang="en-CH"/>
                      <a:t>42.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0E6-49F2-96BD-3FBC07A1448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87</c:v>
                </c:pt>
                <c:pt idx="1">
                  <c:v>38.99</c:v>
                </c:pt>
                <c:pt idx="2">
                  <c:v>24.98</c:v>
                </c:pt>
                <c:pt idx="3">
                  <c:v>37.32</c:v>
                </c:pt>
                <c:pt idx="4">
                  <c:v>41.3</c:v>
                </c:pt>
                <c:pt idx="5">
                  <c:v>45.58</c:v>
                </c:pt>
                <c:pt idx="6">
                  <c:v>22.47</c:v>
                </c:pt>
                <c:pt idx="7">
                  <c:v>37.03</c:v>
                </c:pt>
                <c:pt idx="8">
                  <c:v>46.63</c:v>
                </c:pt>
                <c:pt idx="9">
                  <c:v>23.48</c:v>
                </c:pt>
                <c:pt idx="10">
                  <c:v>23.96</c:v>
                </c:pt>
                <c:pt idx="11">
                  <c:v>85.97</c:v>
                </c:pt>
                <c:pt idx="12">
                  <c:v>74.05</c:v>
                </c:pt>
                <c:pt idx="13">
                  <c:v>37.369999999999997</c:v>
                </c:pt>
                <c:pt idx="14">
                  <c:v>42.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2C0-44AA-8E2D-0EF97CFCE7E1}"/>
                </c:ext>
              </c:extLst>
            </c:dLbl>
            <c:dLbl>
              <c:idx val="1"/>
              <c:tx>
                <c:rich>
                  <a:bodyPr/>
                  <a:lstStyle/>
                  <a:p>
                    <a:r>
                      <a:rPr lang="en-US"/>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2C0-44AA-8E2D-0EF97CFCE7E1}"/>
                </c:ext>
              </c:extLst>
            </c:dLbl>
            <c:dLbl>
              <c:idx val="2"/>
              <c:tx>
                <c:rich>
                  <a:bodyPr/>
                  <a:lstStyle/>
                  <a:p>
                    <a:r>
                      <a:rPr lang="en-US"/>
                      <a:t>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2C0-44AA-8E2D-0EF97CFCE7E1}"/>
                </c:ext>
              </c:extLst>
            </c:dLbl>
            <c:dLbl>
              <c:idx val="3"/>
              <c:tx>
                <c:rich>
                  <a:bodyPr/>
                  <a:lstStyle/>
                  <a:p>
                    <a:r>
                      <a:rPr lang="en-US"/>
                      <a:t>3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2C0-44AA-8E2D-0EF97CFCE7E1}"/>
                </c:ext>
              </c:extLst>
            </c:dLbl>
            <c:dLbl>
              <c:idx val="4"/>
              <c:tx>
                <c:rich>
                  <a:bodyPr/>
                  <a:lstStyle/>
                  <a:p>
                    <a:r>
                      <a:rPr lang="en-US"/>
                      <a:t>4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2C0-44AA-8E2D-0EF97CFCE7E1}"/>
                </c:ext>
              </c:extLst>
            </c:dLbl>
            <c:dLbl>
              <c:idx val="5"/>
              <c:tx>
                <c:rich>
                  <a:bodyPr/>
                  <a:lstStyle/>
                  <a:p>
                    <a:r>
                      <a:rPr lang="en-US"/>
                      <a:t>4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2C0-44AA-8E2D-0EF97CFCE7E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strCache>
            </c:strRef>
          </c:cat>
          <c:val>
            <c:numRef>
              <c:f>Sheet1!$B$2:$B$7</c:f>
              <c:numCache>
                <c:formatCode>General</c:formatCode>
                <c:ptCount val="6"/>
                <c:pt idx="0">
                  <c:v>21.94</c:v>
                </c:pt>
                <c:pt idx="1">
                  <c:v>39.590000000000003</c:v>
                </c:pt>
                <c:pt idx="2">
                  <c:v>25.1</c:v>
                </c:pt>
                <c:pt idx="3">
                  <c:v>36.22</c:v>
                </c:pt>
                <c:pt idx="4">
                  <c:v>41.44</c:v>
                </c:pt>
                <c:pt idx="5">
                  <c:v>4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949-44C4-A093-E5C32BD6BA3A}"/>
                </c:ext>
              </c:extLst>
            </c:dLbl>
            <c:dLbl>
              <c:idx val="1"/>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949-44C4-A093-E5C32BD6BA3A}"/>
                </c:ext>
              </c:extLst>
            </c:dLbl>
            <c:dLbl>
              <c:idx val="2"/>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949-44C4-A093-E5C32BD6BA3A}"/>
                </c:ext>
              </c:extLst>
            </c:dLbl>
            <c:dLbl>
              <c:idx val="3"/>
              <c:tx>
                <c:rich>
                  <a:bodyPr/>
                  <a:lstStyle/>
                  <a:p>
                    <a:r>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949-44C4-A093-E5C32BD6BA3A}"/>
                </c:ext>
              </c:extLst>
            </c:dLbl>
            <c:dLbl>
              <c:idx val="4"/>
              <c:tx>
                <c:rich>
                  <a:bodyPr/>
                  <a:lstStyle/>
                  <a:p>
                    <a:r>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949-44C4-A093-E5C32BD6BA3A}"/>
                </c:ext>
              </c:extLst>
            </c:dLbl>
            <c:dLbl>
              <c:idx val="5"/>
              <c:tx>
                <c:rich>
                  <a:bodyPr/>
                  <a:lstStyle/>
                  <a:p>
                    <a:r>
                      <a:t>45.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949-44C4-A093-E5C32BD6BA3A}"/>
                </c:ext>
              </c:extLst>
            </c:dLbl>
            <c:dLbl>
              <c:idx val="6"/>
              <c:tx>
                <c:rich>
                  <a:bodyPr/>
                  <a:lstStyle/>
                  <a:p>
                    <a:r>
                      <a:t>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949-44C4-A093-E5C32BD6BA3A}"/>
                </c:ext>
              </c:extLst>
            </c:dLbl>
            <c:dLbl>
              <c:idx val="7"/>
              <c:tx>
                <c:rich>
                  <a:bodyPr/>
                  <a:lstStyle/>
                  <a:p>
                    <a:r>
                      <a:t>36.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949-44C4-A093-E5C32BD6BA3A}"/>
                </c:ext>
              </c:extLst>
            </c:dLbl>
            <c:dLbl>
              <c:idx val="8"/>
              <c:tx>
                <c:rich>
                  <a:bodyPr/>
                  <a:lstStyle/>
                  <a:p>
                    <a:r>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949-44C4-A093-E5C32BD6BA3A}"/>
                </c:ext>
              </c:extLst>
            </c:dLbl>
            <c:dLbl>
              <c:idx val="9"/>
              <c:tx>
                <c:rich>
                  <a:bodyPr/>
                  <a:lstStyle/>
                  <a:p>
                    <a:r>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949-44C4-A093-E5C32BD6BA3A}"/>
                </c:ext>
              </c:extLst>
            </c:dLbl>
            <c:dLbl>
              <c:idx val="10"/>
              <c:tx>
                <c:rich>
                  <a:bodyPr/>
                  <a:lstStyle/>
                  <a:p>
                    <a:r>
                      <a:t>2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949-44C4-A093-E5C32BD6BA3A}"/>
                </c:ext>
              </c:extLst>
            </c:dLbl>
            <c:dLbl>
              <c:idx val="11"/>
              <c:tx>
                <c:rich>
                  <a:bodyPr/>
                  <a:lstStyle/>
                  <a:p>
                    <a:r>
                      <a:t>85.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949-44C4-A093-E5C32BD6BA3A}"/>
                </c:ext>
              </c:extLst>
            </c:dLbl>
            <c:dLbl>
              <c:idx val="12"/>
              <c:tx>
                <c:rich>
                  <a:bodyPr/>
                  <a:lstStyle/>
                  <a:p>
                    <a:r>
                      <a:t>7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949-44C4-A093-E5C32BD6BA3A}"/>
                </c:ext>
              </c:extLst>
            </c:dLbl>
            <c:dLbl>
              <c:idx val="13"/>
              <c:tx>
                <c:rich>
                  <a:bodyPr/>
                  <a:lstStyle/>
                  <a:p>
                    <a:r>
                      <a:t>38.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949-44C4-A093-E5C32BD6BA3A}"/>
                </c:ext>
              </c:extLst>
            </c:dLbl>
            <c:dLbl>
              <c:idx val="14"/>
              <c:tx>
                <c:rich>
                  <a:bodyPr/>
                  <a:lstStyle/>
                  <a:p>
                    <a:r>
                      <a:t>4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949-44C4-A093-E5C32BD6BA3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c:v>
                </c:pt>
                <c:pt idx="1">
                  <c:v>39.090000000000003</c:v>
                </c:pt>
                <c:pt idx="2">
                  <c:v>24.99</c:v>
                </c:pt>
                <c:pt idx="3">
                  <c:v>37.1</c:v>
                </c:pt>
                <c:pt idx="4">
                  <c:v>41.37</c:v>
                </c:pt>
                <c:pt idx="5">
                  <c:v>45.58</c:v>
                </c:pt>
                <c:pt idx="6">
                  <c:v>22.29</c:v>
                </c:pt>
                <c:pt idx="7">
                  <c:v>36.74</c:v>
                </c:pt>
                <c:pt idx="8">
                  <c:v>45.64</c:v>
                </c:pt>
                <c:pt idx="9">
                  <c:v>24.03</c:v>
                </c:pt>
                <c:pt idx="10">
                  <c:v>23.96</c:v>
                </c:pt>
                <c:pt idx="11">
                  <c:v>85.88</c:v>
                </c:pt>
                <c:pt idx="12">
                  <c:v>76.05</c:v>
                </c:pt>
                <c:pt idx="13">
                  <c:v>38.03</c:v>
                </c:pt>
                <c:pt idx="14">
                  <c:v>4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0B1-4CCA-BCAE-1268B129A4CC}"/>
                </c:ext>
              </c:extLst>
            </c:dLbl>
            <c:dLbl>
              <c:idx val="1"/>
              <c:tx>
                <c:rich>
                  <a:bodyPr/>
                  <a:lstStyle/>
                  <a:p>
                    <a:r>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0B1-4CCA-BCAE-1268B129A4CC}"/>
                </c:ext>
              </c:extLst>
            </c:dLbl>
            <c:dLbl>
              <c:idx val="2"/>
              <c:tx>
                <c:rich>
                  <a:bodyPr/>
                  <a:lstStyle/>
                  <a:p>
                    <a:r>
                      <a:t>37.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0B1-4CCA-BCAE-1268B129A4CC}"/>
                </c:ext>
              </c:extLst>
            </c:dLbl>
            <c:dLbl>
              <c:idx val="3"/>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0B1-4CCA-BCAE-1268B129A4CC}"/>
                </c:ext>
              </c:extLst>
            </c:dLbl>
            <c:dLbl>
              <c:idx val="4"/>
              <c:tx>
                <c:rich>
                  <a:bodyPr/>
                  <a:lstStyle/>
                  <a:p>
                    <a:r>
                      <a:t>4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0B1-4CCA-BCAE-1268B129A4CC}"/>
                </c:ext>
              </c:extLst>
            </c:dLbl>
            <c:dLbl>
              <c:idx val="5"/>
              <c:tx>
                <c:rich>
                  <a:bodyPr/>
                  <a:lstStyle/>
                  <a:p>
                    <a:r>
                      <a:t>45.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0B1-4CCA-BCAE-1268B129A4CC}"/>
                </c:ext>
              </c:extLst>
            </c:dLbl>
            <c:dLbl>
              <c:idx val="6"/>
              <c:tx>
                <c:rich>
                  <a:bodyPr/>
                  <a:lstStyle/>
                  <a:p>
                    <a:r>
                      <a:t>2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0B1-4CCA-BCAE-1268B129A4CC}"/>
                </c:ext>
              </c:extLst>
            </c:dLbl>
            <c:dLbl>
              <c:idx val="7"/>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0B1-4CCA-BCAE-1268B129A4CC}"/>
                </c:ext>
              </c:extLst>
            </c:dLbl>
            <c:dLbl>
              <c:idx val="8"/>
              <c:tx>
                <c:rich>
                  <a:bodyPr/>
                  <a:lstStyle/>
                  <a:p>
                    <a:r>
                      <a:t>24.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0B1-4CCA-BCAE-1268B129A4CC}"/>
                </c:ext>
              </c:extLst>
            </c:dLbl>
            <c:dLbl>
              <c:idx val="9"/>
              <c:tx>
                <c:rich>
                  <a:bodyPr/>
                  <a:lstStyle/>
                  <a:p>
                    <a:r>
                      <a:t>4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0B1-4CCA-BCAE-1268B129A4CC}"/>
                </c:ext>
              </c:extLst>
            </c:dLbl>
            <c:dLbl>
              <c:idx val="10"/>
              <c:tx>
                <c:rich>
                  <a:bodyPr/>
                  <a:lstStyle/>
                  <a:p>
                    <a:r>
                      <a:t>2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0B1-4CCA-BCAE-1268B129A4CC}"/>
                </c:ext>
              </c:extLst>
            </c:dLbl>
            <c:dLbl>
              <c:idx val="11"/>
              <c:tx>
                <c:rich>
                  <a:bodyPr/>
                  <a:lstStyle/>
                  <a:p>
                    <a:r>
                      <a:t>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0B1-4CCA-BCAE-1268B129A4CC}"/>
                </c:ext>
              </c:extLst>
            </c:dLbl>
            <c:dLbl>
              <c:idx val="12"/>
              <c:tx>
                <c:rich>
                  <a:bodyPr/>
                  <a:lstStyle/>
                  <a:p>
                    <a:r>
                      <a:t>79.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0B1-4CCA-BCAE-1268B129A4CC}"/>
                </c:ext>
              </c:extLst>
            </c:dLbl>
            <c:dLbl>
              <c:idx val="13"/>
              <c:tx>
                <c:rich>
                  <a:bodyPr/>
                  <a:lstStyle/>
                  <a:p>
                    <a:r>
                      <a:t>4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0B1-4CCA-BCAE-1268B129A4CC}"/>
                </c:ext>
              </c:extLst>
            </c:dLbl>
            <c:dLbl>
              <c:idx val="14"/>
              <c:tx>
                <c:rich>
                  <a:bodyPr/>
                  <a:lstStyle/>
                  <a:p>
                    <a:r>
                      <a:t>38.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0B1-4CCA-BCAE-1268B129A4C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91</c:v>
                </c:pt>
                <c:pt idx="1">
                  <c:v>39.049999999999997</c:v>
                </c:pt>
                <c:pt idx="2">
                  <c:v>37.08</c:v>
                </c:pt>
                <c:pt idx="3">
                  <c:v>25.02</c:v>
                </c:pt>
                <c:pt idx="4">
                  <c:v>41.04</c:v>
                </c:pt>
                <c:pt idx="5">
                  <c:v>45.64</c:v>
                </c:pt>
                <c:pt idx="6">
                  <c:v>22.26</c:v>
                </c:pt>
                <c:pt idx="7">
                  <c:v>36.93</c:v>
                </c:pt>
                <c:pt idx="8">
                  <c:v>24.08</c:v>
                </c:pt>
                <c:pt idx="9">
                  <c:v>45.73</c:v>
                </c:pt>
                <c:pt idx="10">
                  <c:v>24.06</c:v>
                </c:pt>
                <c:pt idx="11">
                  <c:v>83.3</c:v>
                </c:pt>
                <c:pt idx="12">
                  <c:v>79.31</c:v>
                </c:pt>
                <c:pt idx="13">
                  <c:v>43.15</c:v>
                </c:pt>
                <c:pt idx="14">
                  <c:v>38.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109-444B-8464-DD996730059F}"/>
                </c:ext>
              </c:extLst>
            </c:dLbl>
            <c:dLbl>
              <c:idx val="1"/>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109-444B-8464-DD996730059F}"/>
                </c:ext>
              </c:extLst>
            </c:dLbl>
            <c:dLbl>
              <c:idx val="2"/>
              <c:tx>
                <c:rich>
                  <a:bodyPr/>
                  <a:lstStyle/>
                  <a:p>
                    <a:r>
                      <a:t>2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109-444B-8464-DD996730059F}"/>
                </c:ext>
              </c:extLst>
            </c:dLbl>
            <c:dLbl>
              <c:idx val="3"/>
              <c:tx>
                <c:rich>
                  <a:bodyPr/>
                  <a:lstStyle/>
                  <a:p>
                    <a:r>
                      <a:t>37.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109-444B-8464-DD996730059F}"/>
                </c:ext>
              </c:extLst>
            </c:dLbl>
            <c:dLbl>
              <c:idx val="4"/>
              <c:tx>
                <c:rich>
                  <a:bodyPr/>
                  <a:lstStyle/>
                  <a:p>
                    <a:r>
                      <a:t>42.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09-444B-8464-DD996730059F}"/>
                </c:ext>
              </c:extLst>
            </c:dLbl>
            <c:dLbl>
              <c:idx val="5"/>
              <c:tx>
                <c:rich>
                  <a:bodyPr/>
                  <a:lstStyle/>
                  <a:p>
                    <a:r>
                      <a:t>45.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109-444B-8464-DD996730059F}"/>
                </c:ext>
              </c:extLst>
            </c:dLbl>
            <c:dLbl>
              <c:idx val="6"/>
              <c:tx>
                <c:rich>
                  <a:bodyPr/>
                  <a:lstStyle/>
                  <a:p>
                    <a:r>
                      <a:t>3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109-444B-8464-DD996730059F}"/>
                </c:ext>
              </c:extLst>
            </c:dLbl>
            <c:dLbl>
              <c:idx val="7"/>
              <c:tx>
                <c:rich>
                  <a:bodyPr/>
                  <a:lstStyle/>
                  <a:p>
                    <a:r>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109-444B-8464-DD996730059F}"/>
                </c:ext>
              </c:extLst>
            </c:dLbl>
            <c:dLbl>
              <c:idx val="8"/>
              <c:tx>
                <c:rich>
                  <a:bodyPr/>
                  <a:lstStyle/>
                  <a:p>
                    <a:r>
                      <a:t>45.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109-444B-8464-DD996730059F}"/>
                </c:ext>
              </c:extLst>
            </c:dLbl>
            <c:dLbl>
              <c:idx val="9"/>
              <c:tx>
                <c:rich>
                  <a:bodyPr/>
                  <a:lstStyle/>
                  <a:p>
                    <a:r>
                      <a:t>8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109-444B-8464-DD996730059F}"/>
                </c:ext>
              </c:extLst>
            </c:dLbl>
            <c:dLbl>
              <c:idx val="10"/>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109-444B-8464-DD996730059F}"/>
                </c:ext>
              </c:extLst>
            </c:dLbl>
            <c:dLbl>
              <c:idx val="11"/>
              <c:tx>
                <c:rich>
                  <a:bodyPr/>
                  <a:lstStyle/>
                  <a:p>
                    <a:r>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109-444B-8464-DD996730059F}"/>
                </c:ext>
              </c:extLst>
            </c:dLbl>
            <c:dLbl>
              <c:idx val="12"/>
              <c:tx>
                <c:rich>
                  <a:bodyPr/>
                  <a:lstStyle/>
                  <a:p>
                    <a:r>
                      <a:t>74.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109-444B-8464-DD996730059F}"/>
                </c:ext>
              </c:extLst>
            </c:dLbl>
            <c:dLbl>
              <c:idx val="13"/>
              <c:tx>
                <c:rich>
                  <a:bodyPr/>
                  <a:lstStyle/>
                  <a:p>
                    <a:r>
                      <a:t>39.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109-444B-8464-DD996730059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CHAMPAGNE NICOLAS BLC DE NOIRS 1CT X 750ML</c:v>
                </c:pt>
                <c:pt idx="7">
                  <c:v>1/2 CHAMPAGNE NICOLAS 1ERE CUV 1CT X 375ML</c:v>
                </c:pt>
                <c:pt idx="8">
                  <c:v>CHAMPAGNE NICOLAS BIO NAT 2017 1CT X 750ML</c:v>
                </c:pt>
                <c:pt idx="9">
                  <c:v>MG CHAMPAGNE NICOLAS BLC/BL BS 1CT X 1500ML</c:v>
                </c:pt>
                <c:pt idx="10">
                  <c:v>1/2 CHAMP NICOLAS BLC/BLC BS 1CT X 375ML</c:v>
                </c:pt>
                <c:pt idx="11">
                  <c:v>1/2 CHAMP NICOLAS ROSE 1E C BS 1CT X 375ML</c:v>
                </c:pt>
                <c:pt idx="12">
                  <c:v>MG CHAMPAGNE NICOLAS 1ERE CUVE 1CT X 1500ML</c:v>
                </c:pt>
                <c:pt idx="13">
                  <c:v>CHAMPAGNE NICOLAS 1ER CRU BS 1CT X 750ML</c:v>
                </c:pt>
              </c:strCache>
            </c:strRef>
          </c:cat>
          <c:val>
            <c:numRef>
              <c:f>Sheet1!$B$2:$B$15</c:f>
              <c:numCache>
                <c:formatCode>General</c:formatCode>
                <c:ptCount val="14"/>
                <c:pt idx="0">
                  <c:v>21.81</c:v>
                </c:pt>
                <c:pt idx="1">
                  <c:v>39.020000000000003</c:v>
                </c:pt>
                <c:pt idx="2">
                  <c:v>24.91</c:v>
                </c:pt>
                <c:pt idx="3">
                  <c:v>37.07</c:v>
                </c:pt>
                <c:pt idx="4">
                  <c:v>42.78</c:v>
                </c:pt>
                <c:pt idx="5">
                  <c:v>45.08</c:v>
                </c:pt>
                <c:pt idx="6">
                  <c:v>36.619999999999997</c:v>
                </c:pt>
                <c:pt idx="7">
                  <c:v>22.34</c:v>
                </c:pt>
                <c:pt idx="8">
                  <c:v>45.65</c:v>
                </c:pt>
                <c:pt idx="9">
                  <c:v>83.76</c:v>
                </c:pt>
                <c:pt idx="10">
                  <c:v>24.3</c:v>
                </c:pt>
                <c:pt idx="11">
                  <c:v>23.87</c:v>
                </c:pt>
                <c:pt idx="12">
                  <c:v>74.959999999999994</c:v>
                </c:pt>
                <c:pt idx="13">
                  <c:v>39.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517-4CDF-A9DD-350B7E9A5199}"/>
                </c:ext>
              </c:extLst>
            </c:dLbl>
            <c:dLbl>
              <c:idx val="1"/>
              <c:tx>
                <c:rich>
                  <a:bodyPr/>
                  <a:lstStyle/>
                  <a:p>
                    <a:r>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517-4CDF-A9DD-350B7E9A5199}"/>
                </c:ext>
              </c:extLst>
            </c:dLbl>
            <c:dLbl>
              <c:idx val="2"/>
              <c:tx>
                <c:rich>
                  <a:bodyPr/>
                  <a:lstStyle/>
                  <a:p>
                    <a:r>
                      <a:t>37.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517-4CDF-A9DD-350B7E9A5199}"/>
                </c:ext>
              </c:extLst>
            </c:dLbl>
            <c:dLbl>
              <c:idx val="3"/>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517-4CDF-A9DD-350B7E9A5199}"/>
                </c:ext>
              </c:extLst>
            </c:dLbl>
            <c:dLbl>
              <c:idx val="4"/>
              <c:tx>
                <c:rich>
                  <a:bodyPr/>
                  <a:lstStyle/>
                  <a:p>
                    <a:r>
                      <a:t>2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517-4CDF-A9DD-350B7E9A5199}"/>
                </c:ext>
              </c:extLst>
            </c:dLbl>
            <c:dLbl>
              <c:idx val="5"/>
              <c:tx>
                <c:rich>
                  <a:bodyPr/>
                  <a:lstStyle/>
                  <a:p>
                    <a:r>
                      <a:t>39.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517-4CDF-A9DD-350B7E9A5199}"/>
                </c:ext>
              </c:extLst>
            </c:dLbl>
            <c:dLbl>
              <c:idx val="6"/>
              <c:tx>
                <c:rich>
                  <a:bodyPr/>
                  <a:lstStyle/>
                  <a:p>
                    <a:r>
                      <a:t>46.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517-4CDF-A9DD-350B7E9A5199}"/>
                </c:ext>
              </c:extLst>
            </c:dLbl>
            <c:dLbl>
              <c:idx val="7"/>
              <c:tx>
                <c:rich>
                  <a:bodyPr/>
                  <a:lstStyle/>
                  <a:p>
                    <a:r>
                      <a:t>4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517-4CDF-A9DD-350B7E9A5199}"/>
                </c:ext>
              </c:extLst>
            </c:dLbl>
            <c:dLbl>
              <c:idx val="8"/>
              <c:tx>
                <c:rich>
                  <a:bodyPr/>
                  <a:lstStyle/>
                  <a:p>
                    <a:r>
                      <a:t>2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517-4CDF-A9DD-350B7E9A5199}"/>
                </c:ext>
              </c:extLst>
            </c:dLbl>
            <c:dLbl>
              <c:idx val="9"/>
              <c:tx>
                <c:rich>
                  <a:bodyPr/>
                  <a:lstStyle/>
                  <a:p>
                    <a:r>
                      <a:t>36.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517-4CDF-A9DD-350B7E9A5199}"/>
                </c:ext>
              </c:extLst>
            </c:dLbl>
            <c:dLbl>
              <c:idx val="10"/>
              <c:tx>
                <c:rich>
                  <a:bodyPr/>
                  <a:lstStyle/>
                  <a:p>
                    <a:r>
                      <a:t>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517-4CDF-A9DD-350B7E9A519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1/2 CHAMPAGNE NICOLAS 1ERE CUV 1CT X 375ML</c:v>
                </c:pt>
                <c:pt idx="5">
                  <c:v>CHAMPAGNE NICOLAS ROSE 1ERE CU 1CT X 750ML</c:v>
                </c:pt>
                <c:pt idx="6">
                  <c:v>MG CHAMPAGNE E.NICOLAS BRUT 1CT X 1500ML</c:v>
                </c:pt>
                <c:pt idx="7">
                  <c:v>CHAMPAGNE NICOLAS BIO NAT 2017 1CT X 750ML</c:v>
                </c:pt>
                <c:pt idx="8">
                  <c:v>1/2 CHAMP NICOLAS ROSE 1E C BS 1CT X 375ML</c:v>
                </c:pt>
                <c:pt idx="9">
                  <c:v>CHAMPAGNE NICOLAS BLC DE NOIRS 1CT X 750ML</c:v>
                </c:pt>
                <c:pt idx="10">
                  <c:v>1/2 CHAMP NICOLAS BLC/BLC BS 1CT X 375ML</c:v>
                </c:pt>
              </c:strCache>
            </c:strRef>
          </c:cat>
          <c:val>
            <c:numRef>
              <c:f>Sheet1!$B$2:$B$12</c:f>
              <c:numCache>
                <c:formatCode>General</c:formatCode>
                <c:ptCount val="11"/>
                <c:pt idx="0">
                  <c:v>21.92</c:v>
                </c:pt>
                <c:pt idx="1">
                  <c:v>38.979999999999997</c:v>
                </c:pt>
                <c:pt idx="2">
                  <c:v>37.26</c:v>
                </c:pt>
                <c:pt idx="3">
                  <c:v>25.01</c:v>
                </c:pt>
                <c:pt idx="4">
                  <c:v>22.3</c:v>
                </c:pt>
                <c:pt idx="5">
                  <c:v>39.56</c:v>
                </c:pt>
                <c:pt idx="6">
                  <c:v>46.52</c:v>
                </c:pt>
                <c:pt idx="7">
                  <c:v>45.45</c:v>
                </c:pt>
                <c:pt idx="8">
                  <c:v>23.74</c:v>
                </c:pt>
                <c:pt idx="9">
                  <c:v>36.67</c:v>
                </c:pt>
                <c:pt idx="10">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CB3-4ABB-911B-4295DEC98AF7}"/>
                </c:ext>
              </c:extLst>
            </c:dLbl>
            <c:dLbl>
              <c:idx val="1"/>
              <c:tx>
                <c:rich>
                  <a:bodyPr/>
                  <a:lstStyle/>
                  <a:p>
                    <a:r>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CB3-4ABB-911B-4295DEC98AF7}"/>
                </c:ext>
              </c:extLst>
            </c:dLbl>
            <c:dLbl>
              <c:idx val="2"/>
              <c:tx>
                <c:rich>
                  <a:bodyPr/>
                  <a:lstStyle/>
                  <a:p>
                    <a:r>
                      <a:t>25.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CB3-4ABB-911B-4295DEC98AF7}"/>
                </c:ext>
              </c:extLst>
            </c:dLbl>
            <c:dLbl>
              <c:idx val="3"/>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CB3-4ABB-911B-4295DEC98AF7}"/>
                </c:ext>
              </c:extLst>
            </c:dLbl>
            <c:dLbl>
              <c:idx val="4"/>
              <c:tx>
                <c:rich>
                  <a:bodyPr/>
                  <a:lstStyle/>
                  <a:p>
                    <a:r>
                      <a:t>4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CB3-4ABB-911B-4295DEC98AF7}"/>
                </c:ext>
              </c:extLst>
            </c:dLbl>
            <c:dLbl>
              <c:idx val="5"/>
              <c:tx>
                <c:rich>
                  <a:bodyPr/>
                  <a:lstStyle/>
                  <a:p>
                    <a:r>
                      <a:t>4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CB3-4ABB-911B-4295DEC98AF7}"/>
                </c:ext>
              </c:extLst>
            </c:dLbl>
            <c:dLbl>
              <c:idx val="6"/>
              <c:tx>
                <c:rich>
                  <a:bodyPr/>
                  <a:lstStyle/>
                  <a:p>
                    <a:r>
                      <a:t>3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CB3-4ABB-911B-4295DEC98AF7}"/>
                </c:ext>
              </c:extLst>
            </c:dLbl>
            <c:dLbl>
              <c:idx val="7"/>
              <c:tx>
                <c:rich>
                  <a:bodyPr/>
                  <a:lstStyle/>
                  <a:p>
                    <a:r>
                      <a:t>2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CB3-4ABB-911B-4295DEC98AF7}"/>
                </c:ext>
              </c:extLst>
            </c:dLbl>
            <c:dLbl>
              <c:idx val="8"/>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CB3-4ABB-911B-4295DEC98AF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CHAMPAGNE NICOLAS ROSE 1ERE CU 1CT X 750ML</c:v>
                </c:pt>
                <c:pt idx="6">
                  <c:v>CHAMPAGNE NICOLAS BLC DE NOIRS 1CT X 750ML</c:v>
                </c:pt>
                <c:pt idx="7">
                  <c:v>1/2 CHAMPAGNE NICOLAS 1ERE CUV 1CT X 375ML</c:v>
                </c:pt>
                <c:pt idx="8">
                  <c:v>1/2 CHAMP NICOLAS BLC/BLC BS 1CT X 375ML</c:v>
                </c:pt>
              </c:strCache>
            </c:strRef>
          </c:cat>
          <c:val>
            <c:numRef>
              <c:f>Sheet1!$B$2:$B$10</c:f>
              <c:numCache>
                <c:formatCode>General</c:formatCode>
                <c:ptCount val="9"/>
                <c:pt idx="0">
                  <c:v>21.93</c:v>
                </c:pt>
                <c:pt idx="1">
                  <c:v>39.08</c:v>
                </c:pt>
                <c:pt idx="2">
                  <c:v>25.02</c:v>
                </c:pt>
                <c:pt idx="3">
                  <c:v>36.89</c:v>
                </c:pt>
                <c:pt idx="4">
                  <c:v>46.93</c:v>
                </c:pt>
                <c:pt idx="5">
                  <c:v>45.18</c:v>
                </c:pt>
                <c:pt idx="6">
                  <c:v>37.299999999999997</c:v>
                </c:pt>
                <c:pt idx="7">
                  <c:v>23.37</c:v>
                </c:pt>
                <c:pt idx="8">
                  <c:v>24.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B60-4E0C-840D-7AB1A1857E40}"/>
                </c:ext>
              </c:extLst>
            </c:dLbl>
            <c:dLbl>
              <c:idx val="1"/>
              <c:tx>
                <c:rich>
                  <a:bodyPr/>
                  <a:lstStyle/>
                  <a:p>
                    <a:r>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B60-4E0C-840D-7AB1A1857E40}"/>
                </c:ext>
              </c:extLst>
            </c:dLbl>
            <c:dLbl>
              <c:idx val="2"/>
              <c:tx>
                <c:rich>
                  <a:bodyPr/>
                  <a:lstStyle/>
                  <a:p>
                    <a:r>
                      <a:t>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B60-4E0C-840D-7AB1A1857E40}"/>
                </c:ext>
              </c:extLst>
            </c:dLbl>
            <c:dLbl>
              <c:idx val="3"/>
              <c:tx>
                <c:rich>
                  <a:bodyPr/>
                  <a:lstStyle/>
                  <a:p>
                    <a:r>
                      <a:t>3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B60-4E0C-840D-7AB1A1857E40}"/>
                </c:ext>
              </c:extLst>
            </c:dLbl>
            <c:dLbl>
              <c:idx val="4"/>
              <c:tx>
                <c:rich>
                  <a:bodyPr/>
                  <a:lstStyle/>
                  <a:p>
                    <a:r>
                      <a:t>4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B60-4E0C-840D-7AB1A1857E40}"/>
                </c:ext>
              </c:extLst>
            </c:dLbl>
            <c:dLbl>
              <c:idx val="5"/>
              <c:tx>
                <c:rich>
                  <a:bodyPr/>
                  <a:lstStyle/>
                  <a:p>
                    <a:r>
                      <a:t>4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B60-4E0C-840D-7AB1A1857E4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strCache>
            </c:strRef>
          </c:cat>
          <c:val>
            <c:numRef>
              <c:f>Sheet1!$B$2:$B$7</c:f>
              <c:numCache>
                <c:formatCode>General</c:formatCode>
                <c:ptCount val="6"/>
                <c:pt idx="0">
                  <c:v>21.94</c:v>
                </c:pt>
                <c:pt idx="1">
                  <c:v>39.590000000000003</c:v>
                </c:pt>
                <c:pt idx="2">
                  <c:v>25.1</c:v>
                </c:pt>
                <c:pt idx="3">
                  <c:v>36.22</c:v>
                </c:pt>
                <c:pt idx="4">
                  <c:v>41.44</c:v>
                </c:pt>
                <c:pt idx="5">
                  <c:v>4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8A3-40D7-BFA9-C78EA1B620A7}"/>
                </c:ext>
              </c:extLst>
            </c:dLbl>
            <c:dLbl>
              <c:idx val="1"/>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8A3-40D7-BFA9-C78EA1B620A7}"/>
                </c:ext>
              </c:extLst>
            </c:dLbl>
            <c:dLbl>
              <c:idx val="2"/>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8A3-40D7-BFA9-C78EA1B620A7}"/>
                </c:ext>
              </c:extLst>
            </c:dLbl>
            <c:dLbl>
              <c:idx val="3"/>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8A3-40D7-BFA9-C78EA1B620A7}"/>
                </c:ext>
              </c:extLst>
            </c:dLbl>
            <c:dLbl>
              <c:idx val="4"/>
              <c:tx>
                <c:rich>
                  <a:bodyPr/>
                  <a:lstStyle/>
                  <a:p>
                    <a:r>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8A3-40D7-BFA9-C78EA1B620A7}"/>
                </c:ext>
              </c:extLst>
            </c:dLbl>
            <c:dLbl>
              <c:idx val="5"/>
              <c:tx>
                <c:rich>
                  <a:bodyPr/>
                  <a:lstStyle/>
                  <a:p>
                    <a:r>
                      <a:t>46.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8A3-40D7-BFA9-C78EA1B620A7}"/>
                </c:ext>
              </c:extLst>
            </c:dLbl>
            <c:dLbl>
              <c:idx val="6"/>
              <c:tx>
                <c:rich>
                  <a:bodyPr/>
                  <a:lstStyle/>
                  <a:p>
                    <a:r>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8A3-40D7-BFA9-C78EA1B620A7}"/>
                </c:ext>
              </c:extLst>
            </c:dLbl>
            <c:dLbl>
              <c:idx val="7"/>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8A3-40D7-BFA9-C78EA1B620A7}"/>
                </c:ext>
              </c:extLst>
            </c:dLbl>
            <c:dLbl>
              <c:idx val="8"/>
              <c:tx>
                <c:rich>
                  <a:bodyPr/>
                  <a:lstStyle/>
                  <a:p>
                    <a:r>
                      <a:t>2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8A3-40D7-BFA9-C78EA1B620A7}"/>
                </c:ext>
              </c:extLst>
            </c:dLbl>
            <c:dLbl>
              <c:idx val="9"/>
              <c:tx>
                <c:rich>
                  <a:bodyPr/>
                  <a:lstStyle/>
                  <a:p>
                    <a:r>
                      <a:t>4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8A3-40D7-BFA9-C78EA1B620A7}"/>
                </c:ext>
              </c:extLst>
            </c:dLbl>
            <c:dLbl>
              <c:idx val="10"/>
              <c:tx>
                <c:rich>
                  <a:bodyPr/>
                  <a:lstStyle/>
                  <a:p>
                    <a:r>
                      <a:t>23.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8A3-40D7-BFA9-C78EA1B620A7}"/>
                </c:ext>
              </c:extLst>
            </c:dLbl>
            <c:dLbl>
              <c:idx val="11"/>
              <c:tx>
                <c:rich>
                  <a:bodyPr/>
                  <a:lstStyle/>
                  <a:p>
                    <a:r>
                      <a:t>88.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8A3-40D7-BFA9-C78EA1B620A7}"/>
                </c:ext>
              </c:extLst>
            </c:dLbl>
            <c:dLbl>
              <c:idx val="12"/>
              <c:tx>
                <c:rich>
                  <a:bodyPr/>
                  <a:lstStyle/>
                  <a:p>
                    <a:r>
                      <a:t>74.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8A3-40D7-BFA9-C78EA1B620A7}"/>
                </c:ext>
              </c:extLst>
            </c:dLbl>
            <c:dLbl>
              <c:idx val="13"/>
              <c:tx>
                <c:rich>
                  <a:bodyPr/>
                  <a:lstStyle/>
                  <a:p>
                    <a:r>
                      <a:t>3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8A3-40D7-BFA9-C78EA1B620A7}"/>
                </c:ext>
              </c:extLst>
            </c:dLbl>
            <c:dLbl>
              <c:idx val="14"/>
              <c:tx>
                <c:rich>
                  <a:bodyPr/>
                  <a:lstStyle/>
                  <a:p>
                    <a:r>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8A3-40D7-BFA9-C78EA1B620A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2</c:v>
                </c:pt>
                <c:pt idx="1">
                  <c:v>39</c:v>
                </c:pt>
                <c:pt idx="2">
                  <c:v>25</c:v>
                </c:pt>
                <c:pt idx="3">
                  <c:v>36.99</c:v>
                </c:pt>
                <c:pt idx="4">
                  <c:v>41.37</c:v>
                </c:pt>
                <c:pt idx="5">
                  <c:v>46.02</c:v>
                </c:pt>
                <c:pt idx="6">
                  <c:v>22.24</c:v>
                </c:pt>
                <c:pt idx="7">
                  <c:v>37.090000000000003</c:v>
                </c:pt>
                <c:pt idx="8">
                  <c:v>23.95</c:v>
                </c:pt>
                <c:pt idx="9">
                  <c:v>46.62</c:v>
                </c:pt>
                <c:pt idx="10">
                  <c:v>23.89</c:v>
                </c:pt>
                <c:pt idx="11">
                  <c:v>88.11</c:v>
                </c:pt>
                <c:pt idx="12">
                  <c:v>74.069999999999993</c:v>
                </c:pt>
                <c:pt idx="13">
                  <c:v>36.11</c:v>
                </c:pt>
                <c:pt idx="14">
                  <c:v>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E14-4511-ACCB-AE7CA55813F5}"/>
                </c:ext>
              </c:extLst>
            </c:dLbl>
            <c:dLbl>
              <c:idx val="1"/>
              <c:tx>
                <c:rich>
                  <a:bodyPr/>
                  <a:lstStyle/>
                  <a:p>
                    <a:r>
                      <a:t>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E14-4511-ACCB-AE7CA55813F5}"/>
                </c:ext>
              </c:extLst>
            </c:dLbl>
            <c:dLbl>
              <c:idx val="2"/>
              <c:tx>
                <c:rich>
                  <a:bodyPr/>
                  <a:lstStyle/>
                  <a:p>
                    <a:r>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E14-4511-ACCB-AE7CA55813F5}"/>
                </c:ext>
              </c:extLst>
            </c:dLbl>
            <c:dLbl>
              <c:idx val="3"/>
              <c:tx>
                <c:rich>
                  <a:bodyPr/>
                  <a:lstStyle/>
                  <a:p>
                    <a:r>
                      <a:t>2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E14-4511-ACCB-AE7CA55813F5}"/>
                </c:ext>
              </c:extLst>
            </c:dLbl>
            <c:dLbl>
              <c:idx val="4"/>
              <c:tx>
                <c:rich>
                  <a:bodyPr/>
                  <a:lstStyle/>
                  <a:p>
                    <a:r>
                      <a:t>4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E14-4511-ACCB-AE7CA55813F5}"/>
                </c:ext>
              </c:extLst>
            </c:dLbl>
            <c:dLbl>
              <c:idx val="5"/>
              <c:tx>
                <c:rich>
                  <a:bodyPr/>
                  <a:lstStyle/>
                  <a:p>
                    <a:r>
                      <a:t>4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E14-4511-ACCB-AE7CA55813F5}"/>
                </c:ext>
              </c:extLst>
            </c:dLbl>
            <c:dLbl>
              <c:idx val="6"/>
              <c:tx>
                <c:rich>
                  <a:bodyPr/>
                  <a:lstStyle/>
                  <a:p>
                    <a:r>
                      <a:t>2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E14-4511-ACCB-AE7CA55813F5}"/>
                </c:ext>
              </c:extLst>
            </c:dLbl>
            <c:dLbl>
              <c:idx val="7"/>
              <c:tx>
                <c:rich>
                  <a:bodyPr/>
                  <a:lstStyle/>
                  <a:p>
                    <a:r>
                      <a:t>77.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E14-4511-ACCB-AE7CA55813F5}"/>
                </c:ext>
              </c:extLst>
            </c:dLbl>
            <c:dLbl>
              <c:idx val="8"/>
              <c:tx>
                <c:rich>
                  <a:bodyPr/>
                  <a:lstStyle/>
                  <a:p>
                    <a:r>
                      <a:t>38.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E14-4511-ACCB-AE7CA55813F5}"/>
                </c:ext>
              </c:extLst>
            </c:dLbl>
            <c:dLbl>
              <c:idx val="9"/>
              <c:tx>
                <c:rich>
                  <a:bodyPr/>
                  <a:lstStyle/>
                  <a:p>
                    <a:r>
                      <a:t>2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E14-4511-ACCB-AE7CA55813F5}"/>
                </c:ext>
              </c:extLst>
            </c:dLbl>
            <c:dLbl>
              <c:idx val="10"/>
              <c:tx>
                <c:rich>
                  <a:bodyPr/>
                  <a:lstStyle/>
                  <a:p>
                    <a:r>
                      <a:t>4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E14-4511-ACCB-AE7CA55813F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MG CHAMPAGNE NICOLAS BLC/BL BS 1CT X 1500ML</c:v>
                </c:pt>
                <c:pt idx="8">
                  <c:v>CHAMPAGNE NICOLAS BLC DE NOIRS 1CT X 750ML</c:v>
                </c:pt>
                <c:pt idx="9">
                  <c:v>1/2 CHAMP NICOLAS BLC/BLC BS 1CT X 375ML</c:v>
                </c:pt>
                <c:pt idx="10">
                  <c:v>CHAMPAGNE NICOLAS BIO NAT 2017 1CT X 750ML</c:v>
                </c:pt>
              </c:strCache>
            </c:strRef>
          </c:cat>
          <c:val>
            <c:numRef>
              <c:f>Sheet1!$B$2:$B$12</c:f>
              <c:numCache>
                <c:formatCode>General</c:formatCode>
                <c:ptCount val="11"/>
                <c:pt idx="0">
                  <c:v>21.92</c:v>
                </c:pt>
                <c:pt idx="1">
                  <c:v>39.200000000000003</c:v>
                </c:pt>
                <c:pt idx="2">
                  <c:v>37.29</c:v>
                </c:pt>
                <c:pt idx="3">
                  <c:v>25.16</c:v>
                </c:pt>
                <c:pt idx="4">
                  <c:v>40.729999999999997</c:v>
                </c:pt>
                <c:pt idx="5">
                  <c:v>44.86</c:v>
                </c:pt>
                <c:pt idx="6">
                  <c:v>22.42</c:v>
                </c:pt>
                <c:pt idx="7">
                  <c:v>77.790000000000006</c:v>
                </c:pt>
                <c:pt idx="8">
                  <c:v>38.880000000000003</c:v>
                </c:pt>
                <c:pt idx="9">
                  <c:v>24.38</c:v>
                </c:pt>
                <c:pt idx="10">
                  <c:v>4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0E0-4270-B0F8-FA47BEA6E019}"/>
                </c:ext>
              </c:extLst>
            </c:dLbl>
            <c:dLbl>
              <c:idx val="1"/>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0E0-4270-B0F8-FA47BEA6E019}"/>
                </c:ext>
              </c:extLst>
            </c:dLbl>
            <c:dLbl>
              <c:idx val="2"/>
              <c:tx>
                <c:rich>
                  <a:bodyPr/>
                  <a:lstStyle/>
                  <a:p>
                    <a:r>
                      <a:t>39.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0E0-4270-B0F8-FA47BEA6E019}"/>
                </c:ext>
              </c:extLst>
            </c:dLbl>
            <c:dLbl>
              <c:idx val="3"/>
              <c:tx>
                <c:rich>
                  <a:bodyPr/>
                  <a:lstStyle/>
                  <a:p>
                    <a:r>
                      <a:t>2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0E0-4270-B0F8-FA47BEA6E019}"/>
                </c:ext>
              </c:extLst>
            </c:dLbl>
            <c:dLbl>
              <c:idx val="4"/>
              <c:tx>
                <c:rich>
                  <a:bodyPr/>
                  <a:lstStyle/>
                  <a:p>
                    <a:r>
                      <a:t>42.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0E0-4270-B0F8-FA47BEA6E019}"/>
                </c:ext>
              </c:extLst>
            </c:dLbl>
            <c:dLbl>
              <c:idx val="5"/>
              <c:tx>
                <c:rich>
                  <a:bodyPr/>
                  <a:lstStyle/>
                  <a:p>
                    <a:r>
                      <a:t>4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0E0-4270-B0F8-FA47BEA6E019}"/>
                </c:ext>
              </c:extLst>
            </c:dLbl>
            <c:dLbl>
              <c:idx val="6"/>
              <c:tx>
                <c:rich>
                  <a:bodyPr/>
                  <a:lstStyle/>
                  <a:p>
                    <a:r>
                      <a:t>3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0E0-4270-B0F8-FA47BEA6E01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HAMPAGNE E.NICOLAS BRUT 1CT X 750ML</c:v>
                </c:pt>
                <c:pt idx="1">
                  <c:v>CHAMPAGNE NICOLAS 1ERE CUVEE 1CT X 750ML</c:v>
                </c:pt>
                <c:pt idx="2">
                  <c:v>CHAMPAGNE NICOLAS BLC/BLC BS 1CT X 750ML</c:v>
                </c:pt>
                <c:pt idx="3">
                  <c:v>CHAMPAGNE E.NICOLAS ROSE 1CT X 750ML</c:v>
                </c:pt>
                <c:pt idx="4">
                  <c:v>CHAMPAGNE NICOLAS ROSE 1ERE CU 1CT X 750ML</c:v>
                </c:pt>
                <c:pt idx="5">
                  <c:v>MG CHAMPAGNE E.NICOLAS BRUT 1CT X 1500ML</c:v>
                </c:pt>
                <c:pt idx="6">
                  <c:v>CHAMPAGNE NICOLAS BLC DE NOIRS 1CT X 750ML</c:v>
                </c:pt>
              </c:strCache>
            </c:strRef>
          </c:cat>
          <c:val>
            <c:numRef>
              <c:f>Sheet1!$B$2:$B$8</c:f>
              <c:numCache>
                <c:formatCode>General</c:formatCode>
                <c:ptCount val="7"/>
                <c:pt idx="0">
                  <c:v>21.94</c:v>
                </c:pt>
                <c:pt idx="1">
                  <c:v>37.090000000000003</c:v>
                </c:pt>
                <c:pt idx="2">
                  <c:v>39.229999999999997</c:v>
                </c:pt>
                <c:pt idx="3">
                  <c:v>25.28</c:v>
                </c:pt>
                <c:pt idx="4">
                  <c:v>42.73</c:v>
                </c:pt>
                <c:pt idx="5">
                  <c:v>43.96</c:v>
                </c:pt>
                <c:pt idx="6">
                  <c:v>3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43B-42FD-A01F-83B6B843564A}"/>
                </c:ext>
              </c:extLst>
            </c:dLbl>
            <c:dLbl>
              <c:idx val="1"/>
              <c:tx>
                <c:rich>
                  <a:bodyPr/>
                  <a:lstStyle/>
                  <a:p>
                    <a:r>
                      <a:t>25.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43B-42FD-A01F-83B6B843564A}"/>
                </c:ext>
              </c:extLst>
            </c:dLbl>
            <c:dLbl>
              <c:idx val="2"/>
              <c:tx>
                <c:rich>
                  <a:bodyPr/>
                  <a:lstStyle/>
                  <a:p>
                    <a:r>
                      <a:t>38.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43B-42FD-A01F-83B6B843564A}"/>
                </c:ext>
              </c:extLst>
            </c:dLbl>
            <c:dLbl>
              <c:idx val="3"/>
              <c:tx>
                <c:rich>
                  <a:bodyPr/>
                  <a:lstStyle/>
                  <a:p>
                    <a:r>
                      <a:t>3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43B-42FD-A01F-83B6B843564A}"/>
                </c:ext>
              </c:extLst>
            </c:dLbl>
            <c:dLbl>
              <c:idx val="4"/>
              <c:tx>
                <c:rich>
                  <a:bodyPr/>
                  <a:lstStyle/>
                  <a:p>
                    <a:r>
                      <a:t>3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43B-42FD-A01F-83B6B843564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AMPAGNE E.NICOLAS BRUT 1CT X 750ML</c:v>
                </c:pt>
                <c:pt idx="1">
                  <c:v>CHAMPAGNE E.NICOLAS ROSE 1CT X 750ML</c:v>
                </c:pt>
                <c:pt idx="2">
                  <c:v>CHAMPAGNE NICOLAS BLC/BLC BS 1CT X 750ML</c:v>
                </c:pt>
                <c:pt idx="3">
                  <c:v>CHAMPAGNE NICOLAS 1ERE CUVEE 1CT X 750ML</c:v>
                </c:pt>
                <c:pt idx="4">
                  <c:v>CHAMPAGNE NICOLAS ROSE 1ERE CU 1CT X 750ML</c:v>
                </c:pt>
              </c:strCache>
            </c:strRef>
          </c:cat>
          <c:val>
            <c:numRef>
              <c:f>Sheet1!$B$2:$B$6</c:f>
              <c:numCache>
                <c:formatCode>General</c:formatCode>
                <c:ptCount val="5"/>
                <c:pt idx="0">
                  <c:v>21.91</c:v>
                </c:pt>
                <c:pt idx="1">
                  <c:v>25.19</c:v>
                </c:pt>
                <c:pt idx="2">
                  <c:v>38.74</c:v>
                </c:pt>
                <c:pt idx="3">
                  <c:v>36.64</c:v>
                </c:pt>
                <c:pt idx="4">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F91-47C1-B8DB-87190F471565}"/>
                </c:ext>
              </c:extLst>
            </c:dLbl>
            <c:dLbl>
              <c:idx val="1"/>
              <c:tx>
                <c:rich>
                  <a:bodyPr/>
                  <a:lstStyle/>
                  <a:p>
                    <a:r>
                      <a:rPr lang="en-US"/>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F91-47C1-B8DB-87190F471565}"/>
                </c:ext>
              </c:extLst>
            </c:dLbl>
            <c:dLbl>
              <c:idx val="2"/>
              <c:tx>
                <c:rich>
                  <a:bodyPr/>
                  <a:lstStyle/>
                  <a:p>
                    <a:r>
                      <a:rPr lang="en-US"/>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F91-47C1-B8DB-87190F471565}"/>
                </c:ext>
              </c:extLst>
            </c:dLbl>
            <c:dLbl>
              <c:idx val="3"/>
              <c:tx>
                <c:rich>
                  <a:bodyPr/>
                  <a:lstStyle/>
                  <a:p>
                    <a:r>
                      <a:rPr lang="en-US"/>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F91-47C1-B8DB-87190F471565}"/>
                </c:ext>
              </c:extLst>
            </c:dLbl>
            <c:dLbl>
              <c:idx val="4"/>
              <c:tx>
                <c:rich>
                  <a:bodyPr/>
                  <a:lstStyle/>
                  <a:p>
                    <a:r>
                      <a:rPr lang="en-US"/>
                      <a:t>41.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F91-47C1-B8DB-87190F471565}"/>
                </c:ext>
              </c:extLst>
            </c:dLbl>
            <c:dLbl>
              <c:idx val="5"/>
              <c:tx>
                <c:rich>
                  <a:bodyPr/>
                  <a:lstStyle/>
                  <a:p>
                    <a:r>
                      <a:rPr lang="en-US"/>
                      <a:t>46.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F91-47C1-B8DB-87190F471565}"/>
                </c:ext>
              </c:extLst>
            </c:dLbl>
            <c:dLbl>
              <c:idx val="6"/>
              <c:tx>
                <c:rich>
                  <a:bodyPr/>
                  <a:lstStyle/>
                  <a:p>
                    <a:r>
                      <a:rPr lang="en-US"/>
                      <a:t>2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F91-47C1-B8DB-87190F471565}"/>
                </c:ext>
              </c:extLst>
            </c:dLbl>
            <c:dLbl>
              <c:idx val="7"/>
              <c:tx>
                <c:rich>
                  <a:bodyPr/>
                  <a:lstStyle/>
                  <a:p>
                    <a:r>
                      <a:rPr lang="en-US"/>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F91-47C1-B8DB-87190F471565}"/>
                </c:ext>
              </c:extLst>
            </c:dLbl>
            <c:dLbl>
              <c:idx val="8"/>
              <c:tx>
                <c:rich>
                  <a:bodyPr/>
                  <a:lstStyle/>
                  <a:p>
                    <a:r>
                      <a:rPr lang="en-US"/>
                      <a:t>23.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F91-47C1-B8DB-87190F471565}"/>
                </c:ext>
              </c:extLst>
            </c:dLbl>
            <c:dLbl>
              <c:idx val="9"/>
              <c:tx>
                <c:rich>
                  <a:bodyPr/>
                  <a:lstStyle/>
                  <a:p>
                    <a:r>
                      <a:rPr lang="en-US"/>
                      <a:t>46.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F91-47C1-B8DB-87190F471565}"/>
                </c:ext>
              </c:extLst>
            </c:dLbl>
            <c:dLbl>
              <c:idx val="10"/>
              <c:tx>
                <c:rich>
                  <a:bodyPr/>
                  <a:lstStyle/>
                  <a:p>
                    <a:r>
                      <a:rPr lang="en-US"/>
                      <a:t>23.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2F91-47C1-B8DB-87190F471565}"/>
                </c:ext>
              </c:extLst>
            </c:dLbl>
            <c:dLbl>
              <c:idx val="11"/>
              <c:tx>
                <c:rich>
                  <a:bodyPr/>
                  <a:lstStyle/>
                  <a:p>
                    <a:r>
                      <a:rPr lang="en-US"/>
                      <a:t>88.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F91-47C1-B8DB-87190F471565}"/>
                </c:ext>
              </c:extLst>
            </c:dLbl>
            <c:dLbl>
              <c:idx val="12"/>
              <c:tx>
                <c:rich>
                  <a:bodyPr/>
                  <a:lstStyle/>
                  <a:p>
                    <a:r>
                      <a:rPr lang="en-US"/>
                      <a:t>74.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F91-47C1-B8DB-87190F471565}"/>
                </c:ext>
              </c:extLst>
            </c:dLbl>
            <c:dLbl>
              <c:idx val="13"/>
              <c:tx>
                <c:rich>
                  <a:bodyPr/>
                  <a:lstStyle/>
                  <a:p>
                    <a:r>
                      <a:rPr lang="en-US"/>
                      <a:t>3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F91-47C1-B8DB-87190F471565}"/>
                </c:ext>
              </c:extLst>
            </c:dLbl>
            <c:dLbl>
              <c:idx val="14"/>
              <c:tx>
                <c:rich>
                  <a:bodyPr/>
                  <a:lstStyle/>
                  <a:p>
                    <a:r>
                      <a:rPr lang="en-US"/>
                      <a:t>4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F91-47C1-B8DB-87190F47156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1/2 CHAMP NICOLAS ROSE 1E C BS 1CT X 375ML</c:v>
                </c:pt>
                <c:pt idx="9">
                  <c:v>CHAMPAGNE NICOLAS BIO NAT 2017 1CT X 750ML</c:v>
                </c:pt>
                <c:pt idx="10">
                  <c:v>1/2 CHAMP NICOLAS BLC/BLC BS 1CT X 375ML</c:v>
                </c:pt>
                <c:pt idx="11">
                  <c:v>MG CHAMPAGNE NICOLAS BLC/BL BS 1CT X 1500ML</c:v>
                </c:pt>
                <c:pt idx="12">
                  <c:v>MG CHAMPAGNE NICOLAS 1ERE CUVE 1CT X 1500ML</c:v>
                </c:pt>
                <c:pt idx="13">
                  <c:v>CHAMPAGNE NICOLAS 1ER CRU BS 1CT X 750ML</c:v>
                </c:pt>
                <c:pt idx="14">
                  <c:v>CHAMPAGNE NICOLAS ROSE 1ERE ET 1CT X 750ML</c:v>
                </c:pt>
              </c:strCache>
            </c:strRef>
          </c:cat>
          <c:val>
            <c:numRef>
              <c:f>Sheet1!$B$2:$B$16</c:f>
              <c:numCache>
                <c:formatCode>General</c:formatCode>
                <c:ptCount val="15"/>
                <c:pt idx="0">
                  <c:v>21.92</c:v>
                </c:pt>
                <c:pt idx="1">
                  <c:v>39</c:v>
                </c:pt>
                <c:pt idx="2">
                  <c:v>25</c:v>
                </c:pt>
                <c:pt idx="3">
                  <c:v>36.99</c:v>
                </c:pt>
                <c:pt idx="4">
                  <c:v>41.37</c:v>
                </c:pt>
                <c:pt idx="5">
                  <c:v>46.02</c:v>
                </c:pt>
                <c:pt idx="6">
                  <c:v>22.24</c:v>
                </c:pt>
                <c:pt idx="7">
                  <c:v>37.090000000000003</c:v>
                </c:pt>
                <c:pt idx="8">
                  <c:v>23.95</c:v>
                </c:pt>
                <c:pt idx="9">
                  <c:v>46.62</c:v>
                </c:pt>
                <c:pt idx="10">
                  <c:v>23.89</c:v>
                </c:pt>
                <c:pt idx="11">
                  <c:v>88.11</c:v>
                </c:pt>
                <c:pt idx="12">
                  <c:v>74.069999999999993</c:v>
                </c:pt>
                <c:pt idx="13">
                  <c:v>36.11</c:v>
                </c:pt>
                <c:pt idx="14">
                  <c:v>4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E46-49F4-A05D-AEF39A88A973}"/>
                </c:ext>
              </c:extLst>
            </c:dLbl>
            <c:dLbl>
              <c:idx val="1"/>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E46-49F4-A05D-AEF39A88A973}"/>
                </c:ext>
              </c:extLst>
            </c:dLbl>
            <c:dLbl>
              <c:idx val="2"/>
              <c:tx>
                <c:rich>
                  <a:bodyPr/>
                  <a:lstStyle/>
                  <a:p>
                    <a:r>
                      <a:t>3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E46-49F4-A05D-AEF39A88A97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AMPAGNE E.NICOLAS BRUT 1CT X 750ML</c:v>
                </c:pt>
                <c:pt idx="1">
                  <c:v>CHAMPAGNE E.NICOLAS ROSE 1CT X 750ML</c:v>
                </c:pt>
                <c:pt idx="2">
                  <c:v>CHAMPAGNE NICOLAS BLC/BLC BS 1CT X 750ML</c:v>
                </c:pt>
              </c:strCache>
            </c:strRef>
          </c:cat>
          <c:val>
            <c:numRef>
              <c:f>Sheet1!$B$2:$B$4</c:f>
              <c:numCache>
                <c:formatCode>General</c:formatCode>
                <c:ptCount val="3"/>
                <c:pt idx="0">
                  <c:v>21.4</c:v>
                </c:pt>
                <c:pt idx="1">
                  <c:v>24.99</c:v>
                </c:pt>
                <c:pt idx="2">
                  <c:v>3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BB4-436B-90FD-E7F2125C2164}"/>
                </c:ext>
              </c:extLst>
            </c:dLbl>
            <c:dLbl>
              <c:idx val="1"/>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BB4-436B-90FD-E7F2125C2164}"/>
                </c:ext>
              </c:extLst>
            </c:dLbl>
            <c:dLbl>
              <c:idx val="2"/>
              <c:tx>
                <c:rich>
                  <a:bodyPr/>
                  <a:lstStyle/>
                  <a:p>
                    <a:r>
                      <a:t>36.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BB4-436B-90FD-E7F2125C2164}"/>
                </c:ext>
              </c:extLst>
            </c:dLbl>
            <c:dLbl>
              <c:idx val="3"/>
              <c:tx>
                <c:rich>
                  <a:bodyPr/>
                  <a:lstStyle/>
                  <a:p>
                    <a:r>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BB4-436B-90FD-E7F2125C2164}"/>
                </c:ext>
              </c:extLst>
            </c:dLbl>
            <c:dLbl>
              <c:idx val="4"/>
              <c:tx>
                <c:rich>
                  <a:bodyPr/>
                  <a:lstStyle/>
                  <a:p>
                    <a:r>
                      <a:t>40.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BB4-436B-90FD-E7F2125C2164}"/>
                </c:ext>
              </c:extLst>
            </c:dLbl>
            <c:dLbl>
              <c:idx val="5"/>
              <c:tx>
                <c:rich>
                  <a:bodyPr/>
                  <a:lstStyle/>
                  <a:p>
                    <a:r>
                      <a:t>4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BB4-436B-90FD-E7F2125C2164}"/>
                </c:ext>
              </c:extLst>
            </c:dLbl>
            <c:dLbl>
              <c:idx val="6"/>
              <c:tx>
                <c:rich>
                  <a:bodyPr/>
                  <a:lstStyle/>
                  <a:p>
                    <a:r>
                      <a:t>36.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BB4-436B-90FD-E7F2125C2164}"/>
                </c:ext>
              </c:extLst>
            </c:dLbl>
            <c:dLbl>
              <c:idx val="7"/>
              <c:tx>
                <c:rich>
                  <a:bodyPr/>
                  <a:lstStyle/>
                  <a:p>
                    <a:r>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BB4-436B-90FD-E7F2125C2164}"/>
                </c:ext>
              </c:extLst>
            </c:dLbl>
            <c:dLbl>
              <c:idx val="8"/>
              <c:tx>
                <c:rich>
                  <a:bodyPr/>
                  <a:lstStyle/>
                  <a:p>
                    <a:r>
                      <a:t>2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BB4-436B-90FD-E7F2125C2164}"/>
                </c:ext>
              </c:extLst>
            </c:dLbl>
            <c:dLbl>
              <c:idx val="9"/>
              <c:tx>
                <c:rich>
                  <a:bodyPr/>
                  <a:lstStyle/>
                  <a:p>
                    <a:r>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BB4-436B-90FD-E7F2125C2164}"/>
                </c:ext>
              </c:extLst>
            </c:dLbl>
            <c:dLbl>
              <c:idx val="10"/>
              <c:tx>
                <c:rich>
                  <a:bodyPr/>
                  <a:lstStyle/>
                  <a:p>
                    <a:r>
                      <a:t>87.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BB4-436B-90FD-E7F2125C2164}"/>
                </c:ext>
              </c:extLst>
            </c:dLbl>
            <c:dLbl>
              <c:idx val="11"/>
              <c:tx>
                <c:rich>
                  <a:bodyPr/>
                  <a:lstStyle/>
                  <a:p>
                    <a:r>
                      <a:t>4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BB4-436B-90FD-E7F2125C2164}"/>
                </c:ext>
              </c:extLst>
            </c:dLbl>
            <c:dLbl>
              <c:idx val="12"/>
              <c:tx>
                <c:rich>
                  <a:bodyPr/>
                  <a:lstStyle/>
                  <a:p>
                    <a:r>
                      <a:t>4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BB4-436B-90FD-E7F2125C2164}"/>
                </c:ext>
              </c:extLst>
            </c:dLbl>
            <c:dLbl>
              <c:idx val="13"/>
              <c:tx>
                <c:rich>
                  <a:bodyPr/>
                  <a:lstStyle/>
                  <a:p>
                    <a:r>
                      <a:t>66.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BB4-436B-90FD-E7F2125C216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CHAMPAGNE NICOLAS BLC DE NOIRS 1CT X 750ML</c:v>
                </c:pt>
                <c:pt idx="7">
                  <c:v>1/2 CHAMPAGNE NICOLAS 1ERE CUV 1CT X 375ML</c:v>
                </c:pt>
                <c:pt idx="8">
                  <c:v>1/2 CHAMP NICOLAS ROSE 1E C BS 1CT X 375ML</c:v>
                </c:pt>
                <c:pt idx="9">
                  <c:v>1/2 CHAMP NICOLAS BLC/BLC BS 1CT X 375ML</c:v>
                </c:pt>
                <c:pt idx="10">
                  <c:v>MG CHAMPAGNE NICOLAS BLC/BL BS 1CT X 1500ML</c:v>
                </c:pt>
                <c:pt idx="11">
                  <c:v>CHAMPAGNE NICOLAS BIO NAT 2017 1CT X 750ML</c:v>
                </c:pt>
                <c:pt idx="12">
                  <c:v>CHAMPAGNE NICOLAS ROSE 1ERE ET 1CT X 750ML</c:v>
                </c:pt>
                <c:pt idx="13">
                  <c:v>MG CHAMPAGNE NICOLAS 1ERE CUVE 1CT X 1500ML</c:v>
                </c:pt>
              </c:strCache>
            </c:strRef>
          </c:cat>
          <c:val>
            <c:numRef>
              <c:f>Sheet1!$B$2:$B$15</c:f>
              <c:numCache>
                <c:formatCode>General</c:formatCode>
                <c:ptCount val="14"/>
                <c:pt idx="0">
                  <c:v>21.87</c:v>
                </c:pt>
                <c:pt idx="1">
                  <c:v>39.090000000000003</c:v>
                </c:pt>
                <c:pt idx="2">
                  <c:v>36.840000000000003</c:v>
                </c:pt>
                <c:pt idx="3">
                  <c:v>24.94</c:v>
                </c:pt>
                <c:pt idx="4">
                  <c:v>40.71</c:v>
                </c:pt>
                <c:pt idx="5">
                  <c:v>45.39</c:v>
                </c:pt>
                <c:pt idx="6">
                  <c:v>36.86</c:v>
                </c:pt>
                <c:pt idx="7">
                  <c:v>22.31</c:v>
                </c:pt>
                <c:pt idx="8">
                  <c:v>23.91</c:v>
                </c:pt>
                <c:pt idx="9">
                  <c:v>23.86</c:v>
                </c:pt>
                <c:pt idx="10">
                  <c:v>87.71</c:v>
                </c:pt>
                <c:pt idx="11">
                  <c:v>45.04</c:v>
                </c:pt>
                <c:pt idx="12">
                  <c:v>42.54</c:v>
                </c:pt>
                <c:pt idx="13">
                  <c:v>66.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2C0-4DE9-A34F-9CB078EA4A56}"/>
                </c:ext>
              </c:extLst>
            </c:dLbl>
            <c:dLbl>
              <c:idx val="1"/>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2C0-4DE9-A34F-9CB078EA4A56}"/>
                </c:ext>
              </c:extLst>
            </c:dLbl>
            <c:dLbl>
              <c:idx val="2"/>
              <c:tx>
                <c:rich>
                  <a:bodyPr/>
                  <a:lstStyle/>
                  <a:p>
                    <a:r>
                      <a:t>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2C0-4DE9-A34F-9CB078EA4A56}"/>
                </c:ext>
              </c:extLst>
            </c:dLbl>
            <c:dLbl>
              <c:idx val="3"/>
              <c:tx>
                <c:rich>
                  <a:bodyPr/>
                  <a:lstStyle/>
                  <a:p>
                    <a:r>
                      <a:t>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2C0-4DE9-A34F-9CB078EA4A56}"/>
                </c:ext>
              </c:extLst>
            </c:dLbl>
            <c:dLbl>
              <c:idx val="4"/>
              <c:tx>
                <c:rich>
                  <a:bodyPr/>
                  <a:lstStyle/>
                  <a:p>
                    <a:r>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2C0-4DE9-A34F-9CB078EA4A56}"/>
                </c:ext>
              </c:extLst>
            </c:dLbl>
            <c:dLbl>
              <c:idx val="5"/>
              <c:tx>
                <c:rich>
                  <a:bodyPr/>
                  <a:lstStyle/>
                  <a:p>
                    <a:r>
                      <a:t>41.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2C0-4DE9-A34F-9CB078EA4A56}"/>
                </c:ext>
              </c:extLst>
            </c:dLbl>
            <c:dLbl>
              <c:idx val="6"/>
              <c:tx>
                <c:rich>
                  <a:bodyPr/>
                  <a:lstStyle/>
                  <a:p>
                    <a:r>
                      <a:t>3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2C0-4DE9-A34F-9CB078EA4A56}"/>
                </c:ext>
              </c:extLst>
            </c:dLbl>
            <c:dLbl>
              <c:idx val="7"/>
              <c:tx>
                <c:rich>
                  <a:bodyPr/>
                  <a:lstStyle/>
                  <a:p>
                    <a:r>
                      <a:t>4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2C0-4DE9-A34F-9CB078EA4A56}"/>
                </c:ext>
              </c:extLst>
            </c:dLbl>
            <c:dLbl>
              <c:idx val="8"/>
              <c:tx>
                <c:rich>
                  <a:bodyPr/>
                  <a:lstStyle/>
                  <a:p>
                    <a:r>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2C0-4DE9-A34F-9CB078EA4A56}"/>
                </c:ext>
              </c:extLst>
            </c:dLbl>
            <c:dLbl>
              <c:idx val="9"/>
              <c:tx>
                <c:rich>
                  <a:bodyPr/>
                  <a:lstStyle/>
                  <a:p>
                    <a:r>
                      <a:t>24.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2C0-4DE9-A34F-9CB078EA4A56}"/>
                </c:ext>
              </c:extLst>
            </c:dLbl>
            <c:dLbl>
              <c:idx val="10"/>
              <c:tx>
                <c:rich>
                  <a:bodyPr/>
                  <a:lstStyle/>
                  <a:p>
                    <a:r>
                      <a:t>2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2C0-4DE9-A34F-9CB078EA4A56}"/>
                </c:ext>
              </c:extLst>
            </c:dLbl>
            <c:dLbl>
              <c:idx val="11"/>
              <c:tx>
                <c:rich>
                  <a:bodyPr/>
                  <a:lstStyle/>
                  <a:p>
                    <a:r>
                      <a:t>103.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2C0-4DE9-A34F-9CB078EA4A56}"/>
                </c:ext>
              </c:extLst>
            </c:dLbl>
            <c:dLbl>
              <c:idx val="12"/>
              <c:tx>
                <c:rich>
                  <a:bodyPr/>
                  <a:lstStyle/>
                  <a:p>
                    <a:r>
                      <a:t>6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2C0-4DE9-A34F-9CB078EA4A5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ROSE 1ERE CU 1CT X 750ML</c:v>
                </c:pt>
                <c:pt idx="6">
                  <c:v>CHAMPAGNE NICOLAS BLC DE NOIRS 1CT X 750ML</c:v>
                </c:pt>
                <c:pt idx="7">
                  <c:v>MG CHAMPAGNE E.NICOLAS BRUT 1CT X 1500ML</c:v>
                </c:pt>
                <c:pt idx="8">
                  <c:v>CHAMPAGNE NICOLAS BIO NAT 2017 1CT X 750ML</c:v>
                </c:pt>
                <c:pt idx="9">
                  <c:v>1/2 CHAMP NICOLAS ROSE 1E C BS 1CT X 375ML</c:v>
                </c:pt>
                <c:pt idx="10">
                  <c:v>1/2 CHAMP NICOLAS BLC/BLC BS 1CT X 375ML</c:v>
                </c:pt>
                <c:pt idx="11">
                  <c:v>MG CHAMPAGNE NICOLAS BLC/BL BS 1CT X 1500ML</c:v>
                </c:pt>
                <c:pt idx="12">
                  <c:v>MG CHAMPAGNE NICOLAS 1ERE CUVE 1CT X 1500ML</c:v>
                </c:pt>
              </c:strCache>
            </c:strRef>
          </c:cat>
          <c:val>
            <c:numRef>
              <c:f>Sheet1!$B$2:$B$14</c:f>
              <c:numCache>
                <c:formatCode>General</c:formatCode>
                <c:ptCount val="13"/>
                <c:pt idx="0">
                  <c:v>21.91</c:v>
                </c:pt>
                <c:pt idx="1">
                  <c:v>39.03</c:v>
                </c:pt>
                <c:pt idx="2">
                  <c:v>24.9</c:v>
                </c:pt>
                <c:pt idx="3">
                  <c:v>37.6</c:v>
                </c:pt>
                <c:pt idx="4">
                  <c:v>22.41</c:v>
                </c:pt>
                <c:pt idx="5">
                  <c:v>41.16</c:v>
                </c:pt>
                <c:pt idx="6">
                  <c:v>35.799999999999997</c:v>
                </c:pt>
                <c:pt idx="7">
                  <c:v>48.77</c:v>
                </c:pt>
                <c:pt idx="8">
                  <c:v>46.69</c:v>
                </c:pt>
                <c:pt idx="9">
                  <c:v>24.73</c:v>
                </c:pt>
                <c:pt idx="10">
                  <c:v>24.26</c:v>
                </c:pt>
                <c:pt idx="11">
                  <c:v>103.82</c:v>
                </c:pt>
                <c:pt idx="12">
                  <c:v>64.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91B-41E7-ACCE-DDB48290FF60}"/>
                </c:ext>
              </c:extLst>
            </c:dLbl>
            <c:dLbl>
              <c:idx val="1"/>
              <c:tx>
                <c:rich>
                  <a:bodyPr/>
                  <a:lstStyle/>
                  <a:p>
                    <a:r>
                      <a:t>38.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91B-41E7-ACCE-DDB48290FF60}"/>
                </c:ext>
              </c:extLst>
            </c:dLbl>
            <c:dLbl>
              <c:idx val="2"/>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91B-41E7-ACCE-DDB48290FF60}"/>
                </c:ext>
              </c:extLst>
            </c:dLbl>
            <c:dLbl>
              <c:idx val="3"/>
              <c:tx>
                <c:rich>
                  <a:bodyPr/>
                  <a:lstStyle/>
                  <a:p>
                    <a:r>
                      <a:t>3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91B-41E7-ACCE-DDB48290FF60}"/>
                </c:ext>
              </c:extLst>
            </c:dLbl>
            <c:dLbl>
              <c:idx val="4"/>
              <c:tx>
                <c:rich>
                  <a:bodyPr/>
                  <a:lstStyle/>
                  <a:p>
                    <a:r>
                      <a:t>4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91B-41E7-ACCE-DDB48290FF60}"/>
                </c:ext>
              </c:extLst>
            </c:dLbl>
            <c:dLbl>
              <c:idx val="5"/>
              <c:tx>
                <c:rich>
                  <a:bodyPr/>
                  <a:lstStyle/>
                  <a:p>
                    <a:r>
                      <a:t>4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91B-41E7-ACCE-DDB48290FF60}"/>
                </c:ext>
              </c:extLst>
            </c:dLbl>
            <c:dLbl>
              <c:idx val="6"/>
              <c:tx>
                <c:rich>
                  <a:bodyPr/>
                  <a:lstStyle/>
                  <a:p>
                    <a:r>
                      <a:t>2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91B-41E7-ACCE-DDB48290FF60}"/>
                </c:ext>
              </c:extLst>
            </c:dLbl>
            <c:dLbl>
              <c:idx val="7"/>
              <c:tx>
                <c:rich>
                  <a:bodyPr/>
                  <a:lstStyle/>
                  <a:p>
                    <a:r>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91B-41E7-ACCE-DDB48290FF60}"/>
                </c:ext>
              </c:extLst>
            </c:dLbl>
            <c:dLbl>
              <c:idx val="8"/>
              <c:tx>
                <c:rich>
                  <a:bodyPr/>
                  <a:lstStyle/>
                  <a:p>
                    <a:r>
                      <a:t>46.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91B-41E7-ACCE-DDB48290FF60}"/>
                </c:ext>
              </c:extLst>
            </c:dLbl>
            <c:dLbl>
              <c:idx val="9"/>
              <c:tx>
                <c:rich>
                  <a:bodyPr/>
                  <a:lstStyle/>
                  <a:p>
                    <a:r>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91B-41E7-ACCE-DDB48290FF60}"/>
                </c:ext>
              </c:extLst>
            </c:dLbl>
            <c:dLbl>
              <c:idx val="10"/>
              <c:tx>
                <c:rich>
                  <a:bodyPr/>
                  <a:lstStyle/>
                  <a:p>
                    <a:r>
                      <a:t>24.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91B-41E7-ACCE-DDB48290FF60}"/>
                </c:ext>
              </c:extLst>
            </c:dLbl>
            <c:dLbl>
              <c:idx val="11"/>
              <c:tx>
                <c:rich>
                  <a:bodyPr/>
                  <a:lstStyle/>
                  <a:p>
                    <a:r>
                      <a:t>8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91B-41E7-ACCE-DDB48290FF60}"/>
                </c:ext>
              </c:extLst>
            </c:dLbl>
            <c:dLbl>
              <c:idx val="12"/>
              <c:tx>
                <c:rich>
                  <a:bodyPr/>
                  <a:lstStyle/>
                  <a:p>
                    <a:r>
                      <a:t>77.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91B-41E7-ACCE-DDB48290FF60}"/>
                </c:ext>
              </c:extLst>
            </c:dLbl>
            <c:dLbl>
              <c:idx val="13"/>
              <c:tx>
                <c:rich>
                  <a:bodyPr/>
                  <a:lstStyle/>
                  <a:p>
                    <a:r>
                      <a:t>3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91B-41E7-ACCE-DDB48290FF60}"/>
                </c:ext>
              </c:extLst>
            </c:dLbl>
            <c:dLbl>
              <c:idx val="14"/>
              <c:tx>
                <c:rich>
                  <a:bodyPr/>
                  <a:lstStyle/>
                  <a:p>
                    <a:r>
                      <a:t>3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91B-41E7-ACCE-DDB48290FF6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89</c:v>
                </c:pt>
                <c:pt idx="1">
                  <c:v>38.979999999999997</c:v>
                </c:pt>
                <c:pt idx="2">
                  <c:v>25.01</c:v>
                </c:pt>
                <c:pt idx="3">
                  <c:v>36.950000000000003</c:v>
                </c:pt>
                <c:pt idx="4">
                  <c:v>41.25</c:v>
                </c:pt>
                <c:pt idx="5">
                  <c:v>45</c:v>
                </c:pt>
                <c:pt idx="6">
                  <c:v>22.25</c:v>
                </c:pt>
                <c:pt idx="7">
                  <c:v>37.18</c:v>
                </c:pt>
                <c:pt idx="8">
                  <c:v>46.31</c:v>
                </c:pt>
                <c:pt idx="9">
                  <c:v>23.9</c:v>
                </c:pt>
                <c:pt idx="10">
                  <c:v>24.55</c:v>
                </c:pt>
                <c:pt idx="11">
                  <c:v>88.12</c:v>
                </c:pt>
                <c:pt idx="12">
                  <c:v>77.349999999999994</c:v>
                </c:pt>
                <c:pt idx="13">
                  <c:v>35.53</c:v>
                </c:pt>
                <c:pt idx="14">
                  <c:v>39.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AFA-470F-B132-CBF05744712E}"/>
                </c:ext>
              </c:extLst>
            </c:dLbl>
            <c:dLbl>
              <c:idx val="1"/>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AFA-470F-B132-CBF05744712E}"/>
                </c:ext>
              </c:extLst>
            </c:dLbl>
            <c:dLbl>
              <c:idx val="2"/>
              <c:tx>
                <c:rich>
                  <a:bodyPr/>
                  <a:lstStyle/>
                  <a:p>
                    <a:r>
                      <a:t>3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AFA-470F-B132-CBF05744712E}"/>
                </c:ext>
              </c:extLst>
            </c:dLbl>
            <c:dLbl>
              <c:idx val="3"/>
              <c:tx>
                <c:rich>
                  <a:bodyPr/>
                  <a:lstStyle/>
                  <a:p>
                    <a:r>
                      <a:t>2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AFA-470F-B132-CBF05744712E}"/>
                </c:ext>
              </c:extLst>
            </c:dLbl>
            <c:dLbl>
              <c:idx val="4"/>
              <c:tx>
                <c:rich>
                  <a:bodyPr/>
                  <a:lstStyle/>
                  <a:p>
                    <a:r>
                      <a:t>41.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AFA-470F-B132-CBF05744712E}"/>
                </c:ext>
              </c:extLst>
            </c:dLbl>
            <c:dLbl>
              <c:idx val="5"/>
              <c:tx>
                <c:rich>
                  <a:bodyPr/>
                  <a:lstStyle/>
                  <a:p>
                    <a:r>
                      <a:t>4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AFA-470F-B132-CBF05744712E}"/>
                </c:ext>
              </c:extLst>
            </c:dLbl>
            <c:dLbl>
              <c:idx val="6"/>
              <c:tx>
                <c:rich>
                  <a:bodyPr/>
                  <a:lstStyle/>
                  <a:p>
                    <a:r>
                      <a:t>2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AFA-470F-B132-CBF05744712E}"/>
                </c:ext>
              </c:extLst>
            </c:dLbl>
            <c:dLbl>
              <c:idx val="7"/>
              <c:tx>
                <c:rich>
                  <a:bodyPr/>
                  <a:lstStyle/>
                  <a:p>
                    <a:r>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AFA-470F-B132-CBF05744712E}"/>
                </c:ext>
              </c:extLst>
            </c:dLbl>
            <c:dLbl>
              <c:idx val="8"/>
              <c:tx>
                <c:rich>
                  <a:bodyPr/>
                  <a:lstStyle/>
                  <a:p>
                    <a:r>
                      <a:t>46.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AFA-470F-B132-CBF05744712E}"/>
                </c:ext>
              </c:extLst>
            </c:dLbl>
            <c:dLbl>
              <c:idx val="9"/>
              <c:tx>
                <c:rich>
                  <a:bodyPr/>
                  <a:lstStyle/>
                  <a:p>
                    <a:r>
                      <a:t>24.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AFA-470F-B132-CBF05744712E}"/>
                </c:ext>
              </c:extLst>
            </c:dLbl>
            <c:dLbl>
              <c:idx val="10"/>
              <c:tx>
                <c:rich>
                  <a:bodyPr/>
                  <a:lstStyle/>
                  <a:p>
                    <a:r>
                      <a:t>23.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AFA-470F-B132-CBF05744712E}"/>
                </c:ext>
              </c:extLst>
            </c:dLbl>
            <c:dLbl>
              <c:idx val="11"/>
              <c:tx>
                <c:rich>
                  <a:bodyPr/>
                  <a:lstStyle/>
                  <a:p>
                    <a:r>
                      <a:t>8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AFA-470F-B132-CBF05744712E}"/>
                </c:ext>
              </c:extLst>
            </c:dLbl>
            <c:dLbl>
              <c:idx val="12"/>
              <c:tx>
                <c:rich>
                  <a:bodyPr/>
                  <a:lstStyle/>
                  <a:p>
                    <a:r>
                      <a:t>3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7AFA-470F-B132-CBF05744712E}"/>
                </c:ext>
              </c:extLst>
            </c:dLbl>
            <c:dLbl>
              <c:idx val="13"/>
              <c:tx>
                <c:rich>
                  <a:bodyPr/>
                  <a:lstStyle/>
                  <a:p>
                    <a:r>
                      <a:t>7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AFA-470F-B132-CBF05744712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CHAMPAGNE NICOLAS BLC DE NOIRS 1CT X 750ML</c:v>
                </c:pt>
                <c:pt idx="8">
                  <c:v>CHAMPAGNE NICOLAS BIO NAT 2017 1CT X 750ML</c:v>
                </c:pt>
                <c:pt idx="9">
                  <c:v>1/2 CHAMP NICOLAS BLC/BLC BS 1CT X 375ML</c:v>
                </c:pt>
                <c:pt idx="10">
                  <c:v>1/2 CHAMP NICOLAS ROSE 1E C BS 1CT X 375ML</c:v>
                </c:pt>
                <c:pt idx="11">
                  <c:v>MG CHAMPAGNE NICOLAS BLC/BL BS 1CT X 1500ML</c:v>
                </c:pt>
                <c:pt idx="12">
                  <c:v>CHAMPAGNE NICOLAS 1ER CRU BS 1CT X 750ML</c:v>
                </c:pt>
                <c:pt idx="13">
                  <c:v>MG CHAMPAGNE NICOLAS 1ERE CUVE 1CT X 1500ML</c:v>
                </c:pt>
              </c:strCache>
            </c:strRef>
          </c:cat>
          <c:val>
            <c:numRef>
              <c:f>Sheet1!$B$2:$B$15</c:f>
              <c:numCache>
                <c:formatCode>General</c:formatCode>
                <c:ptCount val="14"/>
                <c:pt idx="0">
                  <c:v>21.92</c:v>
                </c:pt>
                <c:pt idx="1">
                  <c:v>39.090000000000003</c:v>
                </c:pt>
                <c:pt idx="2">
                  <c:v>36.92</c:v>
                </c:pt>
                <c:pt idx="3">
                  <c:v>25.12</c:v>
                </c:pt>
                <c:pt idx="4">
                  <c:v>41.31</c:v>
                </c:pt>
                <c:pt idx="5">
                  <c:v>45.55</c:v>
                </c:pt>
                <c:pt idx="6">
                  <c:v>22.34</c:v>
                </c:pt>
                <c:pt idx="7">
                  <c:v>36.46</c:v>
                </c:pt>
                <c:pt idx="8">
                  <c:v>46.56</c:v>
                </c:pt>
                <c:pt idx="9">
                  <c:v>24.37</c:v>
                </c:pt>
                <c:pt idx="10">
                  <c:v>23.86</c:v>
                </c:pt>
                <c:pt idx="11">
                  <c:v>89.67</c:v>
                </c:pt>
                <c:pt idx="12">
                  <c:v>37.69</c:v>
                </c:pt>
                <c:pt idx="13">
                  <c:v>75.099999999999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190-40EB-9D03-344720573A48}"/>
                </c:ext>
              </c:extLst>
            </c:dLbl>
            <c:dLbl>
              <c:idx val="1"/>
              <c:tx>
                <c:rich>
                  <a:bodyPr/>
                  <a:lstStyle/>
                  <a:p>
                    <a:r>
                      <a:t>3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190-40EB-9D03-344720573A48}"/>
                </c:ext>
              </c:extLst>
            </c:dLbl>
            <c:dLbl>
              <c:idx val="2"/>
              <c:tx>
                <c:rich>
                  <a:bodyPr/>
                  <a:lstStyle/>
                  <a:p>
                    <a:r>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190-40EB-9D03-344720573A48}"/>
                </c:ext>
              </c:extLst>
            </c:dLbl>
            <c:dLbl>
              <c:idx val="3"/>
              <c:tx>
                <c:rich>
                  <a:bodyPr/>
                  <a:lstStyle/>
                  <a:p>
                    <a:r>
                      <a:t>36.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190-40EB-9D03-344720573A48}"/>
                </c:ext>
              </c:extLst>
            </c:dLbl>
            <c:dLbl>
              <c:idx val="4"/>
              <c:tx>
                <c:rich>
                  <a:bodyPr/>
                  <a:lstStyle/>
                  <a:p>
                    <a:r>
                      <a:t>4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190-40EB-9D03-344720573A48}"/>
                </c:ext>
              </c:extLst>
            </c:dLbl>
            <c:dLbl>
              <c:idx val="5"/>
              <c:tx>
                <c:rich>
                  <a:bodyPr/>
                  <a:lstStyle/>
                  <a:p>
                    <a:r>
                      <a:t>2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190-40EB-9D03-344720573A48}"/>
                </c:ext>
              </c:extLst>
            </c:dLbl>
            <c:dLbl>
              <c:idx val="6"/>
              <c:tx>
                <c:rich>
                  <a:bodyPr/>
                  <a:lstStyle/>
                  <a:p>
                    <a:r>
                      <a:t>42.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190-40EB-9D03-344720573A48}"/>
                </c:ext>
              </c:extLst>
            </c:dLbl>
            <c:dLbl>
              <c:idx val="7"/>
              <c:tx>
                <c:rich>
                  <a:bodyPr/>
                  <a:lstStyle/>
                  <a:p>
                    <a:r>
                      <a:t>46.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190-40EB-9D03-344720573A48}"/>
                </c:ext>
              </c:extLst>
            </c:dLbl>
            <c:dLbl>
              <c:idx val="8"/>
              <c:tx>
                <c:rich>
                  <a:bodyPr/>
                  <a:lstStyle/>
                  <a:p>
                    <a:r>
                      <a:t>3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190-40EB-9D03-344720573A48}"/>
                </c:ext>
              </c:extLst>
            </c:dLbl>
            <c:dLbl>
              <c:idx val="9"/>
              <c:tx>
                <c:rich>
                  <a:bodyPr/>
                  <a:lstStyle/>
                  <a:p>
                    <a:r>
                      <a:t>8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190-40EB-9D03-344720573A48}"/>
                </c:ext>
              </c:extLst>
            </c:dLbl>
            <c:dLbl>
              <c:idx val="10"/>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190-40EB-9D03-344720573A48}"/>
                </c:ext>
              </c:extLst>
            </c:dLbl>
            <c:dLbl>
              <c:idx val="11"/>
              <c:tx>
                <c:rich>
                  <a:bodyPr/>
                  <a:lstStyle/>
                  <a:p>
                    <a:r>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190-40EB-9D03-344720573A48}"/>
                </c:ext>
              </c:extLst>
            </c:dLbl>
            <c:dLbl>
              <c:idx val="12"/>
              <c:tx>
                <c:rich>
                  <a:bodyPr/>
                  <a:lstStyle/>
                  <a:p>
                    <a:r>
                      <a:t>35.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190-40EB-9D03-344720573A48}"/>
                </c:ext>
              </c:extLst>
            </c:dLbl>
            <c:dLbl>
              <c:idx val="13"/>
              <c:tx>
                <c:rich>
                  <a:bodyPr/>
                  <a:lstStyle/>
                  <a:p>
                    <a:r>
                      <a:t>7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190-40EB-9D03-344720573A48}"/>
                </c:ext>
              </c:extLst>
            </c:dLbl>
            <c:dLbl>
              <c:idx val="14"/>
              <c:tx>
                <c:rich>
                  <a:bodyPr/>
                  <a:lstStyle/>
                  <a:p>
                    <a:r>
                      <a:t>4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190-40EB-9D03-344720573A4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CHAMPAGNE NICOLAS ROSE 1ERE CU 1CT X 750ML</c:v>
                </c:pt>
                <c:pt idx="7">
                  <c:v>CHAMPAGNE NICOLAS BIO NAT 2017 1CT X 750ML</c:v>
                </c:pt>
                <c:pt idx="8">
                  <c:v>CHAMPAGNE NICOLAS BLC DE NOIRS 1CT X 750ML</c:v>
                </c:pt>
                <c:pt idx="9">
                  <c:v>MG CHAMPAGNE NICOLAS BLC/BL BS 1CT X 1500ML</c:v>
                </c:pt>
                <c:pt idx="10">
                  <c:v>1/2 CHAMP NICOLAS ROSE 1E C BS 1CT X 375ML</c:v>
                </c:pt>
                <c:pt idx="11">
                  <c:v>1/2 CHAMP NICOLAS BLC/BLC BS 1CT X 375ML</c:v>
                </c:pt>
                <c:pt idx="12">
                  <c:v>CHAMPAGNE NICOLAS 1ER CRU BS 1CT X 750ML</c:v>
                </c:pt>
                <c:pt idx="13">
                  <c:v>MG CHAMPAGNE NICOLAS 1ERE CUVE 1CT X 1500ML</c:v>
                </c:pt>
                <c:pt idx="14">
                  <c:v>CHAMPAGNE NICOLAS ROSE 1E C BS 1CT X 750ML</c:v>
                </c:pt>
              </c:strCache>
            </c:strRef>
          </c:cat>
          <c:val>
            <c:numRef>
              <c:f>Sheet1!$B$2:$B$16</c:f>
              <c:numCache>
                <c:formatCode>General</c:formatCode>
                <c:ptCount val="15"/>
                <c:pt idx="0">
                  <c:v>21.93</c:v>
                </c:pt>
                <c:pt idx="1">
                  <c:v>39.08</c:v>
                </c:pt>
                <c:pt idx="2">
                  <c:v>25.05</c:v>
                </c:pt>
                <c:pt idx="3">
                  <c:v>36.979999999999997</c:v>
                </c:pt>
                <c:pt idx="4">
                  <c:v>45.8</c:v>
                </c:pt>
                <c:pt idx="5">
                  <c:v>22.31</c:v>
                </c:pt>
                <c:pt idx="6">
                  <c:v>42.65</c:v>
                </c:pt>
                <c:pt idx="7">
                  <c:v>46.69</c:v>
                </c:pt>
                <c:pt idx="8">
                  <c:v>36.369999999999997</c:v>
                </c:pt>
                <c:pt idx="9">
                  <c:v>81.19</c:v>
                </c:pt>
                <c:pt idx="10">
                  <c:v>24.16</c:v>
                </c:pt>
                <c:pt idx="11">
                  <c:v>23.76</c:v>
                </c:pt>
                <c:pt idx="12">
                  <c:v>35.979999999999997</c:v>
                </c:pt>
                <c:pt idx="13">
                  <c:v>75.209999999999994</c:v>
                </c:pt>
                <c:pt idx="14">
                  <c:v>4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1F7-4BCC-B8C8-B30ED0A15CE8}"/>
                </c:ext>
              </c:extLst>
            </c:dLbl>
            <c:dLbl>
              <c:idx val="1"/>
              <c:tx>
                <c:rich>
                  <a:bodyPr/>
                  <a:lstStyle/>
                  <a:p>
                    <a:r>
                      <a:rPr lang="en-CH"/>
                      <a:t>38.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1F7-4BCC-B8C8-B30ED0A15CE8}"/>
                </c:ext>
              </c:extLst>
            </c:dLbl>
            <c:dLbl>
              <c:idx val="2"/>
              <c:tx>
                <c:rich>
                  <a:bodyPr/>
                  <a:lstStyle/>
                  <a:p>
                    <a:r>
                      <a:rPr lang="en-CH"/>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1F7-4BCC-B8C8-B30ED0A15CE8}"/>
                </c:ext>
              </c:extLst>
            </c:dLbl>
            <c:dLbl>
              <c:idx val="3"/>
              <c:tx>
                <c:rich>
                  <a:bodyPr/>
                  <a:lstStyle/>
                  <a:p>
                    <a:r>
                      <a:rPr lang="en-CH"/>
                      <a:t>37.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1F7-4BCC-B8C8-B30ED0A15CE8}"/>
                </c:ext>
              </c:extLst>
            </c:dLbl>
            <c:dLbl>
              <c:idx val="4"/>
              <c:tx>
                <c:rich>
                  <a:bodyPr/>
                  <a:lstStyle/>
                  <a:p>
                    <a:r>
                      <a:rPr lang="en-CH"/>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1F7-4BCC-B8C8-B30ED0A15CE8}"/>
                </c:ext>
              </c:extLst>
            </c:dLbl>
            <c:dLbl>
              <c:idx val="5"/>
              <c:tx>
                <c:rich>
                  <a:bodyPr/>
                  <a:lstStyle/>
                  <a:p>
                    <a:r>
                      <a:rPr lang="en-CH"/>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1F7-4BCC-B8C8-B30ED0A15CE8}"/>
                </c:ext>
              </c:extLst>
            </c:dLbl>
            <c:dLbl>
              <c:idx val="6"/>
              <c:tx>
                <c:rich>
                  <a:bodyPr/>
                  <a:lstStyle/>
                  <a:p>
                    <a:r>
                      <a:rPr lang="en-CH"/>
                      <a:t>4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1F7-4BCC-B8C8-B30ED0A15CE8}"/>
                </c:ext>
              </c:extLst>
            </c:dLbl>
            <c:dLbl>
              <c:idx val="7"/>
              <c:tx>
                <c:rich>
                  <a:bodyPr/>
                  <a:lstStyle/>
                  <a:p>
                    <a:r>
                      <a:rPr lang="en-CH"/>
                      <a:t>41.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1F7-4BCC-B8C8-B30ED0A15CE8}"/>
                </c:ext>
              </c:extLst>
            </c:dLbl>
            <c:dLbl>
              <c:idx val="8"/>
              <c:tx>
                <c:rich>
                  <a:bodyPr/>
                  <a:lstStyle/>
                  <a:p>
                    <a:r>
                      <a:rPr lang="en-CH"/>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1F7-4BCC-B8C8-B30ED0A15CE8}"/>
                </c:ext>
              </c:extLst>
            </c:dLbl>
            <c:dLbl>
              <c:idx val="9"/>
              <c:tx>
                <c:rich>
                  <a:bodyPr/>
                  <a:lstStyle/>
                  <a:p>
                    <a:r>
                      <a:rPr lang="en-CH"/>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1F7-4BCC-B8C8-B30ED0A15CE8}"/>
                </c:ext>
              </c:extLst>
            </c:dLbl>
            <c:dLbl>
              <c:idx val="10"/>
              <c:tx>
                <c:rich>
                  <a:bodyPr/>
                  <a:lstStyle/>
                  <a:p>
                    <a:r>
                      <a:rPr lang="en-CH"/>
                      <a:t>2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1F7-4BCC-B8C8-B30ED0A15CE8}"/>
                </c:ext>
              </c:extLst>
            </c:dLbl>
            <c:dLbl>
              <c:idx val="11"/>
              <c:tx>
                <c:rich>
                  <a:bodyPr/>
                  <a:lstStyle/>
                  <a:p>
                    <a:r>
                      <a:rPr lang="en-CH"/>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1F7-4BCC-B8C8-B30ED0A15CE8}"/>
                </c:ext>
              </c:extLst>
            </c:dLbl>
            <c:dLbl>
              <c:idx val="12"/>
              <c:tx>
                <c:rich>
                  <a:bodyPr/>
                  <a:lstStyle/>
                  <a:p>
                    <a:r>
                      <a:rPr lang="en-CH"/>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1F7-4BCC-B8C8-B30ED0A15CE8}"/>
                </c:ext>
              </c:extLst>
            </c:dLbl>
            <c:dLbl>
              <c:idx val="13"/>
              <c:tx>
                <c:rich>
                  <a:bodyPr/>
                  <a:lstStyle/>
                  <a:p>
                    <a:r>
                      <a:rPr lang="en-CH"/>
                      <a:t>75.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31F7-4BCC-B8C8-B30ED0A15CE8}"/>
                </c:ext>
              </c:extLst>
            </c:dLbl>
            <c:dLbl>
              <c:idx val="14"/>
              <c:tx>
                <c:rich>
                  <a:bodyPr/>
                  <a:lstStyle/>
                  <a:p>
                    <a:r>
                      <a:rPr lang="en-CH"/>
                      <a:t>38.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31F7-4BCC-B8C8-B30ED0A15CE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5</c:v>
                </c:pt>
                <c:pt idx="1">
                  <c:v>38.99</c:v>
                </c:pt>
                <c:pt idx="2">
                  <c:v>24.99</c:v>
                </c:pt>
                <c:pt idx="3">
                  <c:v>37.869999999999997</c:v>
                </c:pt>
                <c:pt idx="4">
                  <c:v>22.49</c:v>
                </c:pt>
                <c:pt idx="5">
                  <c:v>45.15</c:v>
                </c:pt>
                <c:pt idx="6">
                  <c:v>46.51</c:v>
                </c:pt>
                <c:pt idx="7">
                  <c:v>41.43</c:v>
                </c:pt>
                <c:pt idx="8">
                  <c:v>23.99</c:v>
                </c:pt>
                <c:pt idx="9">
                  <c:v>85.63</c:v>
                </c:pt>
                <c:pt idx="10">
                  <c:v>23.53</c:v>
                </c:pt>
                <c:pt idx="11">
                  <c:v>37.119999999999997</c:v>
                </c:pt>
                <c:pt idx="12">
                  <c:v>36.97</c:v>
                </c:pt>
                <c:pt idx="13">
                  <c:v>75.36</c:v>
                </c:pt>
                <c:pt idx="14">
                  <c:v>38.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F8A-4E84-BD8E-24D8CC1CEA09}"/>
                </c:ext>
              </c:extLst>
            </c:dLbl>
            <c:dLbl>
              <c:idx val="1"/>
              <c:tx>
                <c:rich>
                  <a:bodyPr/>
                  <a:lstStyle/>
                  <a:p>
                    <a:r>
                      <a:rPr lang="en-CH"/>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F8A-4E84-BD8E-24D8CC1CEA09}"/>
                </c:ext>
              </c:extLst>
            </c:dLbl>
            <c:dLbl>
              <c:idx val="2"/>
              <c:tx>
                <c:rich>
                  <a:bodyPr/>
                  <a:lstStyle/>
                  <a:p>
                    <a:r>
                      <a:rPr lang="en-CH"/>
                      <a:t>2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F8A-4E84-BD8E-24D8CC1CEA09}"/>
                </c:ext>
              </c:extLst>
            </c:dLbl>
            <c:dLbl>
              <c:idx val="3"/>
              <c:tx>
                <c:rich>
                  <a:bodyPr/>
                  <a:lstStyle/>
                  <a:p>
                    <a:r>
                      <a:rPr lang="en-CH"/>
                      <a:t>37.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F8A-4E84-BD8E-24D8CC1CEA09}"/>
                </c:ext>
              </c:extLst>
            </c:dLbl>
            <c:dLbl>
              <c:idx val="4"/>
              <c:tx>
                <c:rich>
                  <a:bodyPr/>
                  <a:lstStyle/>
                  <a:p>
                    <a:r>
                      <a:rPr lang="en-CH"/>
                      <a:t>2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F8A-4E84-BD8E-24D8CC1CEA09}"/>
                </c:ext>
              </c:extLst>
            </c:dLbl>
            <c:dLbl>
              <c:idx val="5"/>
              <c:tx>
                <c:rich>
                  <a:bodyPr/>
                  <a:lstStyle/>
                  <a:p>
                    <a:r>
                      <a:rPr lang="en-CH"/>
                      <a:t>4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F8A-4E84-BD8E-24D8CC1CEA09}"/>
                </c:ext>
              </c:extLst>
            </c:dLbl>
            <c:dLbl>
              <c:idx val="6"/>
              <c:tx>
                <c:rich>
                  <a:bodyPr/>
                  <a:lstStyle/>
                  <a:p>
                    <a:r>
                      <a:rPr lang="en-CH"/>
                      <a:t>4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F8A-4E84-BD8E-24D8CC1CEA09}"/>
                </c:ext>
              </c:extLst>
            </c:dLbl>
            <c:dLbl>
              <c:idx val="7"/>
              <c:tx>
                <c:rich>
                  <a:bodyPr/>
                  <a:lstStyle/>
                  <a:p>
                    <a:r>
                      <a:rPr lang="en-CH"/>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F8A-4E84-BD8E-24D8CC1CEA09}"/>
                </c:ext>
              </c:extLst>
            </c:dLbl>
            <c:dLbl>
              <c:idx val="8"/>
              <c:tx>
                <c:rich>
                  <a:bodyPr/>
                  <a:lstStyle/>
                  <a:p>
                    <a:r>
                      <a:rPr lang="en-CH"/>
                      <a:t>2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F8A-4E84-BD8E-24D8CC1CEA09}"/>
                </c:ext>
              </c:extLst>
            </c:dLbl>
            <c:dLbl>
              <c:idx val="9"/>
              <c:tx>
                <c:rich>
                  <a:bodyPr/>
                  <a:lstStyle/>
                  <a:p>
                    <a:r>
                      <a:rPr lang="en-CH"/>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F8A-4E84-BD8E-24D8CC1CEA09}"/>
                </c:ext>
              </c:extLst>
            </c:dLbl>
            <c:dLbl>
              <c:idx val="10"/>
              <c:tx>
                <c:rich>
                  <a:bodyPr/>
                  <a:lstStyle/>
                  <a:p>
                    <a:r>
                      <a:rPr lang="en-CH"/>
                      <a:t>2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F8A-4E84-BD8E-24D8CC1CEA09}"/>
                </c:ext>
              </c:extLst>
            </c:dLbl>
            <c:dLbl>
              <c:idx val="11"/>
              <c:tx>
                <c:rich>
                  <a:bodyPr/>
                  <a:lstStyle/>
                  <a:p>
                    <a:r>
                      <a:rPr lang="en-CH"/>
                      <a:t>37.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F8A-4E84-BD8E-24D8CC1CEA09}"/>
                </c:ext>
              </c:extLst>
            </c:dLbl>
            <c:dLbl>
              <c:idx val="12"/>
              <c:tx>
                <c:rich>
                  <a:bodyPr/>
                  <a:lstStyle/>
                  <a:p>
                    <a:r>
                      <a:rPr lang="en-CH"/>
                      <a:t>36.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F8A-4E84-BD8E-24D8CC1CEA09}"/>
                </c:ext>
              </c:extLst>
            </c:dLbl>
            <c:dLbl>
              <c:idx val="13"/>
              <c:tx>
                <c:rich>
                  <a:bodyPr/>
                  <a:lstStyle/>
                  <a:p>
                    <a:r>
                      <a:rPr lang="en-CH"/>
                      <a:t>75.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F8A-4E84-BD8E-24D8CC1CEA09}"/>
                </c:ext>
              </c:extLst>
            </c:dLbl>
            <c:dLbl>
              <c:idx val="14"/>
              <c:tx>
                <c:rich>
                  <a:bodyPr/>
                  <a:lstStyle/>
                  <a:p>
                    <a:r>
                      <a:rPr lang="en-CH"/>
                      <a:t>36.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F8A-4E84-BD8E-24D8CC1CEA0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1ER CRU BS 1CT X 750ML</c:v>
                </c:pt>
                <c:pt idx="12">
                  <c:v>CHAMPAGNE NICOLAS BLC DE NOIRS 1CT X 750ML</c:v>
                </c:pt>
                <c:pt idx="13">
                  <c:v>MG CHAMPAGNE NICOLAS 1ERE CUVE 1CT X 1500ML</c:v>
                </c:pt>
                <c:pt idx="14">
                  <c:v>CHAMPAGNE NICOLAS 1ER CRU ETUI 1CT X 750ML</c:v>
                </c:pt>
              </c:strCache>
            </c:strRef>
          </c:cat>
          <c:val>
            <c:numRef>
              <c:f>Sheet1!$B$2:$B$16</c:f>
              <c:numCache>
                <c:formatCode>General</c:formatCode>
                <c:ptCount val="15"/>
                <c:pt idx="0">
                  <c:v>21.88</c:v>
                </c:pt>
                <c:pt idx="1">
                  <c:v>39.03</c:v>
                </c:pt>
                <c:pt idx="2">
                  <c:v>24.98</c:v>
                </c:pt>
                <c:pt idx="3">
                  <c:v>37.18</c:v>
                </c:pt>
                <c:pt idx="4">
                  <c:v>22.36</c:v>
                </c:pt>
                <c:pt idx="5">
                  <c:v>45.06</c:v>
                </c:pt>
                <c:pt idx="6">
                  <c:v>41.53</c:v>
                </c:pt>
                <c:pt idx="7">
                  <c:v>46.38</c:v>
                </c:pt>
                <c:pt idx="8">
                  <c:v>23.87</c:v>
                </c:pt>
                <c:pt idx="9">
                  <c:v>85.35</c:v>
                </c:pt>
                <c:pt idx="10">
                  <c:v>24.05</c:v>
                </c:pt>
                <c:pt idx="11">
                  <c:v>37.549999999999997</c:v>
                </c:pt>
                <c:pt idx="12">
                  <c:v>36.96</c:v>
                </c:pt>
                <c:pt idx="13">
                  <c:v>75.78</c:v>
                </c:pt>
                <c:pt idx="14">
                  <c:v>36.6300000000000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AB5-4719-AFA8-377ADD9142E6}"/>
                </c:ext>
              </c:extLst>
            </c:dLbl>
            <c:dLbl>
              <c:idx val="1"/>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AB5-4719-AFA8-377ADD9142E6}"/>
                </c:ext>
              </c:extLst>
            </c:dLbl>
            <c:dLbl>
              <c:idx val="2"/>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AB5-4719-AFA8-377ADD9142E6}"/>
                </c:ext>
              </c:extLst>
            </c:dLbl>
            <c:dLbl>
              <c:idx val="3"/>
              <c:tx>
                <c:rich>
                  <a:bodyPr/>
                  <a:lstStyle/>
                  <a:p>
                    <a:r>
                      <a:t>36.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AB5-4719-AFA8-377ADD9142E6}"/>
                </c:ext>
              </c:extLst>
            </c:dLbl>
            <c:dLbl>
              <c:idx val="4"/>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AB5-4719-AFA8-377ADD9142E6}"/>
                </c:ext>
              </c:extLst>
            </c:dLbl>
            <c:dLbl>
              <c:idx val="5"/>
              <c:tx>
                <c:rich>
                  <a:bodyPr/>
                  <a:lstStyle/>
                  <a:p>
                    <a:r>
                      <a:t>45.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AB5-4719-AFA8-377ADD9142E6}"/>
                </c:ext>
              </c:extLst>
            </c:dLbl>
            <c:dLbl>
              <c:idx val="6"/>
              <c:tx>
                <c:rich>
                  <a:bodyPr/>
                  <a:lstStyle/>
                  <a:p>
                    <a:r>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AB5-4719-AFA8-377ADD9142E6}"/>
                </c:ext>
              </c:extLst>
            </c:dLbl>
            <c:dLbl>
              <c:idx val="7"/>
              <c:tx>
                <c:rich>
                  <a:bodyPr/>
                  <a:lstStyle/>
                  <a:p>
                    <a:r>
                      <a:t>4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AB5-4719-AFA8-377ADD9142E6}"/>
                </c:ext>
              </c:extLst>
            </c:dLbl>
            <c:dLbl>
              <c:idx val="8"/>
              <c:tx>
                <c:rich>
                  <a:bodyPr/>
                  <a:lstStyle/>
                  <a:p>
                    <a:r>
                      <a:t>85.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AB5-4719-AFA8-377ADD9142E6}"/>
                </c:ext>
              </c:extLst>
            </c:dLbl>
            <c:dLbl>
              <c:idx val="9"/>
              <c:tx>
                <c:rich>
                  <a:bodyPr/>
                  <a:lstStyle/>
                  <a:p>
                    <a:r>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AB5-4719-AFA8-377ADD9142E6}"/>
                </c:ext>
              </c:extLst>
            </c:dLbl>
            <c:dLbl>
              <c:idx val="10"/>
              <c:tx>
                <c:rich>
                  <a:bodyPr/>
                  <a:lstStyle/>
                  <a:p>
                    <a:r>
                      <a:t>24.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AB5-4719-AFA8-377ADD9142E6}"/>
                </c:ext>
              </c:extLst>
            </c:dLbl>
            <c:dLbl>
              <c:idx val="11"/>
              <c:tx>
                <c:rich>
                  <a:bodyPr/>
                  <a:lstStyle/>
                  <a:p>
                    <a:r>
                      <a:t>3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AB5-4719-AFA8-377ADD9142E6}"/>
                </c:ext>
              </c:extLst>
            </c:dLbl>
            <c:dLbl>
              <c:idx val="12"/>
              <c:tx>
                <c:rich>
                  <a:bodyPr/>
                  <a:lstStyle/>
                  <a:p>
                    <a:r>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AB5-4719-AFA8-377ADD9142E6}"/>
                </c:ext>
              </c:extLst>
            </c:dLbl>
            <c:dLbl>
              <c:idx val="13"/>
              <c:tx>
                <c:rich>
                  <a:bodyPr/>
                  <a:lstStyle/>
                  <a:p>
                    <a:r>
                      <a:t>7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AB5-4719-AFA8-377ADD9142E6}"/>
                </c:ext>
              </c:extLst>
            </c:dLbl>
            <c:dLbl>
              <c:idx val="14"/>
              <c:tx>
                <c:rich>
                  <a:bodyPr/>
                  <a:lstStyle/>
                  <a:p>
                    <a:r>
                      <a:t>3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8AB5-4719-AFA8-377ADD9142E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BIO NAT 2017 1CT X 750ML</c:v>
                </c:pt>
                <c:pt idx="7">
                  <c:v>CHAMPAGNE NICOLAS ROSE 1ERE CU 1CT X 750ML</c:v>
                </c:pt>
                <c:pt idx="8">
                  <c:v>MG CHAMPAGNE NICOLAS BLC/BL BS 1CT X 1500ML</c:v>
                </c:pt>
                <c:pt idx="9">
                  <c:v>1/2 CHAMP NICOLAS BLC/BLC BS 1CT X 375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020000000000003</c:v>
                </c:pt>
                <c:pt idx="2">
                  <c:v>24.99</c:v>
                </c:pt>
                <c:pt idx="3">
                  <c:v>36.94</c:v>
                </c:pt>
                <c:pt idx="4">
                  <c:v>22.28</c:v>
                </c:pt>
                <c:pt idx="5">
                  <c:v>45.15</c:v>
                </c:pt>
                <c:pt idx="6">
                  <c:v>46.21</c:v>
                </c:pt>
                <c:pt idx="7">
                  <c:v>41.52</c:v>
                </c:pt>
                <c:pt idx="8">
                  <c:v>85.57</c:v>
                </c:pt>
                <c:pt idx="9">
                  <c:v>23.99</c:v>
                </c:pt>
                <c:pt idx="10">
                  <c:v>24.01</c:v>
                </c:pt>
                <c:pt idx="11">
                  <c:v>37.119999999999997</c:v>
                </c:pt>
                <c:pt idx="12">
                  <c:v>37.29</c:v>
                </c:pt>
                <c:pt idx="13">
                  <c:v>76.41</c:v>
                </c:pt>
                <c:pt idx="14">
                  <c:v>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878-445E-A79B-333834F53597}"/>
                </c:ext>
              </c:extLst>
            </c:dLbl>
            <c:dLbl>
              <c:idx val="1"/>
              <c:tx>
                <c:rich>
                  <a:bodyPr/>
                  <a:lstStyle/>
                  <a:p>
                    <a:r>
                      <a:rPr lang="en-CH"/>
                      <a:t>39.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878-445E-A79B-333834F53597}"/>
                </c:ext>
              </c:extLst>
            </c:dLbl>
            <c:dLbl>
              <c:idx val="2"/>
              <c:tx>
                <c:rich>
                  <a:bodyPr/>
                  <a:lstStyle/>
                  <a:p>
                    <a:r>
                      <a:rPr lang="en-CH"/>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878-445E-A79B-333834F53597}"/>
                </c:ext>
              </c:extLst>
            </c:dLbl>
            <c:dLbl>
              <c:idx val="3"/>
              <c:tx>
                <c:rich>
                  <a:bodyPr/>
                  <a:lstStyle/>
                  <a:p>
                    <a:r>
                      <a:rPr lang="en-CH"/>
                      <a:t>3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878-445E-A79B-333834F53597}"/>
                </c:ext>
              </c:extLst>
            </c:dLbl>
            <c:dLbl>
              <c:idx val="4"/>
              <c:tx>
                <c:rich>
                  <a:bodyPr/>
                  <a:lstStyle/>
                  <a:p>
                    <a:r>
                      <a:rPr lang="en-CH"/>
                      <a:t>4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878-445E-A79B-333834F53597}"/>
                </c:ext>
              </c:extLst>
            </c:dLbl>
            <c:dLbl>
              <c:idx val="5"/>
              <c:tx>
                <c:rich>
                  <a:bodyPr/>
                  <a:lstStyle/>
                  <a:p>
                    <a:r>
                      <a:rPr lang="en-CH"/>
                      <a:t>2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878-445E-A79B-333834F53597}"/>
                </c:ext>
              </c:extLst>
            </c:dLbl>
            <c:dLbl>
              <c:idx val="6"/>
              <c:tx>
                <c:rich>
                  <a:bodyPr/>
                  <a:lstStyle/>
                  <a:p>
                    <a:r>
                      <a:rPr lang="en-CH"/>
                      <a:t>85.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878-445E-A79B-333834F53597}"/>
                </c:ext>
              </c:extLst>
            </c:dLbl>
            <c:dLbl>
              <c:idx val="7"/>
              <c:tx>
                <c:rich>
                  <a:bodyPr/>
                  <a:lstStyle/>
                  <a:p>
                    <a:r>
                      <a:rPr lang="en-CH"/>
                      <a:t>4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878-445E-A79B-333834F53597}"/>
                </c:ext>
              </c:extLst>
            </c:dLbl>
            <c:dLbl>
              <c:idx val="8"/>
              <c:tx>
                <c:rich>
                  <a:bodyPr/>
                  <a:lstStyle/>
                  <a:p>
                    <a:r>
                      <a:rPr lang="en-CH"/>
                      <a:t>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0878-445E-A79B-333834F53597}"/>
                </c:ext>
              </c:extLst>
            </c:dLbl>
            <c:dLbl>
              <c:idx val="9"/>
              <c:tx>
                <c:rich>
                  <a:bodyPr/>
                  <a:lstStyle/>
                  <a:p>
                    <a:r>
                      <a:rPr lang="en-CH"/>
                      <a:t>24.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0878-445E-A79B-333834F53597}"/>
                </c:ext>
              </c:extLst>
            </c:dLbl>
            <c:dLbl>
              <c:idx val="10"/>
              <c:tx>
                <c:rich>
                  <a:bodyPr/>
                  <a:lstStyle/>
                  <a:p>
                    <a:r>
                      <a:rPr lang="en-CH"/>
                      <a:t>46.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0878-445E-A79B-333834F53597}"/>
                </c:ext>
              </c:extLst>
            </c:dLbl>
            <c:dLbl>
              <c:idx val="11"/>
              <c:tx>
                <c:rich>
                  <a:bodyPr/>
                  <a:lstStyle/>
                  <a:p>
                    <a:r>
                      <a:rPr lang="en-CH"/>
                      <a:t>36.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878-445E-A79B-333834F53597}"/>
                </c:ext>
              </c:extLst>
            </c:dLbl>
            <c:dLbl>
              <c:idx val="12"/>
              <c:tx>
                <c:rich>
                  <a:bodyPr/>
                  <a:lstStyle/>
                  <a:p>
                    <a:r>
                      <a:rPr lang="en-CH"/>
                      <a:t>2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878-445E-A79B-333834F53597}"/>
                </c:ext>
              </c:extLst>
            </c:dLbl>
            <c:dLbl>
              <c:idx val="13"/>
              <c:tx>
                <c:rich>
                  <a:bodyPr/>
                  <a:lstStyle/>
                  <a:p>
                    <a:r>
                      <a:rPr lang="en-CH"/>
                      <a:t>7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878-445E-A79B-333834F53597}"/>
                </c:ext>
              </c:extLst>
            </c:dLbl>
            <c:dLbl>
              <c:idx val="14"/>
              <c:tx>
                <c:rich>
                  <a:bodyPr/>
                  <a:lstStyle/>
                  <a:p>
                    <a:r>
                      <a:rPr lang="en-CH"/>
                      <a:t>4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878-445E-A79B-333834F5359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1ER CRU BS 1CT X 750ML</c:v>
                </c:pt>
                <c:pt idx="9">
                  <c:v>1/2 CHAMP NICOLAS BLC/BLC BS 1CT X 375ML</c:v>
                </c:pt>
                <c:pt idx="10">
                  <c:v>CHAMPAGNE NICOLAS BIO NAT 2017 1CT X 750ML</c:v>
                </c:pt>
                <c:pt idx="11">
                  <c:v>CHAMPAGNE NICOLAS BLC DE NOIRS 1CT X 750ML</c:v>
                </c:pt>
                <c:pt idx="12">
                  <c:v>1/2 CHAMP NICOLAS ROSE 1E C BS 1CT X 375ML</c:v>
                </c:pt>
                <c:pt idx="13">
                  <c:v>MG CHAMPAGNE NICOLAS 1ERE CUVE 1CT X 1500ML</c:v>
                </c:pt>
                <c:pt idx="14">
                  <c:v>CHAMPAGNE NICOLAS ROSE 1ERE ET 1CT X 750ML</c:v>
                </c:pt>
              </c:strCache>
            </c:strRef>
          </c:cat>
          <c:val>
            <c:numRef>
              <c:f>Sheet1!$B$2:$B$16</c:f>
              <c:numCache>
                <c:formatCode>General</c:formatCode>
                <c:ptCount val="15"/>
                <c:pt idx="0">
                  <c:v>21.81</c:v>
                </c:pt>
                <c:pt idx="1">
                  <c:v>39.01</c:v>
                </c:pt>
                <c:pt idx="2">
                  <c:v>24.97</c:v>
                </c:pt>
                <c:pt idx="3">
                  <c:v>38.47</c:v>
                </c:pt>
                <c:pt idx="4">
                  <c:v>45.3</c:v>
                </c:pt>
                <c:pt idx="5">
                  <c:v>22.32</c:v>
                </c:pt>
                <c:pt idx="6">
                  <c:v>85.63</c:v>
                </c:pt>
                <c:pt idx="7">
                  <c:v>42.14</c:v>
                </c:pt>
                <c:pt idx="8">
                  <c:v>37.4</c:v>
                </c:pt>
                <c:pt idx="9">
                  <c:v>24.21</c:v>
                </c:pt>
                <c:pt idx="10">
                  <c:v>46.58</c:v>
                </c:pt>
                <c:pt idx="11">
                  <c:v>36.82</c:v>
                </c:pt>
                <c:pt idx="12">
                  <c:v>23.92</c:v>
                </c:pt>
                <c:pt idx="13">
                  <c:v>76.33</c:v>
                </c:pt>
                <c:pt idx="14">
                  <c:v>40.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CH"/>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CE4-475F-8CF4-0AFE0E487B6E}"/>
                </c:ext>
              </c:extLst>
            </c:dLbl>
            <c:dLbl>
              <c:idx val="1"/>
              <c:tx>
                <c:rich>
                  <a:bodyPr/>
                  <a:lstStyle/>
                  <a:p>
                    <a:r>
                      <a:rPr lang="en-CH"/>
                      <a:t>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CE4-475F-8CF4-0AFE0E487B6E}"/>
                </c:ext>
              </c:extLst>
            </c:dLbl>
            <c:dLbl>
              <c:idx val="2"/>
              <c:tx>
                <c:rich>
                  <a:bodyPr/>
                  <a:lstStyle/>
                  <a:p>
                    <a:r>
                      <a:rPr lang="en-CH"/>
                      <a:t>37.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CE4-475F-8CF4-0AFE0E487B6E}"/>
                </c:ext>
              </c:extLst>
            </c:dLbl>
            <c:dLbl>
              <c:idx val="3"/>
              <c:tx>
                <c:rich>
                  <a:bodyPr/>
                  <a:lstStyle/>
                  <a:p>
                    <a:r>
                      <a:rPr lang="en-CH"/>
                      <a:t>2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CE4-475F-8CF4-0AFE0E487B6E}"/>
                </c:ext>
              </c:extLst>
            </c:dLbl>
            <c:dLbl>
              <c:idx val="4"/>
              <c:tx>
                <c:rich>
                  <a:bodyPr/>
                  <a:lstStyle/>
                  <a:p>
                    <a:r>
                      <a:rPr lang="en-CH"/>
                      <a:t>4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CE4-475F-8CF4-0AFE0E487B6E}"/>
                </c:ext>
              </c:extLst>
            </c:dLbl>
            <c:dLbl>
              <c:idx val="5"/>
              <c:tx>
                <c:rich>
                  <a:bodyPr/>
                  <a:lstStyle/>
                  <a:p>
                    <a:r>
                      <a:rPr lang="en-CH"/>
                      <a:t>44.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CE4-475F-8CF4-0AFE0E487B6E}"/>
                </c:ext>
              </c:extLst>
            </c:dLbl>
            <c:dLbl>
              <c:idx val="6"/>
              <c:tx>
                <c:rich>
                  <a:bodyPr/>
                  <a:lstStyle/>
                  <a:p>
                    <a:r>
                      <a:rPr lang="en-CH"/>
                      <a:t>2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CE4-475F-8CF4-0AFE0E487B6E}"/>
                </c:ext>
              </c:extLst>
            </c:dLbl>
            <c:dLbl>
              <c:idx val="7"/>
              <c:tx>
                <c:rich>
                  <a:bodyPr/>
                  <a:lstStyle/>
                  <a:p>
                    <a:r>
                      <a:rPr lang="en-CH"/>
                      <a:t>77.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CE4-475F-8CF4-0AFE0E487B6E}"/>
                </c:ext>
              </c:extLst>
            </c:dLbl>
            <c:dLbl>
              <c:idx val="8"/>
              <c:tx>
                <c:rich>
                  <a:bodyPr/>
                  <a:lstStyle/>
                  <a:p>
                    <a:r>
                      <a:rPr lang="en-CH"/>
                      <a:t>38.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CE4-475F-8CF4-0AFE0E487B6E}"/>
                </c:ext>
              </c:extLst>
            </c:dLbl>
            <c:dLbl>
              <c:idx val="9"/>
              <c:tx>
                <c:rich>
                  <a:bodyPr/>
                  <a:lstStyle/>
                  <a:p>
                    <a:r>
                      <a:rPr lang="en-CH"/>
                      <a:t>24.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CE4-475F-8CF4-0AFE0E487B6E}"/>
                </c:ext>
              </c:extLst>
            </c:dLbl>
            <c:dLbl>
              <c:idx val="10"/>
              <c:tx>
                <c:rich>
                  <a:bodyPr/>
                  <a:lstStyle/>
                  <a:p>
                    <a:r>
                      <a:rPr lang="en-CH"/>
                      <a:t>48.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CE4-475F-8CF4-0AFE0E487B6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HAMPAGNE E.NICOLAS BRUT 1CT X 750ML</c:v>
                </c:pt>
                <c:pt idx="1">
                  <c:v>CHAMPAGNE NICOLAS BLC/BLC BS 1CT X 750ML</c:v>
                </c:pt>
                <c:pt idx="2">
                  <c:v>CHAMPAGNE NICOLAS 1ERE CUVEE 1CT X 750ML</c:v>
                </c:pt>
                <c:pt idx="3">
                  <c:v>CHAMPAGNE E.NICOLAS ROSE 1CT X 750ML</c:v>
                </c:pt>
                <c:pt idx="4">
                  <c:v>CHAMPAGNE NICOLAS ROSE 1ERE CU 1CT X 750ML</c:v>
                </c:pt>
                <c:pt idx="5">
                  <c:v>MG CHAMPAGNE E.NICOLAS BRUT 1CT X 1500ML</c:v>
                </c:pt>
                <c:pt idx="6">
                  <c:v>1/2 CHAMPAGNE NICOLAS 1ERE CUV 1CT X 375ML</c:v>
                </c:pt>
                <c:pt idx="7">
                  <c:v>MG CHAMPAGNE NICOLAS BLC/BL BS 1CT X 1500ML</c:v>
                </c:pt>
                <c:pt idx="8">
                  <c:v>CHAMPAGNE NICOLAS BLC DE NOIRS 1CT X 750ML</c:v>
                </c:pt>
                <c:pt idx="9">
                  <c:v>1/2 CHAMP NICOLAS BLC/BLC BS 1CT X 375ML</c:v>
                </c:pt>
                <c:pt idx="10">
                  <c:v>CHAMPAGNE NICOLAS BIO NAT 2017 1CT X 750ML</c:v>
                </c:pt>
              </c:strCache>
            </c:strRef>
          </c:cat>
          <c:val>
            <c:numRef>
              <c:f>Sheet1!$B$2:$B$12</c:f>
              <c:numCache>
                <c:formatCode>General</c:formatCode>
                <c:ptCount val="11"/>
                <c:pt idx="0">
                  <c:v>21.92</c:v>
                </c:pt>
                <c:pt idx="1">
                  <c:v>39.200000000000003</c:v>
                </c:pt>
                <c:pt idx="2">
                  <c:v>37.29</c:v>
                </c:pt>
                <c:pt idx="3">
                  <c:v>25.16</c:v>
                </c:pt>
                <c:pt idx="4">
                  <c:v>40.729999999999997</c:v>
                </c:pt>
                <c:pt idx="5">
                  <c:v>44.86</c:v>
                </c:pt>
                <c:pt idx="6">
                  <c:v>22.42</c:v>
                </c:pt>
                <c:pt idx="7">
                  <c:v>77.790000000000006</c:v>
                </c:pt>
                <c:pt idx="8">
                  <c:v>38.880000000000003</c:v>
                </c:pt>
                <c:pt idx="9">
                  <c:v>24.38</c:v>
                </c:pt>
                <c:pt idx="10">
                  <c:v>48.3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CH"/>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81A-4C09-924B-FA011EB27DA5}"/>
                </c:ext>
              </c:extLst>
            </c:dLbl>
            <c:dLbl>
              <c:idx val="1"/>
              <c:tx>
                <c:rich>
                  <a:bodyPr/>
                  <a:lstStyle/>
                  <a:p>
                    <a:r>
                      <a:t>38.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81A-4C09-924B-FA011EB27DA5}"/>
                </c:ext>
              </c:extLst>
            </c:dLbl>
            <c:dLbl>
              <c:idx val="2"/>
              <c:tx>
                <c:rich>
                  <a:bodyPr/>
                  <a:lstStyle/>
                  <a:p>
                    <a:r>
                      <a:t>25.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81A-4C09-924B-FA011EB27DA5}"/>
                </c:ext>
              </c:extLst>
            </c:dLbl>
            <c:dLbl>
              <c:idx val="3"/>
              <c:tx>
                <c:rich>
                  <a:bodyPr/>
                  <a:lstStyle/>
                  <a:p>
                    <a:r>
                      <a:t>36.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81A-4C09-924B-FA011EB27DA5}"/>
                </c:ext>
              </c:extLst>
            </c:dLbl>
            <c:dLbl>
              <c:idx val="4"/>
              <c:tx>
                <c:rich>
                  <a:bodyPr/>
                  <a:lstStyle/>
                  <a:p>
                    <a:r>
                      <a:t>2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81A-4C09-924B-FA011EB27DA5}"/>
                </c:ext>
              </c:extLst>
            </c:dLbl>
            <c:dLbl>
              <c:idx val="5"/>
              <c:tx>
                <c:rich>
                  <a:bodyPr/>
                  <a:lstStyle/>
                  <a:p>
                    <a:r>
                      <a:t>4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81A-4C09-924B-FA011EB27DA5}"/>
                </c:ext>
              </c:extLst>
            </c:dLbl>
            <c:dLbl>
              <c:idx val="6"/>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81A-4C09-924B-FA011EB27DA5}"/>
                </c:ext>
              </c:extLst>
            </c:dLbl>
            <c:dLbl>
              <c:idx val="7"/>
              <c:tx>
                <c:rich>
                  <a:bodyPr/>
                  <a:lstStyle/>
                  <a:p>
                    <a:r>
                      <a:t>4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81A-4C09-924B-FA011EB27DA5}"/>
                </c:ext>
              </c:extLst>
            </c:dLbl>
            <c:dLbl>
              <c:idx val="8"/>
              <c:tx>
                <c:rich>
                  <a:bodyPr/>
                  <a:lstStyle/>
                  <a:p>
                    <a:r>
                      <a:t>24.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81A-4C09-924B-FA011EB27DA5}"/>
                </c:ext>
              </c:extLst>
            </c:dLbl>
            <c:dLbl>
              <c:idx val="9"/>
              <c:tx>
                <c:rich>
                  <a:bodyPr/>
                  <a:lstStyle/>
                  <a:p>
                    <a:r>
                      <a:t>2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81A-4C09-924B-FA011EB27DA5}"/>
                </c:ext>
              </c:extLst>
            </c:dLbl>
            <c:dLbl>
              <c:idx val="10"/>
              <c:tx>
                <c:rich>
                  <a:bodyPr/>
                  <a:lstStyle/>
                  <a:p>
                    <a:r>
                      <a:t>85.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81A-4C09-924B-FA011EB27DA5}"/>
                </c:ext>
              </c:extLst>
            </c:dLbl>
            <c:dLbl>
              <c:idx val="11"/>
              <c:tx>
                <c:rich>
                  <a:bodyPr/>
                  <a:lstStyle/>
                  <a:p>
                    <a:r>
                      <a:t>71.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81A-4C09-924B-FA011EB27DA5}"/>
                </c:ext>
              </c:extLst>
            </c:dLbl>
            <c:dLbl>
              <c:idx val="12"/>
              <c:tx>
                <c:rich>
                  <a:bodyPr/>
                  <a:lstStyle/>
                  <a:p>
                    <a:r>
                      <a:t>3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81A-4C09-924B-FA011EB27DA5}"/>
                </c:ext>
              </c:extLst>
            </c:dLbl>
            <c:dLbl>
              <c:idx val="13"/>
              <c:tx>
                <c:rich>
                  <a:bodyPr/>
                  <a:lstStyle/>
                  <a:p>
                    <a:r>
                      <a:t>36.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81A-4C09-924B-FA011EB27DA5}"/>
                </c:ext>
              </c:extLst>
            </c:dLbl>
            <c:dLbl>
              <c:idx val="14"/>
              <c:tx>
                <c:rich>
                  <a:bodyPr/>
                  <a:lstStyle/>
                  <a:p>
                    <a:r>
                      <a:t>36.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81A-4C09-924B-FA011EB27DA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CHAMPAGNE NICOLAS BIO NAT 2017 1CT X 750ML</c:v>
                </c:pt>
                <c:pt idx="6">
                  <c:v>MG CHAMPAGNE E.NICOLAS BRUT 1CT X 1500ML</c:v>
                </c:pt>
                <c:pt idx="7">
                  <c:v>CHAMPAGNE NICOLAS ROSE 1ERE CU 1CT X 750ML</c:v>
                </c:pt>
                <c:pt idx="8">
                  <c:v>1/2 CHAMP NICOLAS BLC/BLC BS 1CT X 375ML</c:v>
                </c:pt>
                <c:pt idx="9">
                  <c:v>1/2 CHAMP NICOLAS ROSE 1E C BS 1CT X 375ML</c:v>
                </c:pt>
                <c:pt idx="10">
                  <c:v>MG CHAMPAGNE NICOLAS BLC/BL BS 1CT X 1500ML</c:v>
                </c:pt>
                <c:pt idx="11">
                  <c:v>MG CHAMPAGNE NICOLAS 1ERE CUVE 1CT X 1500ML</c:v>
                </c:pt>
                <c:pt idx="12">
                  <c:v>CHAMPAGNE NICOLAS 1ER CRU BS 1CT X 750ML</c:v>
                </c:pt>
                <c:pt idx="13">
                  <c:v>CHAMPAGNE NICOLAS 1ER CRU ETUI 1CT X 750ML</c:v>
                </c:pt>
                <c:pt idx="14">
                  <c:v>CHAMPAGNE NICOLAS BLC DE NOIRS 1CT X 750ML</c:v>
                </c:pt>
              </c:strCache>
            </c:strRef>
          </c:cat>
          <c:val>
            <c:numRef>
              <c:f>Sheet1!$B$2:$B$16</c:f>
              <c:numCache>
                <c:formatCode>General</c:formatCode>
                <c:ptCount val="15"/>
                <c:pt idx="0">
                  <c:v>21.9</c:v>
                </c:pt>
                <c:pt idx="1">
                  <c:v>38.86</c:v>
                </c:pt>
                <c:pt idx="2">
                  <c:v>25.04</c:v>
                </c:pt>
                <c:pt idx="3">
                  <c:v>36.97</c:v>
                </c:pt>
                <c:pt idx="4">
                  <c:v>22.46</c:v>
                </c:pt>
                <c:pt idx="5">
                  <c:v>46.21</c:v>
                </c:pt>
                <c:pt idx="6">
                  <c:v>45.17</c:v>
                </c:pt>
                <c:pt idx="7">
                  <c:v>40.909999999999997</c:v>
                </c:pt>
                <c:pt idx="8">
                  <c:v>24.03</c:v>
                </c:pt>
                <c:pt idx="9">
                  <c:v>24.13</c:v>
                </c:pt>
                <c:pt idx="10">
                  <c:v>85.83</c:v>
                </c:pt>
                <c:pt idx="11">
                  <c:v>71.75</c:v>
                </c:pt>
                <c:pt idx="12">
                  <c:v>38.82</c:v>
                </c:pt>
                <c:pt idx="13">
                  <c:v>36.46</c:v>
                </c:pt>
                <c:pt idx="14">
                  <c:v>36.869999999999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BDA-453F-ACA2-D696CE9834EF}"/>
                </c:ext>
              </c:extLst>
            </c:dLbl>
            <c:dLbl>
              <c:idx val="1"/>
              <c:tx>
                <c:rich>
                  <a:bodyPr/>
                  <a:lstStyle/>
                  <a:p>
                    <a:r>
                      <a:t>39.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BDA-453F-ACA2-D696CE9834EF}"/>
                </c:ext>
              </c:extLst>
            </c:dLbl>
            <c:dLbl>
              <c:idx val="2"/>
              <c:tx>
                <c:rich>
                  <a:bodyPr/>
                  <a:lstStyle/>
                  <a:p>
                    <a:r>
                      <a:t>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BDA-453F-ACA2-D696CE9834EF}"/>
                </c:ext>
              </c:extLst>
            </c:dLbl>
            <c:dLbl>
              <c:idx val="3"/>
              <c:tx>
                <c:rich>
                  <a:bodyPr/>
                  <a:lstStyle/>
                  <a:p>
                    <a:r>
                      <a:t>36.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BDA-453F-ACA2-D696CE9834EF}"/>
                </c:ext>
              </c:extLst>
            </c:dLbl>
            <c:dLbl>
              <c:idx val="4"/>
              <c:tx>
                <c:rich>
                  <a:bodyPr/>
                  <a:lstStyle/>
                  <a:p>
                    <a:r>
                      <a:t>2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BDA-453F-ACA2-D696CE9834EF}"/>
                </c:ext>
              </c:extLst>
            </c:dLbl>
            <c:dLbl>
              <c:idx val="5"/>
              <c:tx>
                <c:rich>
                  <a:bodyPr/>
                  <a:lstStyle/>
                  <a:p>
                    <a:r>
                      <a:t>47.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BDA-453F-ACA2-D696CE9834EF}"/>
                </c:ext>
              </c:extLst>
            </c:dLbl>
            <c:dLbl>
              <c:idx val="6"/>
              <c:tx>
                <c:rich>
                  <a:bodyPr/>
                  <a:lstStyle/>
                  <a:p>
                    <a:r>
                      <a:t>2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BDA-453F-ACA2-D696CE9834EF}"/>
                </c:ext>
              </c:extLst>
            </c:dLbl>
            <c:dLbl>
              <c:idx val="7"/>
              <c:tx>
                <c:rich>
                  <a:bodyPr/>
                  <a:lstStyle/>
                  <a:p>
                    <a:r>
                      <a:t>4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BDA-453F-ACA2-D696CE9834EF}"/>
                </c:ext>
              </c:extLst>
            </c:dLbl>
            <c:dLbl>
              <c:idx val="8"/>
              <c:tx>
                <c:rich>
                  <a:bodyPr/>
                  <a:lstStyle/>
                  <a:p>
                    <a:r>
                      <a:t>4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BDA-453F-ACA2-D696CE9834EF}"/>
                </c:ext>
              </c:extLst>
            </c:dLbl>
            <c:dLbl>
              <c:idx val="9"/>
              <c:tx>
                <c:rich>
                  <a:bodyPr/>
                  <a:lstStyle/>
                  <a:p>
                    <a:r>
                      <a:t>37.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BDA-453F-ACA2-D696CE9834EF}"/>
                </c:ext>
              </c:extLst>
            </c:dLbl>
            <c:dLbl>
              <c:idx val="10"/>
              <c:tx>
                <c:rich>
                  <a:bodyPr/>
                  <a:lstStyle/>
                  <a:p>
                    <a:r>
                      <a:t>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BDA-453F-ACA2-D696CE9834EF}"/>
                </c:ext>
              </c:extLst>
            </c:dLbl>
            <c:dLbl>
              <c:idx val="11"/>
              <c:tx>
                <c:rich>
                  <a:bodyPr/>
                  <a:lstStyle/>
                  <a:p>
                    <a:r>
                      <a:t>78.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DA-453F-ACA2-D696CE9834EF}"/>
                </c:ext>
              </c:extLst>
            </c:dLbl>
            <c:dLbl>
              <c:idx val="12"/>
              <c:tx>
                <c:rich>
                  <a:bodyPr/>
                  <a:lstStyle/>
                  <a:p>
                    <a:r>
                      <a:t>37.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BDA-453F-ACA2-D696CE9834EF}"/>
                </c:ext>
              </c:extLst>
            </c:dLbl>
            <c:dLbl>
              <c:idx val="13"/>
              <c:tx>
                <c:rich>
                  <a:bodyPr/>
                  <a:lstStyle/>
                  <a:p>
                    <a:r>
                      <a:t>36.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BDA-453F-ACA2-D696CE9834EF}"/>
                </c:ext>
              </c:extLst>
            </c:dLbl>
            <c:dLbl>
              <c:idx val="14"/>
              <c:tx>
                <c:rich>
                  <a:bodyPr/>
                  <a:lstStyle/>
                  <a:p>
                    <a:r>
                      <a:t>77.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BDA-453F-ACA2-D696CE9834E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1/2 CHAMP NICOLAS BLC/BLC BS 1CT X 375ML</c:v>
                </c:pt>
                <c:pt idx="7">
                  <c:v>CHAMPAGNE NICOLAS BIO NAT 2017 1CT X 750ML</c:v>
                </c:pt>
                <c:pt idx="8">
                  <c:v>CHAMPAGNE NICOLAS ROSE 1ERE CU 1CT X 750ML</c:v>
                </c:pt>
                <c:pt idx="9">
                  <c:v>CHAMPAGNE NICOLAS BLC DE NOIRS 1CT X 750ML</c:v>
                </c:pt>
                <c:pt idx="10">
                  <c:v>1/2 CHAMP NICOLAS ROSE 1E C BS 1CT X 375ML</c:v>
                </c:pt>
                <c:pt idx="11">
                  <c:v>MG CHAMPAGNE NICOLAS BLC/BL BS 1CT X 1500ML</c:v>
                </c:pt>
                <c:pt idx="12">
                  <c:v>CHAMPAGNE NICOLAS 1ER CRU ETUI 1CT X 750ML</c:v>
                </c:pt>
                <c:pt idx="13">
                  <c:v>CHAMPAGNE NICOLAS 1ER CRU BS 1CT X 750ML</c:v>
                </c:pt>
                <c:pt idx="14">
                  <c:v>MG CHAMPAGNE NICOLAS 1ERE CUVE 1CT X 1500ML</c:v>
                </c:pt>
              </c:strCache>
            </c:strRef>
          </c:cat>
          <c:val>
            <c:numRef>
              <c:f>Sheet1!$B$2:$B$16</c:f>
              <c:numCache>
                <c:formatCode>General</c:formatCode>
                <c:ptCount val="15"/>
                <c:pt idx="0">
                  <c:v>21.9</c:v>
                </c:pt>
                <c:pt idx="1">
                  <c:v>39.18</c:v>
                </c:pt>
                <c:pt idx="2">
                  <c:v>25</c:v>
                </c:pt>
                <c:pt idx="3">
                  <c:v>36.549999999999997</c:v>
                </c:pt>
                <c:pt idx="4">
                  <c:v>22.95</c:v>
                </c:pt>
                <c:pt idx="5">
                  <c:v>47.33</c:v>
                </c:pt>
                <c:pt idx="6">
                  <c:v>23.93</c:v>
                </c:pt>
                <c:pt idx="7">
                  <c:v>45.77</c:v>
                </c:pt>
                <c:pt idx="8">
                  <c:v>42.07</c:v>
                </c:pt>
                <c:pt idx="9">
                  <c:v>37.67</c:v>
                </c:pt>
                <c:pt idx="10">
                  <c:v>23.6</c:v>
                </c:pt>
                <c:pt idx="11">
                  <c:v>78.81</c:v>
                </c:pt>
                <c:pt idx="12">
                  <c:v>37.42</c:v>
                </c:pt>
                <c:pt idx="13">
                  <c:v>36.229999999999997</c:v>
                </c:pt>
                <c:pt idx="14">
                  <c:v>77.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2CE-4547-B9CE-EBD627A90562}"/>
                </c:ext>
              </c:extLst>
            </c:dLbl>
            <c:dLbl>
              <c:idx val="1"/>
              <c:tx>
                <c:rich>
                  <a:bodyPr/>
                  <a:lstStyle/>
                  <a:p>
                    <a:r>
                      <a:t>3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2CE-4547-B9CE-EBD627A90562}"/>
                </c:ext>
              </c:extLst>
            </c:dLbl>
            <c:dLbl>
              <c:idx val="2"/>
              <c:tx>
                <c:rich>
                  <a:bodyPr/>
                  <a:lstStyle/>
                  <a:p>
                    <a:r>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2CE-4547-B9CE-EBD627A90562}"/>
                </c:ext>
              </c:extLst>
            </c:dLbl>
            <c:dLbl>
              <c:idx val="3"/>
              <c:tx>
                <c:rich>
                  <a:bodyPr/>
                  <a:lstStyle/>
                  <a:p>
                    <a:r>
                      <a:t>36.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2CE-4547-B9CE-EBD627A90562}"/>
                </c:ext>
              </c:extLst>
            </c:dLbl>
            <c:dLbl>
              <c:idx val="4"/>
              <c:tx>
                <c:rich>
                  <a:bodyPr/>
                  <a:lstStyle/>
                  <a:p>
                    <a:r>
                      <a:t>4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2CE-4547-B9CE-EBD627A90562}"/>
                </c:ext>
              </c:extLst>
            </c:dLbl>
            <c:dLbl>
              <c:idx val="5"/>
              <c:tx>
                <c:rich>
                  <a:bodyPr/>
                  <a:lstStyle/>
                  <a:p>
                    <a:r>
                      <a:t>85.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2CE-4547-B9CE-EBD627A90562}"/>
                </c:ext>
              </c:extLst>
            </c:dLbl>
            <c:dLbl>
              <c:idx val="6"/>
              <c:tx>
                <c:rich>
                  <a:bodyPr/>
                  <a:lstStyle/>
                  <a:p>
                    <a:r>
                      <a:t>2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2CE-4547-B9CE-EBD627A90562}"/>
                </c:ext>
              </c:extLst>
            </c:dLbl>
            <c:dLbl>
              <c:idx val="7"/>
              <c:tx>
                <c:rich>
                  <a:bodyPr/>
                  <a:lstStyle/>
                  <a:p>
                    <a:r>
                      <a:t>39.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2CE-4547-B9CE-EBD627A90562}"/>
                </c:ext>
              </c:extLst>
            </c:dLbl>
            <c:dLbl>
              <c:idx val="8"/>
              <c:tx>
                <c:rich>
                  <a:bodyPr/>
                  <a:lstStyle/>
                  <a:p>
                    <a:r>
                      <a:t>2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2CE-4547-B9CE-EBD627A90562}"/>
                </c:ext>
              </c:extLst>
            </c:dLbl>
            <c:dLbl>
              <c:idx val="9"/>
              <c:tx>
                <c:rich>
                  <a:bodyPr/>
                  <a:lstStyle/>
                  <a:p>
                    <a:r>
                      <a:t>24.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2CE-4547-B9CE-EBD627A90562}"/>
                </c:ext>
              </c:extLst>
            </c:dLbl>
            <c:dLbl>
              <c:idx val="10"/>
              <c:tx>
                <c:rich>
                  <a:bodyPr/>
                  <a:lstStyle/>
                  <a:p>
                    <a:r>
                      <a:t>89.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2CE-4547-B9CE-EBD627A90562}"/>
                </c:ext>
              </c:extLst>
            </c:dLbl>
            <c:dLbl>
              <c:idx val="11"/>
              <c:tx>
                <c:rich>
                  <a:bodyPr/>
                  <a:lstStyle/>
                  <a:p>
                    <a:r>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2CE-4547-B9CE-EBD627A90562}"/>
                </c:ext>
              </c:extLst>
            </c:dLbl>
            <c:dLbl>
              <c:idx val="12"/>
              <c:tx>
                <c:rich>
                  <a:bodyPr/>
                  <a:lstStyle/>
                  <a:p>
                    <a:r>
                      <a:t>46.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2CE-4547-B9CE-EBD627A90562}"/>
                </c:ext>
              </c:extLst>
            </c:dLbl>
            <c:dLbl>
              <c:idx val="13"/>
              <c:tx>
                <c:rich>
                  <a:bodyPr/>
                  <a:lstStyle/>
                  <a:p>
                    <a:r>
                      <a:t>40.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2CE-4547-B9CE-EBD627A90562}"/>
                </c:ext>
              </c:extLst>
            </c:dLbl>
            <c:dLbl>
              <c:idx val="14"/>
              <c:tx>
                <c:rich>
                  <a:bodyPr/>
                  <a:lstStyle/>
                  <a:p>
                    <a:r>
                      <a:t>38.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82CE-4547-B9CE-EBD627A9056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MG CHAMPAGNE NICOLAS BLC/BL BS 1CT X 1500ML</c:v>
                </c:pt>
                <c:pt idx="6">
                  <c:v>1/2 CHAMP NICOLAS BLC/BLC BS 1CT X 375ML</c:v>
                </c:pt>
                <c:pt idx="7">
                  <c:v>CHAMPAGNE NICOLAS ROSE 1ERE CU 1CT X 750ML</c:v>
                </c:pt>
                <c:pt idx="8">
                  <c:v>1/2 CHAMPAGNE NICOLAS 1ERE CUV 1CT X 375ML</c:v>
                </c:pt>
                <c:pt idx="9">
                  <c:v>1/2 CHAMP NICOLAS ROSE 1E C BS 1CT X 375ML</c:v>
                </c:pt>
                <c:pt idx="10">
                  <c:v>MG CHAMPAGNE NICOLAS 1ERE CUVE 1CT X 1500ML</c:v>
                </c:pt>
                <c:pt idx="11">
                  <c:v>CHAMPAGNE NICOLAS BLC DE NOIRS 1CT X 750ML</c:v>
                </c:pt>
                <c:pt idx="12">
                  <c:v>CHAMPAGNE NICOLAS BIO NAT 2017 1CT X 750ML</c:v>
                </c:pt>
                <c:pt idx="13">
                  <c:v>CHAMPAGNE NICOLAS BLC/BL BS ET 1CT X 750ML</c:v>
                </c:pt>
                <c:pt idx="14">
                  <c:v>CHAMPAGNE NICOLAS 1ER CRU BS 1CT X 750ML</c:v>
                </c:pt>
              </c:strCache>
            </c:strRef>
          </c:cat>
          <c:val>
            <c:numRef>
              <c:f>Sheet1!$B$2:$B$16</c:f>
              <c:numCache>
                <c:formatCode>General</c:formatCode>
                <c:ptCount val="15"/>
                <c:pt idx="0">
                  <c:v>21.91</c:v>
                </c:pt>
                <c:pt idx="1">
                  <c:v>39.020000000000003</c:v>
                </c:pt>
                <c:pt idx="2">
                  <c:v>24.95</c:v>
                </c:pt>
                <c:pt idx="3">
                  <c:v>36.89</c:v>
                </c:pt>
                <c:pt idx="4">
                  <c:v>43.32</c:v>
                </c:pt>
                <c:pt idx="5">
                  <c:v>85.35</c:v>
                </c:pt>
                <c:pt idx="6">
                  <c:v>23.76</c:v>
                </c:pt>
                <c:pt idx="7">
                  <c:v>39.39</c:v>
                </c:pt>
                <c:pt idx="8">
                  <c:v>23.02</c:v>
                </c:pt>
                <c:pt idx="9">
                  <c:v>24.95</c:v>
                </c:pt>
                <c:pt idx="10">
                  <c:v>89.26</c:v>
                </c:pt>
                <c:pt idx="11">
                  <c:v>36.18</c:v>
                </c:pt>
                <c:pt idx="12">
                  <c:v>46.79</c:v>
                </c:pt>
                <c:pt idx="13">
                  <c:v>40.67</c:v>
                </c:pt>
                <c:pt idx="14">
                  <c:v>38.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07-4571-9112-F2773D8724F3}"/>
                </c:ext>
              </c:extLst>
            </c:dLbl>
            <c:dLbl>
              <c:idx val="1"/>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607-4571-9112-F2773D8724F3}"/>
                </c:ext>
              </c:extLst>
            </c:dLbl>
            <c:dLbl>
              <c:idx val="2"/>
              <c:tx>
                <c:rich>
                  <a:bodyPr/>
                  <a:lstStyle/>
                  <a:p>
                    <a:r>
                      <a:t>25.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607-4571-9112-F2773D8724F3}"/>
                </c:ext>
              </c:extLst>
            </c:dLbl>
            <c:dLbl>
              <c:idx val="3"/>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607-4571-9112-F2773D8724F3}"/>
                </c:ext>
              </c:extLst>
            </c:dLbl>
            <c:dLbl>
              <c:idx val="4"/>
              <c:tx>
                <c:rich>
                  <a:bodyPr/>
                  <a:lstStyle/>
                  <a:p>
                    <a:r>
                      <a:t>2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607-4571-9112-F2773D8724F3}"/>
                </c:ext>
              </c:extLst>
            </c:dLbl>
            <c:dLbl>
              <c:idx val="5"/>
              <c:tx>
                <c:rich>
                  <a:bodyPr/>
                  <a:lstStyle/>
                  <a:p>
                    <a:r>
                      <a:t>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607-4571-9112-F2773D8724F3}"/>
                </c:ext>
              </c:extLst>
            </c:dLbl>
            <c:dLbl>
              <c:idx val="6"/>
              <c:tx>
                <c:rich>
                  <a:bodyPr/>
                  <a:lstStyle/>
                  <a:p>
                    <a:r>
                      <a:t>41.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607-4571-9112-F2773D8724F3}"/>
                </c:ext>
              </c:extLst>
            </c:dLbl>
            <c:dLbl>
              <c:idx val="7"/>
              <c:tx>
                <c:rich>
                  <a:bodyPr/>
                  <a:lstStyle/>
                  <a:p>
                    <a:r>
                      <a:t>4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607-4571-9112-F2773D8724F3}"/>
                </c:ext>
              </c:extLst>
            </c:dLbl>
            <c:dLbl>
              <c:idx val="8"/>
              <c:tx>
                <c:rich>
                  <a:bodyPr/>
                  <a:lstStyle/>
                  <a:p>
                    <a:r>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607-4571-9112-F2773D8724F3}"/>
                </c:ext>
              </c:extLst>
            </c:dLbl>
            <c:dLbl>
              <c:idx val="9"/>
              <c:tx>
                <c:rich>
                  <a:bodyPr/>
                  <a:lstStyle/>
                  <a:p>
                    <a:r>
                      <a:t>86.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607-4571-9112-F2773D8724F3}"/>
                </c:ext>
              </c:extLst>
            </c:dLbl>
            <c:dLbl>
              <c:idx val="10"/>
              <c:tx>
                <c:rich>
                  <a:bodyPr/>
                  <a:lstStyle/>
                  <a:p>
                    <a:r>
                      <a:t>23.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607-4571-9112-F2773D8724F3}"/>
                </c:ext>
              </c:extLst>
            </c:dLbl>
            <c:dLbl>
              <c:idx val="11"/>
              <c:tx>
                <c:rich>
                  <a:bodyPr/>
                  <a:lstStyle/>
                  <a:p>
                    <a:r>
                      <a:t>37.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607-4571-9112-F2773D8724F3}"/>
                </c:ext>
              </c:extLst>
            </c:dLbl>
            <c:dLbl>
              <c:idx val="12"/>
              <c:tx>
                <c:rich>
                  <a:bodyPr/>
                  <a:lstStyle/>
                  <a:p>
                    <a:r>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607-4571-9112-F2773D8724F3}"/>
                </c:ext>
              </c:extLst>
            </c:dLbl>
            <c:dLbl>
              <c:idx val="13"/>
              <c:tx>
                <c:rich>
                  <a:bodyPr/>
                  <a:lstStyle/>
                  <a:p>
                    <a:r>
                      <a:t>76.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607-4571-9112-F2773D8724F3}"/>
                </c:ext>
              </c:extLst>
            </c:dLbl>
            <c:dLbl>
              <c:idx val="14"/>
              <c:tx>
                <c:rich>
                  <a:bodyPr/>
                  <a:lstStyle/>
                  <a:p>
                    <a:r>
                      <a:t>37.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607-4571-9112-F2773D8724F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CHAMPAGNE NICOLAS BIO NAT 2017 1CT X 750ML</c:v>
                </c:pt>
                <c:pt idx="8">
                  <c:v>1/2 CHAMP NICOLAS BLC/BLC BS 1CT X 375ML</c:v>
                </c:pt>
                <c:pt idx="9">
                  <c:v>MG CHAMPAGNE NICOLAS BLC/BL BS 1CT X 1500ML</c:v>
                </c:pt>
                <c:pt idx="10">
                  <c:v>1/2 CHAMP NICOLAS ROSE 1E C BS 1CT X 375ML</c:v>
                </c:pt>
                <c:pt idx="11">
                  <c:v>CHAMPAGNE NICOLAS BLC DE NOIRS 1CT X 750ML</c:v>
                </c:pt>
                <c:pt idx="12">
                  <c:v>CHAMPAGNE NICOLAS 1ER CRU BS 1CT X 750ML</c:v>
                </c:pt>
                <c:pt idx="13">
                  <c:v>MG CHAMPAGNE NICOLAS 1ERE CUVE 1CT X 1500ML</c:v>
                </c:pt>
                <c:pt idx="14">
                  <c:v>CHAMPAGNE NICOLAS 1ER CRU ETUI 1CT X 750ML</c:v>
                </c:pt>
              </c:strCache>
            </c:strRef>
          </c:cat>
          <c:val>
            <c:numRef>
              <c:f>Sheet1!$B$2:$B$16</c:f>
              <c:numCache>
                <c:formatCode>General</c:formatCode>
                <c:ptCount val="15"/>
                <c:pt idx="0">
                  <c:v>21.89</c:v>
                </c:pt>
                <c:pt idx="1">
                  <c:v>39</c:v>
                </c:pt>
                <c:pt idx="2">
                  <c:v>25.01</c:v>
                </c:pt>
                <c:pt idx="3">
                  <c:v>36.99</c:v>
                </c:pt>
                <c:pt idx="4">
                  <c:v>22.28</c:v>
                </c:pt>
                <c:pt idx="5">
                  <c:v>45.37</c:v>
                </c:pt>
                <c:pt idx="6">
                  <c:v>41.24</c:v>
                </c:pt>
                <c:pt idx="7">
                  <c:v>46.38</c:v>
                </c:pt>
                <c:pt idx="8">
                  <c:v>23.97</c:v>
                </c:pt>
                <c:pt idx="9">
                  <c:v>86.54</c:v>
                </c:pt>
                <c:pt idx="10">
                  <c:v>23.99</c:v>
                </c:pt>
                <c:pt idx="11">
                  <c:v>37.19</c:v>
                </c:pt>
                <c:pt idx="12">
                  <c:v>37.020000000000003</c:v>
                </c:pt>
                <c:pt idx="13">
                  <c:v>76.13</c:v>
                </c:pt>
                <c:pt idx="14">
                  <c:v>37.0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D84-4AA2-A564-A4CAD4A1F725}"/>
                </c:ext>
              </c:extLst>
            </c:dLbl>
            <c:dLbl>
              <c:idx val="1"/>
              <c:tx>
                <c:rich>
                  <a:bodyPr/>
                  <a:lstStyle/>
                  <a:p>
                    <a:r>
                      <a:t>39.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D84-4AA2-A564-A4CAD4A1F725}"/>
                </c:ext>
              </c:extLst>
            </c:dLbl>
            <c:dLbl>
              <c:idx val="2"/>
              <c:tx>
                <c:rich>
                  <a:bodyPr/>
                  <a:lstStyle/>
                  <a:p>
                    <a:r>
                      <a:t>24.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D84-4AA2-A564-A4CAD4A1F725}"/>
                </c:ext>
              </c:extLst>
            </c:dLbl>
            <c:dLbl>
              <c:idx val="3"/>
              <c:tx>
                <c:rich>
                  <a:bodyPr/>
                  <a:lstStyle/>
                  <a:p>
                    <a:r>
                      <a:t>37.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D84-4AA2-A564-A4CAD4A1F725}"/>
                </c:ext>
              </c:extLst>
            </c:dLbl>
            <c:dLbl>
              <c:idx val="4"/>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D84-4AA2-A564-A4CAD4A1F725}"/>
                </c:ext>
              </c:extLst>
            </c:dLbl>
            <c:dLbl>
              <c:idx val="5"/>
              <c:tx>
                <c:rich>
                  <a:bodyPr/>
                  <a:lstStyle/>
                  <a:p>
                    <a:r>
                      <a:t>2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D84-4AA2-A564-A4CAD4A1F725}"/>
                </c:ext>
              </c:extLst>
            </c:dLbl>
            <c:dLbl>
              <c:idx val="6"/>
              <c:tx>
                <c:rich>
                  <a:bodyPr/>
                  <a:lstStyle/>
                  <a:p>
                    <a:r>
                      <a:t>2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D84-4AA2-A564-A4CAD4A1F725}"/>
                </c:ext>
              </c:extLst>
            </c:dLbl>
            <c:dLbl>
              <c:idx val="7"/>
              <c:tx>
                <c:rich>
                  <a:bodyPr/>
                  <a:lstStyle/>
                  <a:p>
                    <a:r>
                      <a:t>4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D84-4AA2-A564-A4CAD4A1F725}"/>
                </c:ext>
              </c:extLst>
            </c:dLbl>
            <c:dLbl>
              <c:idx val="8"/>
              <c:tx>
                <c:rich>
                  <a:bodyPr/>
                  <a:lstStyle/>
                  <a:p>
                    <a:r>
                      <a:t>86.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D84-4AA2-A564-A4CAD4A1F725}"/>
                </c:ext>
              </c:extLst>
            </c:dLbl>
            <c:dLbl>
              <c:idx val="9"/>
              <c:tx>
                <c:rich>
                  <a:bodyPr/>
                  <a:lstStyle/>
                  <a:p>
                    <a:r>
                      <a:t>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D84-4AA2-A564-A4CAD4A1F725}"/>
                </c:ext>
              </c:extLst>
            </c:dLbl>
            <c:dLbl>
              <c:idx val="10"/>
              <c:tx>
                <c:rich>
                  <a:bodyPr/>
                  <a:lstStyle/>
                  <a:p>
                    <a:r>
                      <a:t>7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D84-4AA2-A564-A4CAD4A1F725}"/>
                </c:ext>
              </c:extLst>
            </c:dLbl>
            <c:dLbl>
              <c:idx val="11"/>
              <c:tx>
                <c:rich>
                  <a:bodyPr/>
                  <a:lstStyle/>
                  <a:p>
                    <a:r>
                      <a:t>38.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4-4AA2-A564-A4CAD4A1F725}"/>
                </c:ext>
              </c:extLst>
            </c:dLbl>
            <c:dLbl>
              <c:idx val="12"/>
              <c:tx>
                <c:rich>
                  <a:bodyPr/>
                  <a:lstStyle/>
                  <a:p>
                    <a:r>
                      <a:t>24.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D84-4AA2-A564-A4CAD4A1F725}"/>
                </c:ext>
              </c:extLst>
            </c:dLbl>
            <c:dLbl>
              <c:idx val="13"/>
              <c:tx>
                <c:rich>
                  <a:bodyPr/>
                  <a:lstStyle/>
                  <a:p>
                    <a:r>
                      <a:t>37.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D84-4AA2-A564-A4CAD4A1F725}"/>
                </c:ext>
              </c:extLst>
            </c:dLbl>
            <c:dLbl>
              <c:idx val="14"/>
              <c:tx>
                <c:rich>
                  <a:bodyPr/>
                  <a:lstStyle/>
                  <a:p>
                    <a:r>
                      <a:t>38.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D84-4AA2-A564-A4CAD4A1F72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1/2 CHAMP NICOLAS BLC/BLC BS 1CT X 375ML</c:v>
                </c:pt>
                <c:pt idx="7">
                  <c:v>CHAMPAGNE NICOLAS ROSE 1ERE CU 1CT X 750ML</c:v>
                </c:pt>
                <c:pt idx="8">
                  <c:v>MG CHAMPAGNE NICOLAS BLC/BL BS 1CT X 1500ML</c:v>
                </c:pt>
                <c:pt idx="9">
                  <c:v>CHAMPAGNE NICOLAS BIO NAT 2017 1CT X 750ML</c:v>
                </c:pt>
                <c:pt idx="10">
                  <c:v>MG CHAMPAGNE NICOLAS 1ERE CUVE 1CT X 1500ML</c:v>
                </c:pt>
                <c:pt idx="11">
                  <c:v>CHAMPAGNE NICOLAS 1ER CRU BS 1CT X 750ML</c:v>
                </c:pt>
                <c:pt idx="12">
                  <c:v>1/2 CHAMP NICOLAS ROSE 1E C BS 1CT X 375ML</c:v>
                </c:pt>
                <c:pt idx="13">
                  <c:v>CHAMPAGNE NICOLAS 1ER CRU ETUI 1CT X 750ML</c:v>
                </c:pt>
                <c:pt idx="14">
                  <c:v>CHAMPAGNE NICOLAS BLC DE NOIRS 1CT X 750ML</c:v>
                </c:pt>
              </c:strCache>
            </c:strRef>
          </c:cat>
          <c:val>
            <c:numRef>
              <c:f>Sheet1!$B$2:$B$16</c:f>
              <c:numCache>
                <c:formatCode>General</c:formatCode>
                <c:ptCount val="15"/>
                <c:pt idx="0">
                  <c:v>21.87</c:v>
                </c:pt>
                <c:pt idx="1">
                  <c:v>39.07</c:v>
                </c:pt>
                <c:pt idx="2">
                  <c:v>24.99</c:v>
                </c:pt>
                <c:pt idx="3">
                  <c:v>37.229999999999997</c:v>
                </c:pt>
                <c:pt idx="4">
                  <c:v>44.67</c:v>
                </c:pt>
                <c:pt idx="5">
                  <c:v>22.49</c:v>
                </c:pt>
                <c:pt idx="6">
                  <c:v>24.19</c:v>
                </c:pt>
                <c:pt idx="7">
                  <c:v>41.02</c:v>
                </c:pt>
                <c:pt idx="8">
                  <c:v>86.05</c:v>
                </c:pt>
                <c:pt idx="9">
                  <c:v>47.8</c:v>
                </c:pt>
                <c:pt idx="10">
                  <c:v>76.92</c:v>
                </c:pt>
                <c:pt idx="11">
                  <c:v>38.659999999999997</c:v>
                </c:pt>
                <c:pt idx="12">
                  <c:v>24.72</c:v>
                </c:pt>
                <c:pt idx="13">
                  <c:v>37.770000000000003</c:v>
                </c:pt>
                <c:pt idx="14">
                  <c:v>38.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76F-46EC-8183-DAB6CFAF6C95}"/>
                </c:ext>
              </c:extLst>
            </c:dLbl>
            <c:dLbl>
              <c:idx val="1"/>
              <c:tx>
                <c:rich>
                  <a:bodyPr/>
                  <a:lstStyle/>
                  <a:p>
                    <a:r>
                      <a:t>2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76F-46EC-8183-DAB6CFAF6C95}"/>
                </c:ext>
              </c:extLst>
            </c:dLbl>
            <c:dLbl>
              <c:idx val="2"/>
              <c:tx>
                <c:rich>
                  <a:bodyPr/>
                  <a:lstStyle/>
                  <a:p>
                    <a:r>
                      <a:t>39.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76F-46EC-8183-DAB6CFAF6C95}"/>
                </c:ext>
              </c:extLst>
            </c:dLbl>
            <c:dLbl>
              <c:idx val="3"/>
              <c:tx>
                <c:rich>
                  <a:bodyPr/>
                  <a:lstStyle/>
                  <a:p>
                    <a:r>
                      <a:t>3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76F-46EC-8183-DAB6CFAF6C95}"/>
                </c:ext>
              </c:extLst>
            </c:dLbl>
            <c:dLbl>
              <c:idx val="4"/>
              <c:tx>
                <c:rich>
                  <a:bodyPr/>
                  <a:lstStyle/>
                  <a:p>
                    <a:r>
                      <a:t>4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76F-46EC-8183-DAB6CFAF6C95}"/>
                </c:ext>
              </c:extLst>
            </c:dLbl>
            <c:dLbl>
              <c:idx val="5"/>
              <c:tx>
                <c:rich>
                  <a:bodyPr/>
                  <a:lstStyle/>
                  <a:p>
                    <a:r>
                      <a:t>2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76F-46EC-8183-DAB6CFAF6C95}"/>
                </c:ext>
              </c:extLst>
            </c:dLbl>
            <c:dLbl>
              <c:idx val="6"/>
              <c:tx>
                <c:rich>
                  <a:bodyPr/>
                  <a:lstStyle/>
                  <a:p>
                    <a:r>
                      <a:t>8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76F-46EC-8183-DAB6CFAF6C95}"/>
                </c:ext>
              </c:extLst>
            </c:dLbl>
            <c:dLbl>
              <c:idx val="7"/>
              <c:tx>
                <c:rich>
                  <a:bodyPr/>
                  <a:lstStyle/>
                  <a:p>
                    <a:r>
                      <a:t>40.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76F-46EC-8183-DAB6CFAF6C95}"/>
                </c:ext>
              </c:extLst>
            </c:dLbl>
            <c:dLbl>
              <c:idx val="8"/>
              <c:tx>
                <c:rich>
                  <a:bodyPr/>
                  <a:lstStyle/>
                  <a:p>
                    <a:r>
                      <a:t>4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76F-46EC-8183-DAB6CFAF6C95}"/>
                </c:ext>
              </c:extLst>
            </c:dLbl>
            <c:dLbl>
              <c:idx val="9"/>
              <c:tx>
                <c:rich>
                  <a:bodyPr/>
                  <a:lstStyle/>
                  <a:p>
                    <a:r>
                      <a:t>2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76F-46EC-8183-DAB6CFAF6C95}"/>
                </c:ext>
              </c:extLst>
            </c:dLbl>
            <c:dLbl>
              <c:idx val="10"/>
              <c:tx>
                <c:rich>
                  <a:bodyPr/>
                  <a:lstStyle/>
                  <a:p>
                    <a:r>
                      <a:t>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76F-46EC-8183-DAB6CFAF6C95}"/>
                </c:ext>
              </c:extLst>
            </c:dLbl>
            <c:dLbl>
              <c:idx val="11"/>
              <c:tx>
                <c:rich>
                  <a:bodyPr/>
                  <a:lstStyle/>
                  <a:p>
                    <a:r>
                      <a:t>37.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76F-46EC-8183-DAB6CFAF6C95}"/>
                </c:ext>
              </c:extLst>
            </c:dLbl>
            <c:dLbl>
              <c:idx val="12"/>
              <c:tx>
                <c:rich>
                  <a:bodyPr/>
                  <a:lstStyle/>
                  <a:p>
                    <a:r>
                      <a:t>81.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76F-46EC-8183-DAB6CFAF6C95}"/>
                </c:ext>
              </c:extLst>
            </c:dLbl>
            <c:dLbl>
              <c:idx val="13"/>
              <c:tx>
                <c:rich>
                  <a:bodyPr/>
                  <a:lstStyle/>
                  <a:p>
                    <a:r>
                      <a:t>37.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76F-46EC-8183-DAB6CFAF6C95}"/>
                </c:ext>
              </c:extLst>
            </c:dLbl>
            <c:dLbl>
              <c:idx val="14"/>
              <c:tx>
                <c:rich>
                  <a:bodyPr/>
                  <a:lstStyle/>
                  <a:p>
                    <a:r>
                      <a:t>3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76F-46EC-8183-DAB6CFAF6C9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E.NICOLAS ROSE 1CT X 750ML</c:v>
                </c:pt>
                <c:pt idx="2">
                  <c:v>CHAMPAGNE NICOLAS BLC/BLC BS 1CT X 750ML</c:v>
                </c:pt>
                <c:pt idx="3">
                  <c:v>CHAMPAGNE NICOLAS 1ERE CUVEE 1CT X 750ML</c:v>
                </c:pt>
                <c:pt idx="4">
                  <c:v>MG CHAMPAGNE E.NICOLAS BRUT 1CT X 1500ML</c:v>
                </c:pt>
                <c:pt idx="5">
                  <c:v>1/2 CHAMPAGNE NICOLAS 1ERE CUV 1CT X 375ML</c:v>
                </c:pt>
                <c:pt idx="6">
                  <c:v>MG CHAMPAGNE NICOLAS BLC/BL BS 1CT X 1500ML</c:v>
                </c:pt>
                <c:pt idx="7">
                  <c:v>CHAMPAGNE NICOLAS ROSE 1ERE CU 1CT X 750ML</c:v>
                </c:pt>
                <c:pt idx="8">
                  <c:v>CHAMPAGNE NICOLAS BIO NAT 2017 1CT X 750ML</c:v>
                </c:pt>
                <c:pt idx="9">
                  <c:v>1/2 CHAMP NICOLAS ROSE 1E C BS 1CT X 375ML</c:v>
                </c:pt>
                <c:pt idx="10">
                  <c:v>1/2 CHAMP NICOLAS BLC/BLC BS 1CT X 375ML</c:v>
                </c:pt>
                <c:pt idx="11">
                  <c:v>CHAMPAGNE NICOLAS BLC DE NOIRS 1CT X 750ML</c:v>
                </c:pt>
                <c:pt idx="12">
                  <c:v>MG CHAMPAGNE NICOLAS 1ERE CUVE 1CT X 1500ML</c:v>
                </c:pt>
                <c:pt idx="13">
                  <c:v>CHAMPAGNE NICOLAS 1ER CRU BS 1CT X 750ML</c:v>
                </c:pt>
                <c:pt idx="14">
                  <c:v>CHAMPAGNE NICOLAS 1ER CRU ETUI 1CT X 750ML</c:v>
                </c:pt>
              </c:strCache>
            </c:strRef>
          </c:cat>
          <c:val>
            <c:numRef>
              <c:f>Sheet1!$B$2:$B$16</c:f>
              <c:numCache>
                <c:formatCode>General</c:formatCode>
                <c:ptCount val="15"/>
                <c:pt idx="0">
                  <c:v>21.92</c:v>
                </c:pt>
                <c:pt idx="1">
                  <c:v>25.07</c:v>
                </c:pt>
                <c:pt idx="2">
                  <c:v>39.049999999999997</c:v>
                </c:pt>
                <c:pt idx="3">
                  <c:v>37.020000000000003</c:v>
                </c:pt>
                <c:pt idx="4">
                  <c:v>44.67</c:v>
                </c:pt>
                <c:pt idx="5">
                  <c:v>22.57</c:v>
                </c:pt>
                <c:pt idx="6">
                  <c:v>82.76</c:v>
                </c:pt>
                <c:pt idx="7">
                  <c:v>40.36</c:v>
                </c:pt>
                <c:pt idx="8">
                  <c:v>44.76</c:v>
                </c:pt>
                <c:pt idx="9">
                  <c:v>24.36</c:v>
                </c:pt>
                <c:pt idx="10">
                  <c:v>23.9</c:v>
                </c:pt>
                <c:pt idx="11">
                  <c:v>37.380000000000003</c:v>
                </c:pt>
                <c:pt idx="12">
                  <c:v>81.819999999999993</c:v>
                </c:pt>
                <c:pt idx="13">
                  <c:v>37.880000000000003</c:v>
                </c:pt>
                <c:pt idx="14">
                  <c:v>37.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F3-41CD-B658-E1E901961670}"/>
                </c:ext>
              </c:extLst>
            </c:dLbl>
            <c:dLbl>
              <c:idx val="1"/>
              <c:tx>
                <c:rich>
                  <a:bodyPr/>
                  <a:lstStyle/>
                  <a:p>
                    <a:r>
                      <a:t>2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8F3-41CD-B658-E1E901961670}"/>
                </c:ext>
              </c:extLst>
            </c:dLbl>
            <c:dLbl>
              <c:idx val="2"/>
              <c:tx>
                <c:rich>
                  <a:bodyPr/>
                  <a:lstStyle/>
                  <a:p>
                    <a:r>
                      <a:t>4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8F3-41CD-B658-E1E901961670}"/>
                </c:ext>
              </c:extLst>
            </c:dLbl>
            <c:dLbl>
              <c:idx val="3"/>
              <c:tx>
                <c:rich>
                  <a:bodyPr/>
                  <a:lstStyle/>
                  <a:p>
                    <a:r>
                      <a:t>38.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8F3-41CD-B658-E1E901961670}"/>
                </c:ext>
              </c:extLst>
            </c:dLbl>
            <c:dLbl>
              <c:idx val="4"/>
              <c:tx>
                <c:rich>
                  <a:bodyPr/>
                  <a:lstStyle/>
                  <a:p>
                    <a:r>
                      <a:t>2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8F3-41CD-B658-E1E901961670}"/>
                </c:ext>
              </c:extLst>
            </c:dLbl>
            <c:dLbl>
              <c:idx val="5"/>
              <c:tx>
                <c:rich>
                  <a:bodyPr/>
                  <a:lstStyle/>
                  <a:p>
                    <a:r>
                      <a:t>44.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8F3-41CD-B658-E1E901961670}"/>
                </c:ext>
              </c:extLst>
            </c:dLbl>
            <c:dLbl>
              <c:idx val="6"/>
              <c:tx>
                <c:rich>
                  <a:bodyPr/>
                  <a:lstStyle/>
                  <a:p>
                    <a:r>
                      <a:t>39.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8F3-41CD-B658-E1E901961670}"/>
                </c:ext>
              </c:extLst>
            </c:dLbl>
            <c:dLbl>
              <c:idx val="7"/>
              <c:tx>
                <c:rich>
                  <a:bodyPr/>
                  <a:lstStyle/>
                  <a:p>
                    <a:r>
                      <a:t>37.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8F3-41CD-B658-E1E901961670}"/>
                </c:ext>
              </c:extLst>
            </c:dLbl>
            <c:dLbl>
              <c:idx val="8"/>
              <c:tx>
                <c:rich>
                  <a:bodyPr/>
                  <a:lstStyle/>
                  <a:p>
                    <a:r>
                      <a:t>5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8F3-41CD-B658-E1E901961670}"/>
                </c:ext>
              </c:extLst>
            </c:dLbl>
            <c:dLbl>
              <c:idx val="9"/>
              <c:tx>
                <c:rich>
                  <a:bodyPr/>
                  <a:lstStyle/>
                  <a:p>
                    <a:r>
                      <a:t>11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8F3-41CD-B658-E1E901961670}"/>
                </c:ext>
              </c:extLst>
            </c:dLbl>
            <c:dLbl>
              <c:idx val="10"/>
              <c:tx>
                <c:rich>
                  <a:bodyPr/>
                  <a:lstStyle/>
                  <a:p>
                    <a:r>
                      <a:t>8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8F3-41CD-B658-E1E901961670}"/>
                </c:ext>
              </c:extLst>
            </c:dLbl>
            <c:dLbl>
              <c:idx val="11"/>
              <c:tx>
                <c:rich>
                  <a:bodyPr/>
                  <a:lstStyle/>
                  <a:p>
                    <a:r>
                      <a:t>2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8F3-41CD-B658-E1E901961670}"/>
                </c:ext>
              </c:extLst>
            </c:dLbl>
            <c:dLbl>
              <c:idx val="12"/>
              <c:tx>
                <c:rich>
                  <a:bodyPr/>
                  <a:lstStyle/>
                  <a:p>
                    <a:r>
                      <a:t>2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8F3-41CD-B658-E1E90196167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1ERE CUVEE 1CT X 750ML</c:v>
                </c:pt>
                <c:pt idx="3">
                  <c:v>CHAMPAGNE NICOLAS BLC/BLC BS 1CT X 750ML</c:v>
                </c:pt>
                <c:pt idx="4">
                  <c:v>1/2 CHAMPAGNE NICOLAS 1ERE CUV 1CT X 375ML</c:v>
                </c:pt>
                <c:pt idx="5">
                  <c:v>MG CHAMPAGNE E.NICOLAS BRUT 1CT X 1500ML</c:v>
                </c:pt>
                <c:pt idx="6">
                  <c:v>CHAMPAGNE NICOLAS ROSE 1ERE CU 1CT X 750ML</c:v>
                </c:pt>
                <c:pt idx="7">
                  <c:v>CHAMPAGNE NICOLAS 1ER CRU BS 1CT X 750ML</c:v>
                </c:pt>
                <c:pt idx="8">
                  <c:v>CHAMPAGNE NICOLAS BIO NAT 2017 1CT X 750ML</c:v>
                </c:pt>
                <c:pt idx="9">
                  <c:v>MG CHAMPAGNE NICOLAS BLC/BL BS 1CT X 1500ML</c:v>
                </c:pt>
                <c:pt idx="10">
                  <c:v>MG CHAMPAGNE NICOLAS 1ERE CUVE 1CT X 1500ML</c:v>
                </c:pt>
                <c:pt idx="11">
                  <c:v>1/2 CHAMP NICOLAS BLC/BLC BS 1CT X 375ML</c:v>
                </c:pt>
                <c:pt idx="12">
                  <c:v>1/2 CHAMP NICOLAS ROSE 1E C BS 1CT X 375ML</c:v>
                </c:pt>
              </c:strCache>
            </c:strRef>
          </c:cat>
          <c:val>
            <c:numRef>
              <c:f>Sheet1!$B$2:$B$14</c:f>
              <c:numCache>
                <c:formatCode>General</c:formatCode>
                <c:ptCount val="13"/>
                <c:pt idx="0">
                  <c:v>21.9</c:v>
                </c:pt>
                <c:pt idx="1">
                  <c:v>25.05</c:v>
                </c:pt>
                <c:pt idx="2">
                  <c:v>41.42</c:v>
                </c:pt>
                <c:pt idx="3">
                  <c:v>38.51</c:v>
                </c:pt>
                <c:pt idx="4">
                  <c:v>22</c:v>
                </c:pt>
                <c:pt idx="5">
                  <c:v>44.12</c:v>
                </c:pt>
                <c:pt idx="6">
                  <c:v>39.03</c:v>
                </c:pt>
                <c:pt idx="7">
                  <c:v>37.72</c:v>
                </c:pt>
                <c:pt idx="8">
                  <c:v>50</c:v>
                </c:pt>
                <c:pt idx="9">
                  <c:v>113.62</c:v>
                </c:pt>
                <c:pt idx="10">
                  <c:v>85.06</c:v>
                </c:pt>
                <c:pt idx="11">
                  <c:v>24.44</c:v>
                </c:pt>
                <c:pt idx="12">
                  <c:v>2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E6B-418C-9BFE-3C44BD2DB703}"/>
                </c:ext>
              </c:extLst>
            </c:dLbl>
            <c:dLbl>
              <c:idx val="1"/>
              <c:tx>
                <c:rich>
                  <a:bodyPr/>
                  <a:lstStyle/>
                  <a:p>
                    <a:r>
                      <a:t>24.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E6B-418C-9BFE-3C44BD2DB703}"/>
                </c:ext>
              </c:extLst>
            </c:dLbl>
            <c:dLbl>
              <c:idx val="2"/>
              <c:tx>
                <c:rich>
                  <a:bodyPr/>
                  <a:lstStyle/>
                  <a:p>
                    <a:r>
                      <a:t>38.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E6B-418C-9BFE-3C44BD2DB703}"/>
                </c:ext>
              </c:extLst>
            </c:dLbl>
            <c:dLbl>
              <c:idx val="3"/>
              <c:tx>
                <c:rich>
                  <a:bodyPr/>
                  <a:lstStyle/>
                  <a:p>
                    <a:r>
                      <a:t>38.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E6B-418C-9BFE-3C44BD2DB703}"/>
                </c:ext>
              </c:extLst>
            </c:dLbl>
            <c:dLbl>
              <c:idx val="4"/>
              <c:tx>
                <c:rich>
                  <a:bodyPr/>
                  <a:lstStyle/>
                  <a:p>
                    <a:r>
                      <a:t>4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E6B-418C-9BFE-3C44BD2DB703}"/>
                </c:ext>
              </c:extLst>
            </c:dLbl>
            <c:dLbl>
              <c:idx val="5"/>
              <c:tx>
                <c:rich>
                  <a:bodyPr/>
                  <a:lstStyle/>
                  <a:p>
                    <a:r>
                      <a:t>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E6B-418C-9BFE-3C44BD2DB703}"/>
                </c:ext>
              </c:extLst>
            </c:dLbl>
            <c:dLbl>
              <c:idx val="6"/>
              <c:tx>
                <c:rich>
                  <a:bodyPr/>
                  <a:lstStyle/>
                  <a:p>
                    <a:r>
                      <a:t>4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E6B-418C-9BFE-3C44BD2DB703}"/>
                </c:ext>
              </c:extLst>
            </c:dLbl>
            <c:dLbl>
              <c:idx val="7"/>
              <c:tx>
                <c:rich>
                  <a:bodyPr/>
                  <a:lstStyle/>
                  <a:p>
                    <a:r>
                      <a:t>23.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E6B-418C-9BFE-3C44BD2DB703}"/>
                </c:ext>
              </c:extLst>
            </c:dLbl>
            <c:dLbl>
              <c:idx val="8"/>
              <c:tx>
                <c:rich>
                  <a:bodyPr/>
                  <a:lstStyle/>
                  <a:p>
                    <a:r>
                      <a:t>2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3E6B-418C-9BFE-3C44BD2DB703}"/>
                </c:ext>
              </c:extLst>
            </c:dLbl>
            <c:dLbl>
              <c:idx val="9"/>
              <c:tx>
                <c:rich>
                  <a:bodyPr/>
                  <a:lstStyle/>
                  <a:p>
                    <a:r>
                      <a:t>20.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E6B-418C-9BFE-3C44BD2DB703}"/>
                </c:ext>
              </c:extLst>
            </c:dLbl>
            <c:dLbl>
              <c:idx val="10"/>
              <c:tx>
                <c:rich>
                  <a:bodyPr/>
                  <a:lstStyle/>
                  <a:p>
                    <a:r>
                      <a:t>4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E6B-418C-9BFE-3C44BD2DB703}"/>
                </c:ext>
              </c:extLst>
            </c:dLbl>
            <c:dLbl>
              <c:idx val="11"/>
              <c:tx>
                <c:rich>
                  <a:bodyPr/>
                  <a:lstStyle/>
                  <a:p>
                    <a:r>
                      <a:t>7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3E6B-418C-9BFE-3C44BD2DB703}"/>
                </c:ext>
              </c:extLst>
            </c:dLbl>
            <c:dLbl>
              <c:idx val="12"/>
              <c:tx>
                <c:rich>
                  <a:bodyPr/>
                  <a:lstStyle/>
                  <a:p>
                    <a:r>
                      <a:t>3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3E6B-418C-9BFE-3C44BD2DB70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AMPAGNE E.NICOLAS BRUT 1CT X 750ML</c:v>
                </c:pt>
                <c:pt idx="1">
                  <c:v>CHAMPAGNE E.NICOLAS ROSE 1CT X 750ML</c:v>
                </c:pt>
                <c:pt idx="2">
                  <c:v>CHAMPAGNE NICOLAS BLC/BLC BS 1CT X 750ML</c:v>
                </c:pt>
                <c:pt idx="3">
                  <c:v>CHAMPAGNE NICOLAS 1ERE CUVEE 1CT X 750ML</c:v>
                </c:pt>
                <c:pt idx="4">
                  <c:v>CHAMPAGNE NICOLAS BIO NAT 2017 1CT X 750ML</c:v>
                </c:pt>
                <c:pt idx="5">
                  <c:v>CHAMPAGNE NICOLAS BLC DE NOIRS 1CT X 750ML</c:v>
                </c:pt>
                <c:pt idx="6">
                  <c:v>MG CHAMPAGNE E.NICOLAS BRUT 1CT X 1500ML</c:v>
                </c:pt>
                <c:pt idx="7">
                  <c:v>1/2 CHAMP NICOLAS BLC/BLC BS 1CT X 375ML</c:v>
                </c:pt>
                <c:pt idx="8">
                  <c:v>1/2 CHAMP NICOLAS ROSE 1E C BS 1CT X 375ML</c:v>
                </c:pt>
                <c:pt idx="9">
                  <c:v>1/2 CHAMPAGNE NICOLAS 1ERE CUV 1CT X 375ML</c:v>
                </c:pt>
                <c:pt idx="10">
                  <c:v>CHAMPAGNE NICOLAS ROSE 1ERE CU 1CT X 750ML</c:v>
                </c:pt>
                <c:pt idx="11">
                  <c:v>MG CHAMPAGNE NICOLAS BLC/BL BS 1CT X 1500ML</c:v>
                </c:pt>
                <c:pt idx="12">
                  <c:v>CHAMPAGNE NICOLAS 1ER CRU BS 1CT X 750ML</c:v>
                </c:pt>
              </c:strCache>
            </c:strRef>
          </c:cat>
          <c:val>
            <c:numRef>
              <c:f>Sheet1!$B$2:$B$14</c:f>
              <c:numCache>
                <c:formatCode>General</c:formatCode>
                <c:ptCount val="13"/>
                <c:pt idx="0">
                  <c:v>21.38</c:v>
                </c:pt>
                <c:pt idx="1">
                  <c:v>24.74</c:v>
                </c:pt>
                <c:pt idx="2">
                  <c:v>38.79</c:v>
                </c:pt>
                <c:pt idx="3">
                  <c:v>38.119999999999997</c:v>
                </c:pt>
                <c:pt idx="4">
                  <c:v>46.7</c:v>
                </c:pt>
                <c:pt idx="5">
                  <c:v>37.1</c:v>
                </c:pt>
                <c:pt idx="6">
                  <c:v>42.08</c:v>
                </c:pt>
                <c:pt idx="7">
                  <c:v>23.55</c:v>
                </c:pt>
                <c:pt idx="8">
                  <c:v>23.64</c:v>
                </c:pt>
                <c:pt idx="9">
                  <c:v>20.52</c:v>
                </c:pt>
                <c:pt idx="10">
                  <c:v>43.31</c:v>
                </c:pt>
                <c:pt idx="11">
                  <c:v>74.78</c:v>
                </c:pt>
                <c:pt idx="12">
                  <c:v>3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9A-426E-B38F-08EDF1E97A7A}"/>
                </c:ext>
              </c:extLst>
            </c:dLbl>
            <c:dLbl>
              <c:idx val="1"/>
              <c:tx>
                <c:rich>
                  <a:bodyPr/>
                  <a:lstStyle/>
                  <a:p>
                    <a:r>
                      <a:t>3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89A-426E-B38F-08EDF1E97A7A}"/>
                </c:ext>
              </c:extLst>
            </c:dLbl>
            <c:dLbl>
              <c:idx val="2"/>
              <c:tx>
                <c:rich>
                  <a:bodyPr/>
                  <a:lstStyle/>
                  <a:p>
                    <a:r>
                      <a:t>24.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89A-426E-B38F-08EDF1E97A7A}"/>
                </c:ext>
              </c:extLst>
            </c:dLbl>
            <c:dLbl>
              <c:idx val="3"/>
              <c:tx>
                <c:rich>
                  <a:bodyPr/>
                  <a:lstStyle/>
                  <a:p>
                    <a:r>
                      <a:t>37.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9A-426E-B38F-08EDF1E97A7A}"/>
                </c:ext>
              </c:extLst>
            </c:dLbl>
            <c:dLbl>
              <c:idx val="4"/>
              <c:tx>
                <c:rich>
                  <a:bodyPr/>
                  <a:lstStyle/>
                  <a:p>
                    <a:r>
                      <a:t>45.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89A-426E-B38F-08EDF1E97A7A}"/>
                </c:ext>
              </c:extLst>
            </c:dLbl>
            <c:dLbl>
              <c:idx val="5"/>
              <c:tx>
                <c:rich>
                  <a:bodyPr/>
                  <a:lstStyle/>
                  <a:p>
                    <a:r>
                      <a:t>2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89A-426E-B38F-08EDF1E97A7A}"/>
                </c:ext>
              </c:extLst>
            </c:dLbl>
            <c:dLbl>
              <c:idx val="6"/>
              <c:tx>
                <c:rich>
                  <a:bodyPr/>
                  <a:lstStyle/>
                  <a:p>
                    <a:r>
                      <a:t>8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89A-426E-B38F-08EDF1E97A7A}"/>
                </c:ext>
              </c:extLst>
            </c:dLbl>
            <c:dLbl>
              <c:idx val="7"/>
              <c:tx>
                <c:rich>
                  <a:bodyPr/>
                  <a:lstStyle/>
                  <a:p>
                    <a:r>
                      <a:t>2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89A-426E-B38F-08EDF1E97A7A}"/>
                </c:ext>
              </c:extLst>
            </c:dLbl>
            <c:dLbl>
              <c:idx val="8"/>
              <c:tx>
                <c:rich>
                  <a:bodyPr/>
                  <a:lstStyle/>
                  <a:p>
                    <a:r>
                      <a:t>4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89A-426E-B38F-08EDF1E97A7A}"/>
                </c:ext>
              </c:extLst>
            </c:dLbl>
            <c:dLbl>
              <c:idx val="9"/>
              <c:tx>
                <c:rich>
                  <a:bodyPr/>
                  <a:lstStyle/>
                  <a:p>
                    <a:r>
                      <a:t>46.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89A-426E-B38F-08EDF1E97A7A}"/>
                </c:ext>
              </c:extLst>
            </c:dLbl>
            <c:dLbl>
              <c:idx val="10"/>
              <c:tx>
                <c:rich>
                  <a:bodyPr/>
                  <a:lstStyle/>
                  <a:p>
                    <a:r>
                      <a:t>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89A-426E-B38F-08EDF1E97A7A}"/>
                </c:ext>
              </c:extLst>
            </c:dLbl>
            <c:dLbl>
              <c:idx val="11"/>
              <c:tx>
                <c:rich>
                  <a:bodyPr/>
                  <a:lstStyle/>
                  <a:p>
                    <a:r>
                      <a:t>36.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89A-426E-B38F-08EDF1E97A7A}"/>
                </c:ext>
              </c:extLst>
            </c:dLbl>
            <c:dLbl>
              <c:idx val="12"/>
              <c:tx>
                <c:rich>
                  <a:bodyPr/>
                  <a:lstStyle/>
                  <a:p>
                    <a:r>
                      <a:t>75.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89A-426E-B38F-08EDF1E97A7A}"/>
                </c:ext>
              </c:extLst>
            </c:dLbl>
            <c:dLbl>
              <c:idx val="13"/>
              <c:tx>
                <c:rich>
                  <a:bodyPr/>
                  <a:lstStyle/>
                  <a:p>
                    <a:r>
                      <a:t>39.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89A-426E-B38F-08EDF1E97A7A}"/>
                </c:ext>
              </c:extLst>
            </c:dLbl>
            <c:dLbl>
              <c:idx val="14"/>
              <c:tx>
                <c:rich>
                  <a:bodyPr/>
                  <a:lstStyle/>
                  <a:p>
                    <a:r>
                      <a:t>36.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689A-426E-B38F-08EDF1E97A7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MG CHAMPAGNE E.NICOLAS BRUT 1CT X 1500ML</c:v>
                </c:pt>
                <c:pt idx="5">
                  <c:v>1/2 CHAMPAGNE NICOLAS 1ERE CUV 1CT X 375ML</c:v>
                </c:pt>
                <c:pt idx="6">
                  <c:v>MG CHAMPAGNE NICOLAS BLC/BL BS 1CT X 1500ML</c:v>
                </c:pt>
                <c:pt idx="7">
                  <c:v>1/2 CHAMP NICOLAS BLC/BLC BS 1CT X 375ML</c:v>
                </c:pt>
                <c:pt idx="8">
                  <c:v>CHAMPAGNE NICOLAS ROSE 1ERE CU 1CT X 750ML</c:v>
                </c:pt>
                <c:pt idx="9">
                  <c:v>CHAMPAGNE NICOLAS BIO NAT 2017 1CT X 750ML</c:v>
                </c:pt>
                <c:pt idx="10">
                  <c:v>1/2 CHAMP NICOLAS ROSE 1E C BS 1CT X 375ML</c:v>
                </c:pt>
                <c:pt idx="11">
                  <c:v>CHAMPAGNE NICOLAS BLC DE NOIRS 1CT X 750ML</c:v>
                </c:pt>
                <c:pt idx="12">
                  <c:v>MG CHAMPAGNE NICOLAS 1ERE CUVE 1CT X 1500ML</c:v>
                </c:pt>
                <c:pt idx="13">
                  <c:v>CHAMPAGNE NICOLAS ROSE 1ERE ET 1CT X 750ML</c:v>
                </c:pt>
                <c:pt idx="14">
                  <c:v>CHAMPAGNE NICOLAS 1ER CRU BS 1CT X 750ML</c:v>
                </c:pt>
              </c:strCache>
            </c:strRef>
          </c:cat>
          <c:val>
            <c:numRef>
              <c:f>Sheet1!$B$2:$B$16</c:f>
              <c:numCache>
                <c:formatCode>General</c:formatCode>
                <c:ptCount val="15"/>
                <c:pt idx="0">
                  <c:v>21.84</c:v>
                </c:pt>
                <c:pt idx="1">
                  <c:v>39</c:v>
                </c:pt>
                <c:pt idx="2">
                  <c:v>24.97</c:v>
                </c:pt>
                <c:pt idx="3">
                  <c:v>37.090000000000003</c:v>
                </c:pt>
                <c:pt idx="4">
                  <c:v>45.17</c:v>
                </c:pt>
                <c:pt idx="5">
                  <c:v>22.38</c:v>
                </c:pt>
                <c:pt idx="6">
                  <c:v>86.38</c:v>
                </c:pt>
                <c:pt idx="7">
                  <c:v>23.97</c:v>
                </c:pt>
                <c:pt idx="8">
                  <c:v>41.06</c:v>
                </c:pt>
                <c:pt idx="9">
                  <c:v>46.29</c:v>
                </c:pt>
                <c:pt idx="10">
                  <c:v>24</c:v>
                </c:pt>
                <c:pt idx="11">
                  <c:v>36.99</c:v>
                </c:pt>
                <c:pt idx="12">
                  <c:v>75.95</c:v>
                </c:pt>
                <c:pt idx="13">
                  <c:v>39.590000000000003</c:v>
                </c:pt>
                <c:pt idx="14">
                  <c:v>36.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11C-4F7B-BD1A-C8B91CE4E54B}"/>
                </c:ext>
              </c:extLst>
            </c:dLbl>
            <c:dLbl>
              <c:idx val="1"/>
              <c:tx>
                <c:rich>
                  <a:bodyPr/>
                  <a:lstStyle/>
                  <a:p>
                    <a:r>
                      <a:t>39.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11C-4F7B-BD1A-C8B91CE4E54B}"/>
                </c:ext>
              </c:extLst>
            </c:dLbl>
            <c:dLbl>
              <c:idx val="2"/>
              <c:tx>
                <c:rich>
                  <a:bodyPr/>
                  <a:lstStyle/>
                  <a:p>
                    <a:r>
                      <a:t>2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11C-4F7B-BD1A-C8B91CE4E54B}"/>
                </c:ext>
              </c:extLst>
            </c:dLbl>
            <c:dLbl>
              <c:idx val="3"/>
              <c:tx>
                <c:rich>
                  <a:bodyPr/>
                  <a:lstStyle/>
                  <a:p>
                    <a:r>
                      <a:t>37.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11C-4F7B-BD1A-C8B91CE4E54B}"/>
                </c:ext>
              </c:extLst>
            </c:dLbl>
            <c:dLbl>
              <c:idx val="4"/>
              <c:tx>
                <c:rich>
                  <a:bodyPr/>
                  <a:lstStyle/>
                  <a:p>
                    <a:r>
                      <a:t>22.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11C-4F7B-BD1A-C8B91CE4E54B}"/>
                </c:ext>
              </c:extLst>
            </c:dLbl>
            <c:dLbl>
              <c:idx val="5"/>
              <c:tx>
                <c:rich>
                  <a:bodyPr/>
                  <a:lstStyle/>
                  <a:p>
                    <a:r>
                      <a:t>4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11C-4F7B-BD1A-C8B91CE4E54B}"/>
                </c:ext>
              </c:extLst>
            </c:dLbl>
            <c:dLbl>
              <c:idx val="6"/>
              <c:tx>
                <c:rich>
                  <a:bodyPr/>
                  <a:lstStyle/>
                  <a:p>
                    <a:r>
                      <a:t>4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11C-4F7B-BD1A-C8B91CE4E54B}"/>
                </c:ext>
              </c:extLst>
            </c:dLbl>
            <c:dLbl>
              <c:idx val="7"/>
              <c:tx>
                <c:rich>
                  <a:bodyPr/>
                  <a:lstStyle/>
                  <a:p>
                    <a:r>
                      <a:t>87.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11C-4F7B-BD1A-C8B91CE4E54B}"/>
                </c:ext>
              </c:extLst>
            </c:dLbl>
            <c:dLbl>
              <c:idx val="8"/>
              <c:tx>
                <c:rich>
                  <a:bodyPr/>
                  <a:lstStyle/>
                  <a:p>
                    <a:r>
                      <a:t>46.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11C-4F7B-BD1A-C8B91CE4E54B}"/>
                </c:ext>
              </c:extLst>
            </c:dLbl>
            <c:dLbl>
              <c:idx val="9"/>
              <c:tx>
                <c:rich>
                  <a:bodyPr/>
                  <a:lstStyle/>
                  <a:p>
                    <a:r>
                      <a:t>23.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11C-4F7B-BD1A-C8B91CE4E54B}"/>
                </c:ext>
              </c:extLst>
            </c:dLbl>
            <c:dLbl>
              <c:idx val="10"/>
              <c:tx>
                <c:rich>
                  <a:bodyPr/>
                  <a:lstStyle/>
                  <a:p>
                    <a:r>
                      <a:t>24.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11C-4F7B-BD1A-C8B91CE4E54B}"/>
                </c:ext>
              </c:extLst>
            </c:dLbl>
            <c:dLbl>
              <c:idx val="11"/>
              <c:tx>
                <c:rich>
                  <a:bodyPr/>
                  <a:lstStyle/>
                  <a:p>
                    <a:r>
                      <a:t>36.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11C-4F7B-BD1A-C8B91CE4E54B}"/>
                </c:ext>
              </c:extLst>
            </c:dLbl>
            <c:dLbl>
              <c:idx val="12"/>
              <c:tx>
                <c:rich>
                  <a:bodyPr/>
                  <a:lstStyle/>
                  <a:p>
                    <a:r>
                      <a:t>69.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11C-4F7B-BD1A-C8B91CE4E54B}"/>
                </c:ext>
              </c:extLst>
            </c:dLbl>
            <c:dLbl>
              <c:idx val="13"/>
              <c:tx>
                <c:rich>
                  <a:bodyPr/>
                  <a:lstStyle/>
                  <a:p>
                    <a:r>
                      <a:t>36.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11C-4F7B-BD1A-C8B91CE4E54B}"/>
                </c:ext>
              </c:extLst>
            </c:dLbl>
            <c:dLbl>
              <c:idx val="14"/>
              <c:tx>
                <c:rich>
                  <a:bodyPr/>
                  <a:lstStyle/>
                  <a:p>
                    <a:r>
                      <a:t>3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11C-4F7B-BD1A-C8B91CE4E54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HAMPAGNE E.NICOLAS BRUT 1CT X 750ML</c:v>
                </c:pt>
                <c:pt idx="1">
                  <c:v>CHAMPAGNE NICOLAS BLC/BLC BS 1CT X 750ML</c:v>
                </c:pt>
                <c:pt idx="2">
                  <c:v>CHAMPAGNE E.NICOLAS ROSE 1CT X 750ML</c:v>
                </c:pt>
                <c:pt idx="3">
                  <c:v>CHAMPAGNE NICOLAS 1ERE CUVEE 1CT X 750ML</c:v>
                </c:pt>
                <c:pt idx="4">
                  <c:v>1/2 CHAMPAGNE NICOLAS 1ERE CUV 1CT X 375ML</c:v>
                </c:pt>
                <c:pt idx="5">
                  <c:v>MG CHAMPAGNE E.NICOLAS BRUT 1CT X 1500ML</c:v>
                </c:pt>
                <c:pt idx="6">
                  <c:v>CHAMPAGNE NICOLAS ROSE 1ERE CU 1CT X 750ML</c:v>
                </c:pt>
                <c:pt idx="7">
                  <c:v>MG CHAMPAGNE NICOLAS BLC/BL BS 1CT X 1500ML</c:v>
                </c:pt>
                <c:pt idx="8">
                  <c:v>CHAMPAGNE NICOLAS BIO NAT 2017 1CT X 750ML</c:v>
                </c:pt>
                <c:pt idx="9">
                  <c:v>1/2 CHAMP NICOLAS BLC/BLC BS 1CT X 375ML</c:v>
                </c:pt>
                <c:pt idx="10">
                  <c:v>1/2 CHAMP NICOLAS ROSE 1E C BS 1CT X 375ML</c:v>
                </c:pt>
                <c:pt idx="11">
                  <c:v>CHAMPAGNE NICOLAS BLC DE NOIRS 1CT X 750ML</c:v>
                </c:pt>
                <c:pt idx="12">
                  <c:v>MG CHAMPAGNE NICOLAS 1ERE CUVE 1CT X 1500ML</c:v>
                </c:pt>
                <c:pt idx="13">
                  <c:v>CHAMPAGNE NICOLAS 1ER CRU ETUI 1CT X 750ML</c:v>
                </c:pt>
                <c:pt idx="14">
                  <c:v>CHAMPAGNE NICOLAS 1ER CRU BS 1CT X 750ML</c:v>
                </c:pt>
              </c:strCache>
            </c:strRef>
          </c:cat>
          <c:val>
            <c:numRef>
              <c:f>Sheet1!$B$2:$B$16</c:f>
              <c:numCache>
                <c:formatCode>General</c:formatCode>
                <c:ptCount val="15"/>
                <c:pt idx="0">
                  <c:v>21.89</c:v>
                </c:pt>
                <c:pt idx="1">
                  <c:v>39.090000000000003</c:v>
                </c:pt>
                <c:pt idx="2">
                  <c:v>24.94</c:v>
                </c:pt>
                <c:pt idx="3">
                  <c:v>37.32</c:v>
                </c:pt>
                <c:pt idx="4">
                  <c:v>22.41</c:v>
                </c:pt>
                <c:pt idx="5">
                  <c:v>46.95</c:v>
                </c:pt>
                <c:pt idx="6">
                  <c:v>41.15</c:v>
                </c:pt>
                <c:pt idx="7">
                  <c:v>87.16</c:v>
                </c:pt>
                <c:pt idx="8">
                  <c:v>46.14</c:v>
                </c:pt>
                <c:pt idx="9">
                  <c:v>23.79</c:v>
                </c:pt>
                <c:pt idx="10">
                  <c:v>24.16</c:v>
                </c:pt>
                <c:pt idx="11">
                  <c:v>36.409999999999997</c:v>
                </c:pt>
                <c:pt idx="12">
                  <c:v>69.91</c:v>
                </c:pt>
                <c:pt idx="13">
                  <c:v>36.93</c:v>
                </c:pt>
                <c:pt idx="14">
                  <c:v>36.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2/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6.xml"/><Relationship Id="rId5" Type="http://schemas.openxmlformats.org/officeDocument/2006/relationships/chart" Target="../charts/chart2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7.xml"/><Relationship Id="rId5" Type="http://schemas.openxmlformats.org/officeDocument/2006/relationships/chart" Target="../charts/chart280.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8.xml"/><Relationship Id="rId5" Type="http://schemas.openxmlformats.org/officeDocument/2006/relationships/chart" Target="../charts/chart28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9.xml"/><Relationship Id="rId5" Type="http://schemas.openxmlformats.org/officeDocument/2006/relationships/chart" Target="../charts/chart282.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0.xml"/><Relationship Id="rId5" Type="http://schemas.openxmlformats.org/officeDocument/2006/relationships/chart" Target="../charts/chart283.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1.xml"/><Relationship Id="rId5" Type="http://schemas.openxmlformats.org/officeDocument/2006/relationships/chart" Target="../charts/chart284.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2.xml"/><Relationship Id="rId5" Type="http://schemas.openxmlformats.org/officeDocument/2006/relationships/chart" Target="../charts/chart285.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3.xml"/><Relationship Id="rId5" Type="http://schemas.openxmlformats.org/officeDocument/2006/relationships/chart" Target="../charts/chart286.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4.xml"/><Relationship Id="rId5" Type="http://schemas.openxmlformats.org/officeDocument/2006/relationships/chart" Target="../charts/chart287.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5.xml"/><Relationship Id="rId5" Type="http://schemas.openxmlformats.org/officeDocument/2006/relationships/chart" Target="../charts/chart288.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6.xml"/><Relationship Id="rId5" Type="http://schemas.openxmlformats.org/officeDocument/2006/relationships/chart" Target="../charts/chart28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7.xml"/><Relationship Id="rId5" Type="http://schemas.openxmlformats.org/officeDocument/2006/relationships/chart" Target="../charts/chart290.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8.xml"/><Relationship Id="rId5" Type="http://schemas.openxmlformats.org/officeDocument/2006/relationships/chart" Target="../charts/chart29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9.xml"/><Relationship Id="rId5" Type="http://schemas.openxmlformats.org/officeDocument/2006/relationships/chart" Target="../charts/chart292.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0.xml"/><Relationship Id="rId5" Type="http://schemas.openxmlformats.org/officeDocument/2006/relationships/chart" Target="../charts/chart293.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1.xml"/><Relationship Id="rId5" Type="http://schemas.openxmlformats.org/officeDocument/2006/relationships/chart" Target="../charts/chart294.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2.xml"/><Relationship Id="rId5" Type="http://schemas.openxmlformats.org/officeDocument/2006/relationships/chart" Target="../charts/chart295.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3.xml"/><Relationship Id="rId5" Type="http://schemas.openxmlformats.org/officeDocument/2006/relationships/chart" Target="../charts/chart296.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4.xml"/><Relationship Id="rId5" Type="http://schemas.openxmlformats.org/officeDocument/2006/relationships/chart" Target="../charts/chart297.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chart" Target="../charts/chart298.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chart" Target="../charts/chart29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chart" Target="../charts/chart300.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chart" Target="../charts/chart3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chart" Target="../charts/chart302.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chart" Target="../charts/chart303.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chart" Target="../charts/chart304.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chart" Target="../charts/chart305.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chart" Target="../charts/chart306.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chart" Target="../charts/chart307.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chart" Target="../charts/chart308.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chart" Target="../charts/chart30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chart" Target="../charts/chart310.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chart" Target="../charts/chart31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chart" Target="../charts/chart312.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chart" Target="../charts/chart313.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chart" Target="../charts/chart314.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chart" Target="../charts/chart315.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chart" Target="../charts/chart316.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chart" Target="../charts/chart317.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chart" Target="../charts/chart318.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chart" Target="../charts/chart31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chart" Target="../charts/chart320.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chart" Target="../charts/chart32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chart" Target="../charts/chart322.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chart" Target="../charts/chart323.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chart" Target="../charts/chart324.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chart" Target="../charts/chart325.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chart" Target="../charts/chart326.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chart" Target="../charts/chart327.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chart" Target="../charts/chart328.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chart" Target="../charts/chart32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chart" Target="../charts/chart330.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chart" Target="../charts/chart33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chart" Target="../charts/chart332.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chart" Target="../charts/chart333.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chart" Target="../charts/chart334.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chart" Target="../charts/chart335.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chart" Target="../charts/chart336.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chart" Target="../charts/chart337.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chart" Target="../charts/chart338.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chart" Target="../charts/chart339.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chart" Target="../charts/chart340.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chart" Target="../charts/chart34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chart" Target="../charts/chart342.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chart" Target="../charts/chart343.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chart" Target="../charts/chart344.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chart" Target="../charts/chart345.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chart" Target="../charts/chart346.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chart" Target="../charts/chart347.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chart" Target="../charts/chart348.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chart" Target="../charts/chart349.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chart" Target="../charts/chart350.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chart" Target="../charts/chart35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chart" Target="../charts/chart352.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chart" Target="../charts/chart353.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chart" Target="../charts/chart354.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chart" Target="../charts/chart355.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chart" Target="../charts/chart356.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chart" Target="../charts/chart357.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chart" Target="../charts/chart358.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chart" Target="../charts/chart35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chart" Target="../charts/chart360.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chart" Target="../charts/chart36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chart" Target="../charts/chart362.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chart" Target="../charts/chart363.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chart" Target="../charts/chart364.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chart" Target="../charts/chart365.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chart" Target="../charts/chart366.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chart" Target="../charts/chart367.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chart" Target="../charts/chart368.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chart" Target="../charts/chart369.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chart" Target="../charts/chart370.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chart" Target="../charts/chart37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chart" Target="../charts/chart372.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chart" Target="../charts/chart373.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chart" Target="../charts/chart374.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chart" Target="../charts/chart375.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chart" Target="../charts/chart376.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chart" Target="../charts/chart377.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chart" Target="../charts/chart378.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chart" Target="../charts/chart37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chart" Target="../charts/chart380.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chart" Target="../charts/chart38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chart" Target="../charts/chart382.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chart" Target="../charts/chart383.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chart" Target="../charts/chart384.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chart" Target="../charts/chart385.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chart" Target="../charts/chart386.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chart" Target="../charts/chart387.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chart" Target="../charts/chart388.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chart" Target="../charts/chart38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chart" Target="../charts/chart390.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chart" Target="../charts/chart391.xml"/><Relationship Id="rId4" Type="http://schemas.openxmlformats.org/officeDocument/2006/relationships/image" Target="../media/image28.emf"/></Relationships>
</file>

<file path=ppt/slides/_rels/slide3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chart" Target="../charts/chart392.xml"/><Relationship Id="rId4" Type="http://schemas.openxmlformats.org/officeDocument/2006/relationships/image" Target="../media/image28.emf"/></Relationships>
</file>

<file path=ppt/slides/_rels/slide3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chart" Target="../charts/chart393.xml"/><Relationship Id="rId4" Type="http://schemas.openxmlformats.org/officeDocument/2006/relationships/image" Target="../media/image28.emf"/></Relationships>
</file>

<file path=ppt/slides/_rels/slide3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chart" Target="../charts/chart394.xml"/><Relationship Id="rId4" Type="http://schemas.openxmlformats.org/officeDocument/2006/relationships/image" Target="../media/image28.emf"/></Relationships>
</file>

<file path=ppt/slides/_rels/slide3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chart" Target="../charts/chart395.xml"/><Relationship Id="rId4" Type="http://schemas.openxmlformats.org/officeDocument/2006/relationships/image" Target="../media/image28.emf"/></Relationships>
</file>

<file path=ppt/slides/_rels/slide3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chart" Target="../charts/chart396.xml"/><Relationship Id="rId4" Type="http://schemas.openxmlformats.org/officeDocument/2006/relationships/image" Target="../media/image28.emf"/></Relationships>
</file>

<file path=ppt/slides/_rels/slide3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chart" Target="../charts/chart397.xml"/><Relationship Id="rId4" Type="http://schemas.openxmlformats.org/officeDocument/2006/relationships/image" Target="../media/image28.emf"/></Relationships>
</file>

<file path=ppt/slides/_rels/slide3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chart" Target="../charts/chart398.xml"/><Relationship Id="rId4" Type="http://schemas.openxmlformats.org/officeDocument/2006/relationships/image" Target="../media/image28.emf"/></Relationships>
</file>

<file path=ppt/slides/_rels/slide3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chart" Target="../charts/chart39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chart" Target="../charts/chart400.xml"/><Relationship Id="rId4" Type="http://schemas.openxmlformats.org/officeDocument/2006/relationships/image" Target="../media/image28.emf"/></Relationships>
</file>

<file path=ppt/slides/_rels/slide4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chart" Target="../charts/chart401.xml"/><Relationship Id="rId4" Type="http://schemas.openxmlformats.org/officeDocument/2006/relationships/image" Target="../media/image28.emf"/></Relationships>
</file>

<file path=ppt/slides/_rels/slide4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chart" Target="../charts/chart402.xml"/><Relationship Id="rId4" Type="http://schemas.openxmlformats.org/officeDocument/2006/relationships/image" Target="../media/image28.emf"/></Relationships>
</file>

<file path=ppt/slides/_rels/slide4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chart" Target="../charts/chart403.xml"/><Relationship Id="rId4" Type="http://schemas.openxmlformats.org/officeDocument/2006/relationships/image" Target="../media/image28.emf"/></Relationships>
</file>

<file path=ppt/slides/_rels/slide4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chart" Target="../charts/chart404.xml"/><Relationship Id="rId4" Type="http://schemas.openxmlformats.org/officeDocument/2006/relationships/image" Target="../media/image28.emf"/></Relationships>
</file>

<file path=ppt/slides/_rels/slide4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chart" Target="../charts/chart405.xml"/><Relationship Id="rId4" Type="http://schemas.openxmlformats.org/officeDocument/2006/relationships/image" Target="../media/image28.emf"/></Relationships>
</file>

<file path=ppt/slides/_rels/slide4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chart" Target="../charts/chart406.xml"/><Relationship Id="rId4" Type="http://schemas.openxmlformats.org/officeDocument/2006/relationships/image" Target="../media/image28.emf"/></Relationships>
</file>

<file path=ppt/slides/_rels/slide4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chart" Target="../charts/chart407.xml"/><Relationship Id="rId4" Type="http://schemas.openxmlformats.org/officeDocument/2006/relationships/image" Target="../media/image28.emf"/></Relationships>
</file>

<file path=ppt/slides/_rels/slide4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chart" Target="../charts/chart408.xml"/><Relationship Id="rId4" Type="http://schemas.openxmlformats.org/officeDocument/2006/relationships/image" Target="../media/image28.emf"/></Relationships>
</file>

<file path=ppt/slides/_rels/slide4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chart" Target="../charts/chart40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chart" Target="../charts/chart410.xml"/><Relationship Id="rId4" Type="http://schemas.openxmlformats.org/officeDocument/2006/relationships/image" Target="../media/image28.emf"/></Relationships>
</file>

<file path=ppt/slides/_rels/slide4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chart" Target="../charts/chart411.xml"/><Relationship Id="rId4" Type="http://schemas.openxmlformats.org/officeDocument/2006/relationships/image" Target="../media/image28.emf"/></Relationships>
</file>

<file path=ppt/slides/_rels/slide4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chart" Target="../charts/chart412.xml"/><Relationship Id="rId4" Type="http://schemas.openxmlformats.org/officeDocument/2006/relationships/image" Target="../media/image28.emf"/></Relationships>
</file>

<file path=ppt/slides/_rels/slide4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chart" Target="../charts/chart413.xml"/><Relationship Id="rId4" Type="http://schemas.openxmlformats.org/officeDocument/2006/relationships/image" Target="../media/image28.emf"/></Relationships>
</file>

<file path=ppt/slides/_rels/slide4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chart" Target="../charts/chart414.xml"/><Relationship Id="rId4" Type="http://schemas.openxmlformats.org/officeDocument/2006/relationships/image" Target="../media/image28.emf"/></Relationships>
</file>

<file path=ppt/slides/_rels/slide4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chart" Target="../charts/chart415.xml"/><Relationship Id="rId4" Type="http://schemas.openxmlformats.org/officeDocument/2006/relationships/image" Target="../media/image28.emf"/></Relationships>
</file>

<file path=ppt/slides/_rels/slide4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chart" Target="../charts/chart416.xml"/><Relationship Id="rId4" Type="http://schemas.openxmlformats.org/officeDocument/2006/relationships/image" Target="../media/image28.emf"/></Relationships>
</file>

<file path=ppt/slides/_rels/slide4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chart" Target="../charts/chart417.xml"/><Relationship Id="rId4" Type="http://schemas.openxmlformats.org/officeDocument/2006/relationships/image" Target="../media/image28.emf"/></Relationships>
</file>

<file path=ppt/slides/_rels/slide4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chart" Target="../charts/chart418.xml"/><Relationship Id="rId4" Type="http://schemas.openxmlformats.org/officeDocument/2006/relationships/image" Target="../media/image28.emf"/></Relationships>
</file>

<file path=ppt/slides/_rels/slide4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chart" Target="../charts/chart419.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chart" Target="../charts/chart420.xml"/><Relationship Id="rId4" Type="http://schemas.openxmlformats.org/officeDocument/2006/relationships/image" Target="../media/image28.emf"/></Relationships>
</file>

<file path=ppt/slides/_rels/slide4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chart" Target="../charts/chart421.xml"/><Relationship Id="rId4" Type="http://schemas.openxmlformats.org/officeDocument/2006/relationships/image" Target="../media/image28.emf"/></Relationships>
</file>

<file path=ppt/slides/_rels/slide4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chart" Target="../charts/chart422.xml"/><Relationship Id="rId4" Type="http://schemas.openxmlformats.org/officeDocument/2006/relationships/image" Target="../media/image28.emf"/></Relationships>
</file>

<file path=ppt/slides/_rels/slide4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chart" Target="../charts/chart423.xml"/><Relationship Id="rId4" Type="http://schemas.openxmlformats.org/officeDocument/2006/relationships/image" Target="../media/image28.emf"/></Relationships>
</file>

<file path=ppt/slides/_rels/slide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chart" Target="../charts/chart424.xml"/><Relationship Id="rId4" Type="http://schemas.openxmlformats.org/officeDocument/2006/relationships/image" Target="../media/image28.emf"/></Relationships>
</file>

<file path=ppt/slides/_rels/slide4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chart" Target="../charts/chart425.xml"/><Relationship Id="rId4" Type="http://schemas.openxmlformats.org/officeDocument/2006/relationships/image" Target="../media/image28.emf"/></Relationships>
</file>

<file path=ppt/slides/_rels/slide4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chart" Target="../charts/chart426.xml"/><Relationship Id="rId4" Type="http://schemas.openxmlformats.org/officeDocument/2006/relationships/image" Target="../media/image28.emf"/></Relationships>
</file>

<file path=ppt/slides/_rels/slide4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chart" Target="../charts/chart427.xml"/><Relationship Id="rId4" Type="http://schemas.openxmlformats.org/officeDocument/2006/relationships/image" Target="../media/image28.emf"/></Relationships>
</file>

<file path=ppt/slides/_rels/slide4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chart" Target="../charts/chart428.xml"/><Relationship Id="rId4" Type="http://schemas.openxmlformats.org/officeDocument/2006/relationships/image" Target="../media/image28.emf"/></Relationships>
</file>

<file path=ppt/slides/_rels/slide4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chart" Target="../charts/chart429.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chart" Target="../charts/chart430.xml"/><Relationship Id="rId4" Type="http://schemas.openxmlformats.org/officeDocument/2006/relationships/image" Target="../media/image28.emf"/></Relationships>
</file>

<file path=ppt/slides/_rels/slide4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chart" Target="../charts/chart431.xml"/><Relationship Id="rId4" Type="http://schemas.openxmlformats.org/officeDocument/2006/relationships/image" Target="../media/image28.emf"/></Relationships>
</file>

<file path=ppt/slides/_rels/slide4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chart" Target="../charts/chart432.xml"/><Relationship Id="rId4" Type="http://schemas.openxmlformats.org/officeDocument/2006/relationships/image" Target="../media/image28.emf"/></Relationships>
</file>

<file path=ppt/slides/_rels/slide4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chart" Target="../charts/chart433.xml"/><Relationship Id="rId4" Type="http://schemas.openxmlformats.org/officeDocument/2006/relationships/image" Target="../media/image28.emf"/></Relationships>
</file>

<file path=ppt/slides/_rels/slide4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chart" Target="../charts/chart434.xml"/><Relationship Id="rId4" Type="http://schemas.openxmlformats.org/officeDocument/2006/relationships/image" Target="../media/image28.emf"/></Relationships>
</file>

<file path=ppt/slides/_rels/slide4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chart" Target="../charts/chart435.xml"/><Relationship Id="rId4" Type="http://schemas.openxmlformats.org/officeDocument/2006/relationships/image" Target="../media/image28.emf"/></Relationships>
</file>

<file path=ppt/slides/_rels/slide4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chart" Target="../charts/chart436.xml"/><Relationship Id="rId4" Type="http://schemas.openxmlformats.org/officeDocument/2006/relationships/image" Target="../media/image28.emf"/></Relationships>
</file>

<file path=ppt/slides/_rels/slide4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chart" Target="../charts/chart437.xml"/><Relationship Id="rId4" Type="http://schemas.openxmlformats.org/officeDocument/2006/relationships/image" Target="../media/image28.emf"/></Relationships>
</file>

<file path=ppt/slides/_rels/slide4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chart" Target="../charts/chart438.xml"/><Relationship Id="rId4" Type="http://schemas.openxmlformats.org/officeDocument/2006/relationships/image" Target="../media/image28.emf"/></Relationships>
</file>

<file path=ppt/slides/_rels/slide4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chart" Target="../charts/chart439.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chart" Target="../charts/chart440.xml"/><Relationship Id="rId4" Type="http://schemas.openxmlformats.org/officeDocument/2006/relationships/image" Target="../media/image28.emf"/></Relationships>
</file>

<file path=ppt/slides/_rels/slide4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chart" Target="../charts/chart441.xml"/><Relationship Id="rId4" Type="http://schemas.openxmlformats.org/officeDocument/2006/relationships/image" Target="../media/image28.emf"/></Relationships>
</file>

<file path=ppt/slides/_rels/slide4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chart" Target="../charts/chart442.xml"/><Relationship Id="rId4" Type="http://schemas.openxmlformats.org/officeDocument/2006/relationships/image" Target="../media/image28.emf"/></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443.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444.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445.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446.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447.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448.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449.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450.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451.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452.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453.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454.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455.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56.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57.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58.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5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60.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61.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62.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63.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64.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65.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66.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67.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68.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69.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70.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71.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72.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73.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74.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75.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76.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77.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78.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7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80.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81.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82.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83.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84.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85.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86.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87.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88.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8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90.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91.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92.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93.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94.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95.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96.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97.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98.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9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500.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501.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502.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503.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504.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505.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506.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507.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508.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509.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510.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511.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512.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513.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514.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515.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516.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517.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518.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519.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520.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521.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522.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523.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524.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525.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526.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527.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528.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52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530.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531.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532.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533.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534.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535.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536.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537.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538.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539.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540.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541.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542.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543.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544.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545.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546.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547.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548.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549.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550.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chart" Target="../charts/chart551.xml"/><Relationship Id="rId4" Type="http://schemas.openxmlformats.org/officeDocument/2006/relationships/image" Target="../media/image28.emf"/></Relationships>
</file>

<file path=ppt/slides/_rels/slide5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chart" Target="../charts/chart552.xml"/><Relationship Id="rId4" Type="http://schemas.openxmlformats.org/officeDocument/2006/relationships/image" Target="../media/image28.emf"/></Relationships>
</file>

<file path=ppt/slides/_rels/slide5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chart" Target="../charts/chart553.xml"/><Relationship Id="rId4" Type="http://schemas.openxmlformats.org/officeDocument/2006/relationships/image" Target="../media/image28.emf"/></Relationships>
</file>

<file path=ppt/slides/_rels/slide5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chart" Target="../charts/chart554.xml"/><Relationship Id="rId4" Type="http://schemas.openxmlformats.org/officeDocument/2006/relationships/image" Target="../media/image28.emf"/></Relationships>
</file>

<file path=ppt/slides/_rels/slide5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chart" Target="../charts/chart555.xml"/><Relationship Id="rId4" Type="http://schemas.openxmlformats.org/officeDocument/2006/relationships/image" Target="../media/image28.emf"/></Relationships>
</file>

<file path=ppt/slides/_rels/slide5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chart" Target="../charts/chart556.xml"/><Relationship Id="rId4" Type="http://schemas.openxmlformats.org/officeDocument/2006/relationships/image" Target="../media/image28.emf"/></Relationships>
</file>

<file path=ppt/slides/_rels/slide5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chart" Target="../charts/chart557.xml"/><Relationship Id="rId4" Type="http://schemas.openxmlformats.org/officeDocument/2006/relationships/image" Target="../media/image28.emf"/></Relationships>
</file>

<file path=ppt/slides/_rels/slide5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chart" Target="../charts/chart558.xml"/><Relationship Id="rId4" Type="http://schemas.openxmlformats.org/officeDocument/2006/relationships/image" Target="../media/image28.emf"/></Relationships>
</file>

<file path=ppt/slides/_rels/slide5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chart" Target="../charts/chart559.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chart" Target="../charts/chart560.xml"/><Relationship Id="rId4" Type="http://schemas.openxmlformats.org/officeDocument/2006/relationships/image" Target="../media/image28.emf"/></Relationships>
</file>

<file path=ppt/slides/_rels/slide5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chart" Target="../charts/chart561.xml"/><Relationship Id="rId4" Type="http://schemas.openxmlformats.org/officeDocument/2006/relationships/image" Target="../media/image28.emf"/></Relationships>
</file>

<file path=ppt/slides/_rels/slide5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chart" Target="../charts/chart562.xml"/><Relationship Id="rId4" Type="http://schemas.openxmlformats.org/officeDocument/2006/relationships/image" Target="../media/image28.emf"/></Relationships>
</file>

<file path=ppt/slides/_rels/slide5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chart" Target="../charts/chart563.xml"/><Relationship Id="rId4" Type="http://schemas.openxmlformats.org/officeDocument/2006/relationships/image" Target="../media/image28.emf"/></Relationships>
</file>

<file path=ppt/slides/_rels/slide5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chart" Target="../charts/chart564.xml"/><Relationship Id="rId4" Type="http://schemas.openxmlformats.org/officeDocument/2006/relationships/image" Target="../media/image28.emf"/></Relationships>
</file>

<file path=ppt/slides/_rels/slide5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chart" Target="../charts/chart565.xml"/><Relationship Id="rId4" Type="http://schemas.openxmlformats.org/officeDocument/2006/relationships/image" Target="../media/image28.emf"/></Relationships>
</file>

<file path=ppt/slides/_rels/slide5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chart" Target="../charts/chart566.xml"/><Relationship Id="rId4" Type="http://schemas.openxmlformats.org/officeDocument/2006/relationships/image" Target="../media/image28.emf"/></Relationships>
</file>

<file path=ppt/slides/_rels/slide5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chart" Target="../charts/chart567.xml"/><Relationship Id="rId4" Type="http://schemas.openxmlformats.org/officeDocument/2006/relationships/image" Target="../media/image28.emf"/></Relationships>
</file>

<file path=ppt/slides/_rels/slide5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chart" Target="../charts/chart568.xml"/><Relationship Id="rId4" Type="http://schemas.openxmlformats.org/officeDocument/2006/relationships/image" Target="../media/image28.emf"/></Relationships>
</file>

<file path=ppt/slides/_rels/slide5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chart" Target="../charts/chart569.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chart" Target="../charts/chart570.xml"/><Relationship Id="rId4" Type="http://schemas.openxmlformats.org/officeDocument/2006/relationships/image" Target="../media/image28.emf"/></Relationships>
</file>

<file path=ppt/slides/_rels/slide5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chart" Target="../charts/chart571.xml"/><Relationship Id="rId4" Type="http://schemas.openxmlformats.org/officeDocument/2006/relationships/image" Target="../media/image28.emf"/></Relationships>
</file>

<file path=ppt/slides/_rels/slide5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chart" Target="../charts/chart572.xml"/><Relationship Id="rId4" Type="http://schemas.openxmlformats.org/officeDocument/2006/relationships/image" Target="../media/image28.emf"/></Relationships>
</file>

<file path=ppt/slides/_rels/slide5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chart" Target="../charts/chart573.xml"/><Relationship Id="rId4" Type="http://schemas.openxmlformats.org/officeDocument/2006/relationships/image" Target="../media/image28.emf"/></Relationships>
</file>

<file path=ppt/slides/_rels/slide5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chart" Target="../charts/chart574.xml"/><Relationship Id="rId4" Type="http://schemas.openxmlformats.org/officeDocument/2006/relationships/image" Target="../media/image28.emf"/></Relationships>
</file>

<file path=ppt/slides/_rels/slide5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chart" Target="../charts/chart575.xml"/><Relationship Id="rId4" Type="http://schemas.openxmlformats.org/officeDocument/2006/relationships/image" Target="../media/image28.emf"/></Relationships>
</file>

<file path=ppt/slides/_rels/slide5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chart" Target="../charts/chart576.xml"/><Relationship Id="rId4" Type="http://schemas.openxmlformats.org/officeDocument/2006/relationships/image" Target="../media/image28.emf"/></Relationships>
</file>

<file path=ppt/slides/_rels/slide5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chart" Target="../charts/chart577.xml"/><Relationship Id="rId4" Type="http://schemas.openxmlformats.org/officeDocument/2006/relationships/image" Target="../media/image28.emf"/></Relationships>
</file>

<file path=ppt/slides/_rels/slide5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chart" Target="../charts/chart578.xml"/><Relationship Id="rId4" Type="http://schemas.openxmlformats.org/officeDocument/2006/relationships/image" Target="../media/image28.emf"/></Relationships>
</file>

<file path=ppt/slides/_rels/slide5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chart" Target="../charts/chart57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chart" Target="../charts/chart580.xml"/><Relationship Id="rId4" Type="http://schemas.openxmlformats.org/officeDocument/2006/relationships/image" Target="../media/image28.emf"/></Relationships>
</file>

<file path=ppt/slides/_rels/slide5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chart" Target="../charts/chart581.xml"/><Relationship Id="rId4" Type="http://schemas.openxmlformats.org/officeDocument/2006/relationships/image" Target="../media/image28.emf"/></Relationships>
</file>

<file path=ppt/slides/_rels/slide5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chart" Target="../charts/chart582.xml"/><Relationship Id="rId4" Type="http://schemas.openxmlformats.org/officeDocument/2006/relationships/image" Target="../media/image28.emf"/></Relationships>
</file>

<file path=ppt/slides/_rels/slide5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chart" Target="../charts/chart583.xml"/><Relationship Id="rId4" Type="http://schemas.openxmlformats.org/officeDocument/2006/relationships/image" Target="../media/image28.emf"/></Relationships>
</file>

<file path=ppt/slides/_rels/slide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chart" Target="../charts/chart584.xml"/><Relationship Id="rId4" Type="http://schemas.openxmlformats.org/officeDocument/2006/relationships/image" Target="../media/image28.emf"/></Relationships>
</file>

<file path=ppt/slides/_rels/slide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chart" Target="../charts/chart585.xml"/><Relationship Id="rId4" Type="http://schemas.openxmlformats.org/officeDocument/2006/relationships/image" Target="../media/image28.emf"/></Relationships>
</file>

<file path=ppt/slides/_rels/slide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chart" Target="../charts/chart586.xml"/><Relationship Id="rId4" Type="http://schemas.openxmlformats.org/officeDocument/2006/relationships/image" Target="../media/image28.emf"/></Relationships>
</file>

<file path=ppt/slides/_rels/slide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chart" Target="../charts/chart587.xml"/><Relationship Id="rId4" Type="http://schemas.openxmlformats.org/officeDocument/2006/relationships/image" Target="../media/image28.emf"/></Relationships>
</file>

<file path=ppt/slides/_rels/slide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chart" Target="../charts/chart588.xml"/><Relationship Id="rId4" Type="http://schemas.openxmlformats.org/officeDocument/2006/relationships/image" Target="../media/image28.emf"/></Relationships>
</file>

<file path=ppt/slides/_rels/slide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chart" Target="../charts/chart589.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chart" Target="../charts/chart590.xml"/><Relationship Id="rId4" Type="http://schemas.openxmlformats.org/officeDocument/2006/relationships/image" Target="../media/image28.emf"/></Relationships>
</file>

<file path=ppt/slides/_rels/slide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chart" Target="../charts/chart591.xml"/><Relationship Id="rId4" Type="http://schemas.openxmlformats.org/officeDocument/2006/relationships/image" Target="../media/image28.emf"/></Relationships>
</file>

<file path=ppt/slides/_rels/slide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chart" Target="../charts/chart592.xml"/><Relationship Id="rId4" Type="http://schemas.openxmlformats.org/officeDocument/2006/relationships/image" Target="../media/image28.emf"/></Relationships>
</file>

<file path=ppt/slides/_rels/slide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chart" Target="../charts/chart593.xml"/><Relationship Id="rId4" Type="http://schemas.openxmlformats.org/officeDocument/2006/relationships/image" Target="../media/image28.emf"/></Relationships>
</file>

<file path=ppt/slides/_rels/slide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chart" Target="../charts/chart594.xml"/><Relationship Id="rId4" Type="http://schemas.openxmlformats.org/officeDocument/2006/relationships/image" Target="../media/image28.emf"/></Relationships>
</file>

<file path=ppt/slides/_rels/slide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chart" Target="../charts/chart595.xml"/><Relationship Id="rId4" Type="http://schemas.openxmlformats.org/officeDocument/2006/relationships/image" Target="../media/image28.emf"/></Relationships>
</file>

<file path=ppt/slides/_rels/slide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chart" Target="../charts/chart596.xml"/><Relationship Id="rId4" Type="http://schemas.openxmlformats.org/officeDocument/2006/relationships/image" Target="../media/image28.emf"/></Relationships>
</file>

<file path=ppt/slides/_rels/slide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chart" Target="../charts/chart597.xml"/><Relationship Id="rId4" Type="http://schemas.openxmlformats.org/officeDocument/2006/relationships/image" Target="../media/image28.emf"/></Relationships>
</file>

<file path=ppt/slides/_rels/slide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chart" Target="../charts/chart598.xml"/><Relationship Id="rId4" Type="http://schemas.openxmlformats.org/officeDocument/2006/relationships/image" Target="../media/image28.emf"/></Relationships>
</file>

<file path=ppt/slides/_rels/slide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chart" Target="../charts/chart59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chart" Target="../charts/chart600.xml"/><Relationship Id="rId4" Type="http://schemas.openxmlformats.org/officeDocument/2006/relationships/image" Target="../media/image28.emf"/></Relationships>
</file>

<file path=ppt/slides/_rels/slide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chart" Target="../charts/chart601.xml"/><Relationship Id="rId4" Type="http://schemas.openxmlformats.org/officeDocument/2006/relationships/image" Target="../media/image28.emf"/></Relationships>
</file>

<file path=ppt/slides/_rels/slide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chart" Target="../charts/chart602.xml"/><Relationship Id="rId4" Type="http://schemas.openxmlformats.org/officeDocument/2006/relationships/image" Target="../media/image28.emf"/></Relationships>
</file>

<file path=ppt/slides/_rels/slide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chart" Target="../charts/chart603.xml"/><Relationship Id="rId4" Type="http://schemas.openxmlformats.org/officeDocument/2006/relationships/image" Target="../media/image28.emf"/></Relationships>
</file>

<file path=ppt/slides/_rels/slide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chart" Target="../charts/chart604.xml"/><Relationship Id="rId4" Type="http://schemas.openxmlformats.org/officeDocument/2006/relationships/image" Target="../media/image28.emf"/></Relationships>
</file>

<file path=ppt/slides/_rels/slide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chart" Target="../charts/chart605.xml"/><Relationship Id="rId4" Type="http://schemas.openxmlformats.org/officeDocument/2006/relationships/image" Target="../media/image28.emf"/></Relationships>
</file>

<file path=ppt/slides/_rels/slide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chart" Target="../charts/chart606.xml"/><Relationship Id="rId4" Type="http://schemas.openxmlformats.org/officeDocument/2006/relationships/image" Target="../media/image28.emf"/></Relationships>
</file>

<file path=ppt/slides/_rels/slide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chart" Target="../charts/chart607.xml"/><Relationship Id="rId4" Type="http://schemas.openxmlformats.org/officeDocument/2006/relationships/image" Target="../media/image28.emf"/></Relationships>
</file>

<file path=ppt/slides/_rels/slide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chart" Target="../charts/chart608.xml"/><Relationship Id="rId4" Type="http://schemas.openxmlformats.org/officeDocument/2006/relationships/image" Target="../media/image28.emf"/></Relationships>
</file>

<file path=ppt/slides/_rels/slide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chart" Target="../charts/chart609.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chart" Target="../charts/chart610.xml"/><Relationship Id="rId4" Type="http://schemas.openxmlformats.org/officeDocument/2006/relationships/image" Target="../media/image28.emf"/></Relationships>
</file>

<file path=ppt/slides/_rels/slide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chart" Target="../charts/chart611.xml"/><Relationship Id="rId4" Type="http://schemas.openxmlformats.org/officeDocument/2006/relationships/image" Target="../media/image28.emf"/></Relationships>
</file>

<file path=ppt/slides/_rels/slide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chart" Target="../charts/chart612.xml"/><Relationship Id="rId4" Type="http://schemas.openxmlformats.org/officeDocument/2006/relationships/image" Target="../media/image28.emf"/></Relationships>
</file>

<file path=ppt/slides/_rels/slide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chart" Target="../charts/chart613.xml"/><Relationship Id="rId4" Type="http://schemas.openxmlformats.org/officeDocument/2006/relationships/image" Target="../media/image28.emf"/></Relationships>
</file>

<file path=ppt/slides/_rels/slide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chart" Target="../charts/chart614.xml"/><Relationship Id="rId4" Type="http://schemas.openxmlformats.org/officeDocument/2006/relationships/image" Target="../media/image28.emf"/></Relationships>
</file>

<file path=ppt/slides/_rels/slide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chart" Target="../charts/chart615.xml"/><Relationship Id="rId4" Type="http://schemas.openxmlformats.org/officeDocument/2006/relationships/image" Target="../media/image28.emf"/></Relationships>
</file>

<file path=ppt/slides/_rels/slide6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chart" Target="../charts/chart616.xml"/><Relationship Id="rId4" Type="http://schemas.openxmlformats.org/officeDocument/2006/relationships/image" Target="../media/image28.emf"/></Relationships>
</file>

<file path=ppt/slides/_rels/slide6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chart" Target="../charts/chart617.xml"/><Relationship Id="rId4" Type="http://schemas.openxmlformats.org/officeDocument/2006/relationships/image" Target="../media/image28.emf"/></Relationships>
</file>

<file path=ppt/slides/_rels/slide6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chart" Target="../charts/chart618.xml"/><Relationship Id="rId4" Type="http://schemas.openxmlformats.org/officeDocument/2006/relationships/image" Target="../media/image28.emf"/></Relationships>
</file>

<file path=ppt/slides/_rels/slide6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chart" Target="../charts/chart619.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chart" Target="../charts/chart620.xml"/><Relationship Id="rId4" Type="http://schemas.openxmlformats.org/officeDocument/2006/relationships/image" Target="../media/image28.emf"/></Relationships>
</file>

<file path=ppt/slides/_rels/slide6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chart" Target="../charts/chart621.xml"/><Relationship Id="rId4" Type="http://schemas.openxmlformats.org/officeDocument/2006/relationships/image" Target="../media/image28.emf"/></Relationships>
</file>

<file path=ppt/slides/_rels/slide6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chart" Target="../charts/chart622.xml"/><Relationship Id="rId4" Type="http://schemas.openxmlformats.org/officeDocument/2006/relationships/image" Target="../media/image28.emf"/></Relationships>
</file>

<file path=ppt/slides/_rels/slide6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chart" Target="../charts/chart623.xml"/><Relationship Id="rId4" Type="http://schemas.openxmlformats.org/officeDocument/2006/relationships/image" Target="../media/image28.emf"/></Relationships>
</file>

<file path=ppt/slides/_rels/slide6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chart" Target="../charts/chart624.xml"/><Relationship Id="rId4" Type="http://schemas.openxmlformats.org/officeDocument/2006/relationships/image" Target="../media/image28.emf"/></Relationships>
</file>

<file path=ppt/slides/_rels/slide6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chart" Target="../charts/chart625.xml"/><Relationship Id="rId4" Type="http://schemas.openxmlformats.org/officeDocument/2006/relationships/image" Target="../media/image28.emf"/></Relationships>
</file>

<file path=ppt/slides/_rels/slide6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chart" Target="../charts/chart626.xml"/><Relationship Id="rId4" Type="http://schemas.openxmlformats.org/officeDocument/2006/relationships/image" Target="../media/image28.emf"/></Relationships>
</file>

<file path=ppt/slides/_rels/slide6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chart" Target="../charts/chart627.xml"/><Relationship Id="rId4" Type="http://schemas.openxmlformats.org/officeDocument/2006/relationships/image" Target="../media/image28.emf"/></Relationships>
</file>

<file path=ppt/slides/_rels/slide6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chart" Target="../charts/chart628.xml"/><Relationship Id="rId4" Type="http://schemas.openxmlformats.org/officeDocument/2006/relationships/image" Target="../media/image28.emf"/></Relationships>
</file>

<file path=ppt/slides/_rels/slide6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chart" Target="../charts/chart62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chart" Target="../charts/chart63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1050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652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318319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65741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30182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25840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5105653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792292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1734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244177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497438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742541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4696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652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8263151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62576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765030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7077605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597959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24642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857214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375564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6449325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254137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7720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652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6373389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0019154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994652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15365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054244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6912047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00850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588279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82151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554630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908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35090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90997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705468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289900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639922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72695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601495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854032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360664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440593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663387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19695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35090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82042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1500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514893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409932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860657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316893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01643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50376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474408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616084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9585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99679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847306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750886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582385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548822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017114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240791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063578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98054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538008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OET &amp; CHANDON RES IMP EX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3037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35090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230552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530025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045873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191411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9161442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561392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BRUT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665665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728335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509840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102721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7036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1661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2222974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815560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71022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202700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396795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120271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696869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927283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nson-Bc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SSERAT BELLEFON BLC DE BLC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301459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8509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353526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441977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395345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944514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341559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LC/BL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3359062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287073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888137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rmand De Brigna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ARMAND DE BRIGNA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25711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038595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RUT CASHE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OEDERER BRUT COLLECT 246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89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37909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15390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614262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701605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971647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98721"/>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910932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310660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140763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BRUT COLLECTION 24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BRUT COLLECT 244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886965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 Blign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CH DE BLIGNY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2711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dirty="0"/>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dirty="0"/>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dirty="0"/>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dirty="0"/>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dirty="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66258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696285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rmand De Brigna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ARMAND DE BRIGNAC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ERV CUVEE NB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RES CUVEE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974889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930018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0426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0012688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526983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3740592"/>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559244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923246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UTZ"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142096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DAME ROS E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OMMERY SILVER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6520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226351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V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OMMERY SILVER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983403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836302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QC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605416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CCP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520147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IDF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7602639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PA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63230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RHO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567436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AQU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250097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NICOLAS ES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151199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PERIGNON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EUVE CLICQUOT DAME ROS E 2015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16596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531789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B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550103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Vranken Pomme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MOISELLE ROSE PRES SPECIAL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OMMERY SILVER ROS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682865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D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599921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Malard Nicolas Vs. Competition | CA E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 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h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404996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3234166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102889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5254501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963000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817019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0780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668202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429422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451467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798207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980881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262636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211528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876465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748647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849509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y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YRE'S CLASSICO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3968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199686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107694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865307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4452627"/>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185388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201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884148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668690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684686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036956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190856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40471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016793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070492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 DEUTZ" 2013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ULTRA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LC BLCS NAT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226123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474263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531519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975653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046310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LANC DE BLANCS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1647753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LANC DE BLANCS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3961537"/>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644835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3999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546315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0669376"/>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801846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LANC DE BLANCS 2016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3730638"/>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190190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514638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729832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601592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255486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670913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9196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517178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2002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90544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Blanc De Blanc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LANC DE BLANCS SECOND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LC DE BLANC SECOND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LANC DE BLANC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A/18 BLC BLCS EXTRA 2018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M RUINART EXT BRUT SECO 2010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528163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CAISSE BOIS DUO BL+ROS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507299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F URBAINE RUINART 3 BLLES 3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339331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951194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34911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LA CUVEE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LA CUVE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BRUT CASHE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LAURENT PERRIER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291462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429500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CAISSE BOIS DUO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584586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CAISSE BOIS DUO BL+ROS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52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32624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579576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025143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CLASSIC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DEUTZ CLASSIC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CLASSIC BRUT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2416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1454898"/>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F URBAINE RUINART 3 BLLES 3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178152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80046521"/>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CAISSE BOIS DUO 2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74128923"/>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7669752"/>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Bru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yal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YALA BRUT MAJEUR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BRUT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BRUT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BRUT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6400913"/>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477918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32319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32624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5665008"/>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398236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78157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6946406"/>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9894597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Cr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Vessel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uis Mart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PREMIER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EORGES VESSELLE GRD CRU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PREMI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UIS MARTIN BRUT GRAND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475894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AMOUR DEUTZ" ROSE 2009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37830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331431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VCN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2213893"/>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33132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QC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eder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OEDERER CRISTAL ROSE 2014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OEDERER CRISTAL ROSE 2013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8889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27486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742982"/>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CCP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189967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IDF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8230356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PA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250015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RHO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338328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AQU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492423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NICOLAS EST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6342414"/>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A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urent Perri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URENT PERRIER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491237"/>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B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683931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C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967667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D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33983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01376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Nicolas Vs. Competition | CA E | Rosé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26525"/>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cola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alar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uinar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Deutz</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NU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EUTZ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UINART ROSE SECOND SKIN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ALARD ROSE 1ER CR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RUINART ROSE SECOND SKIN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RUINART ROSE (NU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DEUTZ ROSE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844034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565509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6134998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1873845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5409789"/>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941632"/>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879059"/>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2300581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739463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92236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8246933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32815100"/>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875043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8716835"/>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9723631"/>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8045176"/>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0426943"/>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816063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55519850"/>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735058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15673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7839333"/>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2108056"/>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4664410"/>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988484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446933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246955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6444630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9982621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8771959"/>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35789795"/>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766047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0421330"/>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6034397"/>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648842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7831527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427620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4065143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77281160"/>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506919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28378911"/>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5674630"/>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74637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8205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6190216"/>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009444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463425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610621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9221759"/>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5990374"/>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421896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41999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8122505"/>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0946352"/>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3334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117277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9758861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55873448"/>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948639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446297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609020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2911213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995491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364328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075412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2209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531779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348371"/>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689235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064105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6013522"/>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03111370"/>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679627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587702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5059406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76958417"/>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16040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0339053"/>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9697338"/>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9237669"/>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Effervescents Sans Alco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39242035"/>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814586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8544456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345353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768547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996113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447902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52199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095950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1450112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0798292"/>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4248080"/>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1496885"/>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725229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60385596"/>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816339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1819344"/>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02656797"/>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484248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35090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80849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787655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Blanc De Blan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6198772"/>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2784711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0789993"/>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212295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374456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3490253"/>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9857567"/>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4193969"/>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4280814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9838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4489490"/>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0315929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21789998"/>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6202058"/>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056951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78607375"/>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72301492"/>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38900533"/>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5856712"/>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Bru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236215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3515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6556900"/>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56076820"/>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666263"/>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853525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897149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907524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70070223"/>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7421331"/>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40412333"/>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26751319"/>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64129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919837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2173245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21973455"/>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4674215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1930245"/>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6489846"/>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Cr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60552900"/>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09363089"/>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1538439"/>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31279993"/>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0237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5120897"/>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8207152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8177669"/>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0318620"/>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8188816"/>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81234295"/>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45154381"/>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32816755"/>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89229777"/>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01862379"/>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000013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9464938"/>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05918290"/>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541628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2468184"/>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Extra Bru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7067446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980585"/>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93510494"/>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1395908"/>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641434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0398166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097172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4465974"/>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1451610"/>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3036496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44893707"/>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218404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72960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8432594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4918233"/>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6507338"/>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6506024"/>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43925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7360087"/>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0867819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illesim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668768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76628975"/>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193485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0331250"/>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0499948"/>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9012340"/>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701607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45985096"/>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56586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3381451"/>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4483198"/>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49175200"/>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0911375"/>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6079919"/>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33770113"/>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865385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47804621"/>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4028195"/>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8546337"/>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Rosé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44639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1659224"/>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51783667"/>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6756036"/>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0091755"/>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89701363"/>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348961"/>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1499426"/>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2761936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0554200"/>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299797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84781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5946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84794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6719296"/>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7066692"/>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3782565"/>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7594152"/>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4933652"/>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320457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0192048"/>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830229"/>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Bourgogn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16983891"/>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02662386"/>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4446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Champagn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4573801"/>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98719222"/>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815237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38060453"/>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0657186"/>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0520893"/>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6855974"/>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9392641"/>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4179304"/>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031539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71685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ATIONAL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8205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9903089"/>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21417078"/>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1605857"/>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6563680"/>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2452895"/>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32916954"/>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Italien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7810582"/>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58957813"/>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0826268"/>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7137093"/>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16774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691415"/>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88065549"/>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435109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4538874"/>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9721490"/>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1230022"/>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1872731"/>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789856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5404219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4310127"/>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336130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7005304"/>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42573300"/>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36262028"/>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29545216"/>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Val De Loir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6277559"/>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6794298"/>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0334088"/>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771788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95367264"/>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369371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41556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592072"/>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4968648"/>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814701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2320614"/>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73524815"/>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4512881"/>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4195699"/>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6281020"/>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33116930"/>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9161497"/>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73615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118775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0252754"/>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Alsac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70774939"/>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77363461"/>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40629708"/>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HMSM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1437762"/>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N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76535699"/>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VCN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53793570"/>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T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7644822"/>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QCA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50696328"/>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CCP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6825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1526668"/>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IDF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012742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PAC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0137365"/>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RHO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8731476"/>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AQU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871480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ICOLAS EST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799062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A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2917046"/>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B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15870208"/>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C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4149027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D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1932827"/>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 E | Mousseux Bordelai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11641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8610806"/>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1128809"/>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HMSM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8109396"/>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5685474"/>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9954376"/>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765980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6067913"/>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3785124"/>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9107757"/>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85227380"/>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802603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4473272"/>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8302515"/>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2495263"/>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2978535"/>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35689563"/>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59424661"/>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D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63119425"/>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 E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944256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24588687"/>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HMSM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9374504"/>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8707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51189"/>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89422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458595"/>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VCN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1384099"/>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7269058"/>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2468711"/>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CCP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31984144"/>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IDF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54830477"/>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PA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337877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3019315"/>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80201331"/>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258968"/>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006498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73020175"/>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89997894"/>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65107636"/>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3828994"/>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32793651"/>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02869222"/>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HMSM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74867"/>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406277"/>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VCN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5281725"/>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9880191"/>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QC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97370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4600946"/>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CCP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79943735"/>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IDF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53733762"/>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PA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805412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RHO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96206750"/>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AQU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2929660"/>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ICOLAS EST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38120"/>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A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3459255"/>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B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68079356"/>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C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2997400"/>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D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41613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84494049"/>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 E | Mousseux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27511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0626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49445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821226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68461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Champagn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 ET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18386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82906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652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78472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64514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7267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05161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86603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95504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3443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54817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25635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27629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9221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00924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50560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601627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7565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33061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96539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 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7625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ATIONAL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4234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61071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37755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31060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41768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99911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Effervescent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59465"/>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34460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03391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220348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 BS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539801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014493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04454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66744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49171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83547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E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67113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Effervescen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ROSE 1E 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ETUI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 CRU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6465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83367</Words>
  <Application>Microsoft Office PowerPoint</Application>
  <PresentationFormat>On-screen Show (16:9)</PresentationFormat>
  <Paragraphs>24699</Paragraphs>
  <Slides>63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30</vt:i4>
      </vt:variant>
    </vt:vector>
  </HeadingPairs>
  <TitlesOfParts>
    <vt:vector size="639"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ctor</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lpstr>Price Point Distribution by brand by Seg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2T09:1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